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5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5.xml" ContentType="application/vnd.openxmlformats-officedocument.theme+xml"/>
  <Override PartName="/ppt/tags/tag58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6.xml" ContentType="application/vnd.openxmlformats-officedocument.theme+xml"/>
  <Override PartName="/ppt/tags/tag59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7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8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9.xml" ContentType="application/vnd.openxmlformats-officedocument.theme+xml"/>
  <Override PartName="/ppt/tags/tag70.xml" ContentType="application/vnd.openxmlformats-officedocument.presentationml.tags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ags/tag7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4405" r:id="rId5"/>
    <p:sldMasterId id="2147484410" r:id="rId6"/>
    <p:sldMasterId id="2147484446" r:id="rId7"/>
    <p:sldMasterId id="2147484454" r:id="rId8"/>
    <p:sldMasterId id="2147484508" r:id="rId9"/>
    <p:sldMasterId id="2147484563" r:id="rId10"/>
    <p:sldMasterId id="2147484609" r:id="rId11"/>
    <p:sldMasterId id="2147484614" r:id="rId12"/>
    <p:sldMasterId id="2147484628" r:id="rId13"/>
  </p:sldMasterIdLst>
  <p:notesMasterIdLst>
    <p:notesMasterId r:id="rId46"/>
  </p:notesMasterIdLst>
  <p:handoutMasterIdLst>
    <p:handoutMasterId r:id="rId47"/>
  </p:handoutMasterIdLst>
  <p:sldIdLst>
    <p:sldId id="2147483564" r:id="rId14"/>
    <p:sldId id="742" r:id="rId15"/>
    <p:sldId id="2147483570" r:id="rId16"/>
    <p:sldId id="2147483571" r:id="rId17"/>
    <p:sldId id="2147483572" r:id="rId18"/>
    <p:sldId id="2147483573" r:id="rId19"/>
    <p:sldId id="2147483574" r:id="rId20"/>
    <p:sldId id="2147483575" r:id="rId21"/>
    <p:sldId id="2147483576" r:id="rId22"/>
    <p:sldId id="2147483577" r:id="rId23"/>
    <p:sldId id="2147483578" r:id="rId24"/>
    <p:sldId id="2147483579" r:id="rId25"/>
    <p:sldId id="2147483580" r:id="rId26"/>
    <p:sldId id="2147483581" r:id="rId27"/>
    <p:sldId id="2147483582" r:id="rId28"/>
    <p:sldId id="2147483583" r:id="rId29"/>
    <p:sldId id="2147483584" r:id="rId30"/>
    <p:sldId id="2147483585" r:id="rId31"/>
    <p:sldId id="2147483586" r:id="rId32"/>
    <p:sldId id="2147483587" r:id="rId33"/>
    <p:sldId id="2147483588" r:id="rId34"/>
    <p:sldId id="2147483589" r:id="rId35"/>
    <p:sldId id="2147483594" r:id="rId36"/>
    <p:sldId id="2147483595" r:id="rId37"/>
    <p:sldId id="2147483590" r:id="rId38"/>
    <p:sldId id="2147483591" r:id="rId39"/>
    <p:sldId id="2147483596" r:id="rId40"/>
    <p:sldId id="2147483598" r:id="rId41"/>
    <p:sldId id="2147483599" r:id="rId42"/>
    <p:sldId id="2147483597" r:id="rId43"/>
    <p:sldId id="2147483592" r:id="rId44"/>
    <p:sldId id="2147483593" r:id="rId45"/>
  </p:sldIdLst>
  <p:sldSz cx="12192000" cy="6858000"/>
  <p:notesSz cx="6858000" cy="9144000"/>
  <p:custDataLst>
    <p:tags r:id="rId4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300" userDrawn="1">
          <p15:clr>
            <a:srgbClr val="A4A3A4"/>
          </p15:clr>
        </p15:guide>
        <p15:guide id="6" orient="horz" pos="278" userDrawn="1">
          <p15:clr>
            <a:srgbClr val="A4A3A4"/>
          </p15:clr>
        </p15:guide>
        <p15:guide id="7" pos="5246" userDrawn="1">
          <p15:clr>
            <a:srgbClr val="A4A3A4"/>
          </p15:clr>
        </p15:guide>
        <p15:guide id="8" orient="horz" pos="4224" userDrawn="1">
          <p15:clr>
            <a:srgbClr val="A4A3A4"/>
          </p15:clr>
        </p15:guide>
        <p15:guide id="9" pos="3976" userDrawn="1">
          <p15:clr>
            <a:srgbClr val="A4A3A4"/>
          </p15:clr>
        </p15:guide>
        <p15:guide id="10" orient="horz" pos="754" userDrawn="1">
          <p15:clr>
            <a:srgbClr val="A4A3A4"/>
          </p15:clr>
        </p15:guide>
        <p15:guide id="11" pos="4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45F1ABC-1BC5-BAE8-55DC-C09B7894C8F0}" name="Srishti Goel" initials="SG" userId="S::Srishti.Goel1@in.ey.com::98586727-b856-4c51-8c30-1f74028ef70b" providerId="AD"/>
  <p188:author id="{9D5705D7-07CD-D3D3-4C5E-605E547B481C}" name="Adel Ouederni" initials="AO" userId="S::Adel.Ouederni@fr.ey.com::f7f8e1da-983d-4b6e-b3bd-144c0d7bfc95" providerId="AD"/>
  <p188:author id="{CCF929D7-875E-0E5A-FB0F-0675DC51677B}" name="Rupali Kukreja Arora" initials="RKA" userId="S::Rupali.Kukreja@in.ey.com::97e66e96-dc8c-444d-bb29-12c526bec32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ea Bedos" initials="TB" lastIdx="2" clrIdx="0">
    <p:extLst>
      <p:ext uri="{19B8F6BF-5375-455C-9EA6-DF929625EA0E}">
        <p15:presenceInfo xmlns:p15="http://schemas.microsoft.com/office/powerpoint/2012/main" userId="S::Thea.Bedos@fr.ey.com::0995bc13-59fa-40ba-84e8-81bef4fdbc68" providerId="AD"/>
      </p:ext>
    </p:extLst>
  </p:cmAuthor>
  <p:cmAuthor id="2" name="Peter Schetters" initials="PS" lastIdx="2" clrIdx="1">
    <p:extLst>
      <p:ext uri="{19B8F6BF-5375-455C-9EA6-DF929625EA0E}">
        <p15:presenceInfo xmlns:p15="http://schemas.microsoft.com/office/powerpoint/2012/main" userId="S::Peter.Schetters@fr.ey.com::f2461686-d6fa-4d08-aa0b-6a6c87e470ba" providerId="AD"/>
      </p:ext>
    </p:extLst>
  </p:cmAuthor>
  <p:cmAuthor id="3" name="Waleed I Hakim" initials="WIH" lastIdx="1" clrIdx="2">
    <p:extLst>
      <p:ext uri="{19B8F6BF-5375-455C-9EA6-DF929625EA0E}">
        <p15:presenceInfo xmlns:p15="http://schemas.microsoft.com/office/powerpoint/2012/main" userId="S::Waleed.Hakim@in.ey.com::37fd7f66-f6f0-4353-9867-99239bf07910" providerId="AD"/>
      </p:ext>
    </p:extLst>
  </p:cmAuthor>
  <p:cmAuthor id="4" name="Rupali Kukreja Arora" initials="RKA" lastIdx="12" clrIdx="3">
    <p:extLst>
      <p:ext uri="{19B8F6BF-5375-455C-9EA6-DF929625EA0E}">
        <p15:presenceInfo xmlns:p15="http://schemas.microsoft.com/office/powerpoint/2012/main" userId="S::Rupali.Kukreja@in.ey.com::97e66e96-dc8c-444d-bb29-12c526bec323" providerId="AD"/>
      </p:ext>
    </p:extLst>
  </p:cmAuthor>
  <p:cmAuthor id="5" name="Rahul Jadhav" initials="RJ" lastIdx="1" clrIdx="4">
    <p:extLst>
      <p:ext uri="{19B8F6BF-5375-455C-9EA6-DF929625EA0E}">
        <p15:presenceInfo xmlns:p15="http://schemas.microsoft.com/office/powerpoint/2012/main" userId="S::Rahul.Jadhav@in.ey.com::bf4efe86-adfb-4e56-ab57-734456c575c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645"/>
    <a:srgbClr val="FFFFFF"/>
    <a:srgbClr val="F2F2F2"/>
    <a:srgbClr val="F1D445"/>
    <a:srgbClr val="FFFACC"/>
    <a:srgbClr val="F0AB00"/>
    <a:srgbClr val="008FD2"/>
    <a:srgbClr val="2E94AA"/>
    <a:srgbClr val="619A7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Style léger 2 - Accentuation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pos="1300"/>
        <p:guide orient="horz" pos="278"/>
        <p:guide pos="5246"/>
        <p:guide orient="horz" pos="4224"/>
        <p:guide pos="3976"/>
        <p:guide orient="horz" pos="754"/>
        <p:guide pos="46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slide" Target="slides/slide29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slide" Target="slides/slide32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slide" Target="slides/slide31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179990420888917"/>
          <c:y val="0.25361014732427556"/>
          <c:w val="0.60427315996116082"/>
          <c:h val="0.6068432982973013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45F-458A-96DB-741F094F1D5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95E-41CD-810C-DA34C3C9B122}"/>
              </c:ext>
            </c:extLst>
          </c:dPt>
          <c:cat>
            <c:numRef>
              <c:f>Sheet1!$A$2:$A$5</c:f>
              <c:numCache>
                <c:formatCode>0%</c:formatCode>
                <c:ptCount val="2"/>
                <c:pt idx="0">
                  <c:v>0.2</c:v>
                </c:pt>
                <c:pt idx="1">
                  <c:v>0.8</c:v>
                </c:pt>
              </c:numCache>
              <c:extLst/>
            </c:numRef>
          </c:cat>
          <c:val>
            <c:numRef>
              <c:f>Sheet1!$B$2:$B$5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B95E-41CD-810C-DA34C3C9B1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image" Target="../media/image66.png"/><Relationship Id="rId4" Type="http://schemas.openxmlformats.org/officeDocument/2006/relationships/image" Target="../media/image69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image" Target="../media/image66.png"/><Relationship Id="rId4" Type="http://schemas.openxmlformats.org/officeDocument/2006/relationships/image" Target="../media/image6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220C12-36DD-4BC4-B9D3-0DEC5B18471A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</dgm:pt>
    <dgm:pt modelId="{9AA9DC38-B94C-4971-A210-4683613D4DC5}">
      <dgm:prSet phldrT="[Text]"/>
      <dgm:spPr/>
      <dgm:t>
        <a:bodyPr/>
        <a:lstStyle/>
        <a:p>
          <a:r>
            <a:rPr lang="en-US" dirty="0"/>
            <a:t>Data Ingestion</a:t>
          </a:r>
        </a:p>
      </dgm:t>
    </dgm:pt>
    <dgm:pt modelId="{79707FB1-6B58-494A-9FF7-3E0A0D54F5A7}" type="parTrans" cxnId="{98BF84BD-5708-4BB8-B918-A7489AB5FA83}">
      <dgm:prSet/>
      <dgm:spPr/>
      <dgm:t>
        <a:bodyPr/>
        <a:lstStyle/>
        <a:p>
          <a:endParaRPr lang="en-US"/>
        </a:p>
      </dgm:t>
    </dgm:pt>
    <dgm:pt modelId="{59A091EB-2795-4D27-8C65-59D05E8783A3}" type="sibTrans" cxnId="{98BF84BD-5708-4BB8-B918-A7489AB5FA83}">
      <dgm:prSet/>
      <dgm:spPr/>
      <dgm:t>
        <a:bodyPr/>
        <a:lstStyle/>
        <a:p>
          <a:endParaRPr lang="en-US"/>
        </a:p>
      </dgm:t>
    </dgm:pt>
    <dgm:pt modelId="{D8869F31-75C5-40EF-A62B-8D8457C489A4}">
      <dgm:prSet phldrT="[Text]"/>
      <dgm:spPr/>
      <dgm:t>
        <a:bodyPr/>
        <a:lstStyle/>
        <a:p>
          <a:r>
            <a:rPr lang="en-US" dirty="0"/>
            <a:t>Data Cleaning</a:t>
          </a:r>
        </a:p>
      </dgm:t>
    </dgm:pt>
    <dgm:pt modelId="{4068BC12-FAAB-4A4A-8C3D-E3CD47375AEA}" type="parTrans" cxnId="{E233542F-8C1C-4735-88D6-26519C5E8168}">
      <dgm:prSet/>
      <dgm:spPr/>
      <dgm:t>
        <a:bodyPr/>
        <a:lstStyle/>
        <a:p>
          <a:endParaRPr lang="en-US"/>
        </a:p>
      </dgm:t>
    </dgm:pt>
    <dgm:pt modelId="{5D515E15-D127-4E25-937F-DD436878F527}" type="sibTrans" cxnId="{E233542F-8C1C-4735-88D6-26519C5E8168}">
      <dgm:prSet/>
      <dgm:spPr/>
      <dgm:t>
        <a:bodyPr/>
        <a:lstStyle/>
        <a:p>
          <a:endParaRPr lang="en-US"/>
        </a:p>
      </dgm:t>
    </dgm:pt>
    <dgm:pt modelId="{8B1B7028-7F37-40D7-BDD0-DAFE796BE4FF}">
      <dgm:prSet phldrT="[Text]"/>
      <dgm:spPr/>
      <dgm:t>
        <a:bodyPr/>
        <a:lstStyle/>
        <a:p>
          <a:r>
            <a:rPr lang="en-US" dirty="0"/>
            <a:t>Feature Selection</a:t>
          </a:r>
        </a:p>
      </dgm:t>
    </dgm:pt>
    <dgm:pt modelId="{E0F65E68-E8F6-4878-938C-F2CEB1578872}" type="parTrans" cxnId="{79CE9CD2-E129-46F0-B174-1CA247E9254E}">
      <dgm:prSet/>
      <dgm:spPr/>
      <dgm:t>
        <a:bodyPr/>
        <a:lstStyle/>
        <a:p>
          <a:endParaRPr lang="en-US"/>
        </a:p>
      </dgm:t>
    </dgm:pt>
    <dgm:pt modelId="{833D5C78-6DF2-4770-B533-21CB0BD346C5}" type="sibTrans" cxnId="{79CE9CD2-E129-46F0-B174-1CA247E9254E}">
      <dgm:prSet/>
      <dgm:spPr/>
      <dgm:t>
        <a:bodyPr/>
        <a:lstStyle/>
        <a:p>
          <a:endParaRPr lang="en-US"/>
        </a:p>
      </dgm:t>
    </dgm:pt>
    <dgm:pt modelId="{D0671C60-5EAB-4A77-B624-688B5706D67E}">
      <dgm:prSet phldrT="[Text]"/>
      <dgm:spPr/>
      <dgm:t>
        <a:bodyPr/>
        <a:lstStyle/>
        <a:p>
          <a:r>
            <a:rPr lang="en-US" dirty="0"/>
            <a:t>Interactive Visualization</a:t>
          </a:r>
        </a:p>
      </dgm:t>
    </dgm:pt>
    <dgm:pt modelId="{8DD2CA75-5032-4AA9-B5AB-980F5AFF6AEC}" type="parTrans" cxnId="{14AF6CAA-A2E2-4DE1-ABDA-E8CA3FD34807}">
      <dgm:prSet/>
      <dgm:spPr/>
      <dgm:t>
        <a:bodyPr/>
        <a:lstStyle/>
        <a:p>
          <a:endParaRPr lang="en-US"/>
        </a:p>
      </dgm:t>
    </dgm:pt>
    <dgm:pt modelId="{D0EAEF0C-2139-41C1-9E50-19471E8B819C}" type="sibTrans" cxnId="{14AF6CAA-A2E2-4DE1-ABDA-E8CA3FD34807}">
      <dgm:prSet/>
      <dgm:spPr/>
      <dgm:t>
        <a:bodyPr/>
        <a:lstStyle/>
        <a:p>
          <a:endParaRPr lang="en-US"/>
        </a:p>
      </dgm:t>
    </dgm:pt>
    <dgm:pt modelId="{81155BCE-CAD3-4B0E-9F9A-0F918AECCAAA}">
      <dgm:prSet phldrT="[Text]"/>
      <dgm:spPr/>
      <dgm:t>
        <a:bodyPr/>
        <a:lstStyle/>
        <a:p>
          <a:r>
            <a:rPr lang="en-US" dirty="0"/>
            <a:t>Train-Test Split</a:t>
          </a:r>
        </a:p>
      </dgm:t>
    </dgm:pt>
    <dgm:pt modelId="{540A5BB1-9AB1-43DD-8424-7F9EF781A0A1}" type="parTrans" cxnId="{D8054ECA-9B15-4EF1-8DFC-6012896D0AED}">
      <dgm:prSet/>
      <dgm:spPr/>
      <dgm:t>
        <a:bodyPr/>
        <a:lstStyle/>
        <a:p>
          <a:endParaRPr lang="en-US"/>
        </a:p>
      </dgm:t>
    </dgm:pt>
    <dgm:pt modelId="{099D7A3D-0838-44C3-A57C-2ADF62DA8DE4}" type="sibTrans" cxnId="{D8054ECA-9B15-4EF1-8DFC-6012896D0AED}">
      <dgm:prSet/>
      <dgm:spPr/>
      <dgm:t>
        <a:bodyPr/>
        <a:lstStyle/>
        <a:p>
          <a:endParaRPr lang="en-US"/>
        </a:p>
      </dgm:t>
    </dgm:pt>
    <dgm:pt modelId="{AE9AD10F-BEE8-48C4-851D-9637FAA8BDFF}">
      <dgm:prSet phldrT="[Text]"/>
      <dgm:spPr/>
      <dgm:t>
        <a:bodyPr/>
        <a:lstStyle/>
        <a:p>
          <a:r>
            <a:rPr lang="en-US" dirty="0"/>
            <a:t>Model Training</a:t>
          </a:r>
        </a:p>
      </dgm:t>
    </dgm:pt>
    <dgm:pt modelId="{ADD64108-6153-4FD2-93B8-AFC71A1BDF71}" type="parTrans" cxnId="{BADFC3CE-2F2E-4000-B725-0712F631497A}">
      <dgm:prSet/>
      <dgm:spPr/>
      <dgm:t>
        <a:bodyPr/>
        <a:lstStyle/>
        <a:p>
          <a:endParaRPr lang="en-US"/>
        </a:p>
      </dgm:t>
    </dgm:pt>
    <dgm:pt modelId="{3C9652C8-C29F-475E-A182-CAFA2A1F7C11}" type="sibTrans" cxnId="{BADFC3CE-2F2E-4000-B725-0712F631497A}">
      <dgm:prSet/>
      <dgm:spPr/>
      <dgm:t>
        <a:bodyPr/>
        <a:lstStyle/>
        <a:p>
          <a:endParaRPr lang="en-US"/>
        </a:p>
      </dgm:t>
    </dgm:pt>
    <dgm:pt modelId="{D9553614-3464-4C3E-B9E4-F9A717ED3610}">
      <dgm:prSet phldrT="[Text]"/>
      <dgm:spPr/>
      <dgm:t>
        <a:bodyPr/>
        <a:lstStyle/>
        <a:p>
          <a:r>
            <a:rPr lang="en-US" dirty="0"/>
            <a:t>Model Evaluation</a:t>
          </a:r>
        </a:p>
      </dgm:t>
    </dgm:pt>
    <dgm:pt modelId="{AF9FE3D2-C8F4-4A8E-833D-002108F8585F}" type="parTrans" cxnId="{2494347A-2979-4407-AFC6-42FDBA472133}">
      <dgm:prSet/>
      <dgm:spPr/>
      <dgm:t>
        <a:bodyPr/>
        <a:lstStyle/>
        <a:p>
          <a:endParaRPr lang="en-US"/>
        </a:p>
      </dgm:t>
    </dgm:pt>
    <dgm:pt modelId="{E586DAF3-499F-4AB0-9A1F-72816CAA0B27}" type="sibTrans" cxnId="{2494347A-2979-4407-AFC6-42FDBA472133}">
      <dgm:prSet/>
      <dgm:spPr/>
      <dgm:t>
        <a:bodyPr/>
        <a:lstStyle/>
        <a:p>
          <a:endParaRPr lang="en-US"/>
        </a:p>
      </dgm:t>
    </dgm:pt>
    <dgm:pt modelId="{9D5EADE4-CCD1-477D-9D90-29396BACE968}">
      <dgm:prSet phldrT="[Text]"/>
      <dgm:spPr/>
      <dgm:t>
        <a:bodyPr/>
        <a:lstStyle/>
        <a:p>
          <a:r>
            <a:rPr lang="en-US" dirty="0"/>
            <a:t>Model Integration</a:t>
          </a:r>
        </a:p>
      </dgm:t>
    </dgm:pt>
    <dgm:pt modelId="{B7EB9229-22FD-4FED-9B60-DBEFB1B476EB}" type="parTrans" cxnId="{A4933DC4-B210-41F6-9647-7B3C9F828089}">
      <dgm:prSet/>
      <dgm:spPr/>
      <dgm:t>
        <a:bodyPr/>
        <a:lstStyle/>
        <a:p>
          <a:endParaRPr lang="en-US"/>
        </a:p>
      </dgm:t>
    </dgm:pt>
    <dgm:pt modelId="{56776103-E56E-4962-BC05-856F690894FB}" type="sibTrans" cxnId="{A4933DC4-B210-41F6-9647-7B3C9F828089}">
      <dgm:prSet/>
      <dgm:spPr/>
      <dgm:t>
        <a:bodyPr/>
        <a:lstStyle/>
        <a:p>
          <a:endParaRPr lang="en-US"/>
        </a:p>
      </dgm:t>
    </dgm:pt>
    <dgm:pt modelId="{C92CB8F6-E239-4F26-A4B6-390B8C76D177}" type="pres">
      <dgm:prSet presAssocID="{AA220C12-36DD-4BC4-B9D3-0DEC5B18471A}" presName="diagram" presStyleCnt="0">
        <dgm:presLayoutVars>
          <dgm:dir/>
          <dgm:resizeHandles val="exact"/>
        </dgm:presLayoutVars>
      </dgm:prSet>
      <dgm:spPr/>
    </dgm:pt>
    <dgm:pt modelId="{31548D25-9BAF-4A49-80CC-7DCD0CC762C9}" type="pres">
      <dgm:prSet presAssocID="{9AA9DC38-B94C-4971-A210-4683613D4DC5}" presName="node" presStyleLbl="node1" presStyleIdx="0" presStyleCnt="8">
        <dgm:presLayoutVars>
          <dgm:bulletEnabled val="1"/>
        </dgm:presLayoutVars>
      </dgm:prSet>
      <dgm:spPr/>
    </dgm:pt>
    <dgm:pt modelId="{1556D7CE-73E0-4A35-9D17-EA732E5B6571}" type="pres">
      <dgm:prSet presAssocID="{59A091EB-2795-4D27-8C65-59D05E8783A3}" presName="sibTrans" presStyleLbl="sibTrans2D1" presStyleIdx="0" presStyleCnt="7"/>
      <dgm:spPr/>
    </dgm:pt>
    <dgm:pt modelId="{CB089676-E40E-47BC-8D8D-61ACBA963F1B}" type="pres">
      <dgm:prSet presAssocID="{59A091EB-2795-4D27-8C65-59D05E8783A3}" presName="connectorText" presStyleLbl="sibTrans2D1" presStyleIdx="0" presStyleCnt="7"/>
      <dgm:spPr/>
    </dgm:pt>
    <dgm:pt modelId="{AD0FC504-8089-4979-A73F-DD2C809F5165}" type="pres">
      <dgm:prSet presAssocID="{D8869F31-75C5-40EF-A62B-8D8457C489A4}" presName="node" presStyleLbl="node1" presStyleIdx="1" presStyleCnt="8">
        <dgm:presLayoutVars>
          <dgm:bulletEnabled val="1"/>
        </dgm:presLayoutVars>
      </dgm:prSet>
      <dgm:spPr/>
    </dgm:pt>
    <dgm:pt modelId="{8350A52D-A9F5-4F15-B00B-EABFCBB7C207}" type="pres">
      <dgm:prSet presAssocID="{5D515E15-D127-4E25-937F-DD436878F527}" presName="sibTrans" presStyleLbl="sibTrans2D1" presStyleIdx="1" presStyleCnt="7"/>
      <dgm:spPr/>
    </dgm:pt>
    <dgm:pt modelId="{F3365967-BD2D-4256-8BC8-286D78B9475D}" type="pres">
      <dgm:prSet presAssocID="{5D515E15-D127-4E25-937F-DD436878F527}" presName="connectorText" presStyleLbl="sibTrans2D1" presStyleIdx="1" presStyleCnt="7"/>
      <dgm:spPr/>
    </dgm:pt>
    <dgm:pt modelId="{39963294-6741-45A3-BBA7-B07062B34E1D}" type="pres">
      <dgm:prSet presAssocID="{8B1B7028-7F37-40D7-BDD0-DAFE796BE4FF}" presName="node" presStyleLbl="node1" presStyleIdx="2" presStyleCnt="8">
        <dgm:presLayoutVars>
          <dgm:bulletEnabled val="1"/>
        </dgm:presLayoutVars>
      </dgm:prSet>
      <dgm:spPr/>
    </dgm:pt>
    <dgm:pt modelId="{EA1361E5-52AD-4659-8EB1-A23CDA3AB8BB}" type="pres">
      <dgm:prSet presAssocID="{833D5C78-6DF2-4770-B533-21CB0BD346C5}" presName="sibTrans" presStyleLbl="sibTrans2D1" presStyleIdx="2" presStyleCnt="7"/>
      <dgm:spPr/>
    </dgm:pt>
    <dgm:pt modelId="{6BE82B11-054B-40F4-8F60-50C0A9139CAC}" type="pres">
      <dgm:prSet presAssocID="{833D5C78-6DF2-4770-B533-21CB0BD346C5}" presName="connectorText" presStyleLbl="sibTrans2D1" presStyleIdx="2" presStyleCnt="7"/>
      <dgm:spPr/>
    </dgm:pt>
    <dgm:pt modelId="{A10B6474-DDA3-404D-8C25-E9AB635EAD87}" type="pres">
      <dgm:prSet presAssocID="{81155BCE-CAD3-4B0E-9F9A-0F918AECCAAA}" presName="node" presStyleLbl="node1" presStyleIdx="3" presStyleCnt="8">
        <dgm:presLayoutVars>
          <dgm:bulletEnabled val="1"/>
        </dgm:presLayoutVars>
      </dgm:prSet>
      <dgm:spPr/>
    </dgm:pt>
    <dgm:pt modelId="{73958B6B-C499-4A75-A5CD-AA6A1D850123}" type="pres">
      <dgm:prSet presAssocID="{099D7A3D-0838-44C3-A57C-2ADF62DA8DE4}" presName="sibTrans" presStyleLbl="sibTrans2D1" presStyleIdx="3" presStyleCnt="7"/>
      <dgm:spPr/>
    </dgm:pt>
    <dgm:pt modelId="{38C465E3-914D-47ED-87B1-80EE4C5467A7}" type="pres">
      <dgm:prSet presAssocID="{099D7A3D-0838-44C3-A57C-2ADF62DA8DE4}" presName="connectorText" presStyleLbl="sibTrans2D1" presStyleIdx="3" presStyleCnt="7"/>
      <dgm:spPr/>
    </dgm:pt>
    <dgm:pt modelId="{2FE54150-E40A-462A-B26D-E35F08A3B681}" type="pres">
      <dgm:prSet presAssocID="{AE9AD10F-BEE8-48C4-851D-9637FAA8BDFF}" presName="node" presStyleLbl="node1" presStyleIdx="4" presStyleCnt="8">
        <dgm:presLayoutVars>
          <dgm:bulletEnabled val="1"/>
        </dgm:presLayoutVars>
      </dgm:prSet>
      <dgm:spPr/>
    </dgm:pt>
    <dgm:pt modelId="{798DDB37-CDA2-43BE-BFA4-6F060F21503B}" type="pres">
      <dgm:prSet presAssocID="{3C9652C8-C29F-475E-A182-CAFA2A1F7C11}" presName="sibTrans" presStyleLbl="sibTrans2D1" presStyleIdx="4" presStyleCnt="7"/>
      <dgm:spPr/>
    </dgm:pt>
    <dgm:pt modelId="{3C51DFE8-B48D-481C-9507-6DF0EB918775}" type="pres">
      <dgm:prSet presAssocID="{3C9652C8-C29F-475E-A182-CAFA2A1F7C11}" presName="connectorText" presStyleLbl="sibTrans2D1" presStyleIdx="4" presStyleCnt="7"/>
      <dgm:spPr/>
    </dgm:pt>
    <dgm:pt modelId="{EA5AEBDE-BCDE-489A-9684-956F674CA74E}" type="pres">
      <dgm:prSet presAssocID="{D9553614-3464-4C3E-B9E4-F9A717ED3610}" presName="node" presStyleLbl="node1" presStyleIdx="5" presStyleCnt="8">
        <dgm:presLayoutVars>
          <dgm:bulletEnabled val="1"/>
        </dgm:presLayoutVars>
      </dgm:prSet>
      <dgm:spPr/>
    </dgm:pt>
    <dgm:pt modelId="{DAFD7D85-AE17-4F31-BF20-EA8F5C2B18B2}" type="pres">
      <dgm:prSet presAssocID="{E586DAF3-499F-4AB0-9A1F-72816CAA0B27}" presName="sibTrans" presStyleLbl="sibTrans2D1" presStyleIdx="5" presStyleCnt="7"/>
      <dgm:spPr/>
    </dgm:pt>
    <dgm:pt modelId="{18FDD5F6-3915-470B-84F4-886CFB6D227F}" type="pres">
      <dgm:prSet presAssocID="{E586DAF3-499F-4AB0-9A1F-72816CAA0B27}" presName="connectorText" presStyleLbl="sibTrans2D1" presStyleIdx="5" presStyleCnt="7"/>
      <dgm:spPr/>
    </dgm:pt>
    <dgm:pt modelId="{66246E41-B04F-4341-8D83-B731EF77B204}" type="pres">
      <dgm:prSet presAssocID="{9D5EADE4-CCD1-477D-9D90-29396BACE968}" presName="node" presStyleLbl="node1" presStyleIdx="6" presStyleCnt="8">
        <dgm:presLayoutVars>
          <dgm:bulletEnabled val="1"/>
        </dgm:presLayoutVars>
      </dgm:prSet>
      <dgm:spPr/>
    </dgm:pt>
    <dgm:pt modelId="{2FF98B46-D9A0-4396-8CB9-329D5BDB5CB6}" type="pres">
      <dgm:prSet presAssocID="{56776103-E56E-4962-BC05-856F690894FB}" presName="sibTrans" presStyleLbl="sibTrans2D1" presStyleIdx="6" presStyleCnt="7"/>
      <dgm:spPr/>
    </dgm:pt>
    <dgm:pt modelId="{6D4B7853-2568-430E-9EF0-FB291AEE268A}" type="pres">
      <dgm:prSet presAssocID="{56776103-E56E-4962-BC05-856F690894FB}" presName="connectorText" presStyleLbl="sibTrans2D1" presStyleIdx="6" presStyleCnt="7"/>
      <dgm:spPr/>
    </dgm:pt>
    <dgm:pt modelId="{5B05FC53-FFFC-4B3C-81EA-511D329322A7}" type="pres">
      <dgm:prSet presAssocID="{D0671C60-5EAB-4A77-B624-688B5706D67E}" presName="node" presStyleLbl="node1" presStyleIdx="7" presStyleCnt="8">
        <dgm:presLayoutVars>
          <dgm:bulletEnabled val="1"/>
        </dgm:presLayoutVars>
      </dgm:prSet>
      <dgm:spPr/>
    </dgm:pt>
  </dgm:ptLst>
  <dgm:cxnLst>
    <dgm:cxn modelId="{12CB850B-8AF9-47CB-8CE0-6BEA01C7A2DB}" type="presOf" srcId="{D8869F31-75C5-40EF-A62B-8D8457C489A4}" destId="{AD0FC504-8089-4979-A73F-DD2C809F5165}" srcOrd="0" destOrd="0" presId="urn:microsoft.com/office/officeart/2005/8/layout/process5"/>
    <dgm:cxn modelId="{E507E80D-3C53-4780-9971-9BE236662A55}" type="presOf" srcId="{56776103-E56E-4962-BC05-856F690894FB}" destId="{2FF98B46-D9A0-4396-8CB9-329D5BDB5CB6}" srcOrd="0" destOrd="0" presId="urn:microsoft.com/office/officeart/2005/8/layout/process5"/>
    <dgm:cxn modelId="{671E0D0F-A2AD-4261-ABCE-CFB98F110B41}" type="presOf" srcId="{9D5EADE4-CCD1-477D-9D90-29396BACE968}" destId="{66246E41-B04F-4341-8D83-B731EF77B204}" srcOrd="0" destOrd="0" presId="urn:microsoft.com/office/officeart/2005/8/layout/process5"/>
    <dgm:cxn modelId="{CC8DD217-DD6E-4BC9-8825-982043A6ED32}" type="presOf" srcId="{56776103-E56E-4962-BC05-856F690894FB}" destId="{6D4B7853-2568-430E-9EF0-FB291AEE268A}" srcOrd="1" destOrd="0" presId="urn:microsoft.com/office/officeart/2005/8/layout/process5"/>
    <dgm:cxn modelId="{7E418918-FD69-46C6-86D9-D9FBB48F9188}" type="presOf" srcId="{AE9AD10F-BEE8-48C4-851D-9637FAA8BDFF}" destId="{2FE54150-E40A-462A-B26D-E35F08A3B681}" srcOrd="0" destOrd="0" presId="urn:microsoft.com/office/officeart/2005/8/layout/process5"/>
    <dgm:cxn modelId="{5474DD1A-2C16-4AF7-AEEA-63329F67E828}" type="presOf" srcId="{833D5C78-6DF2-4770-B533-21CB0BD346C5}" destId="{EA1361E5-52AD-4659-8EB1-A23CDA3AB8BB}" srcOrd="0" destOrd="0" presId="urn:microsoft.com/office/officeart/2005/8/layout/process5"/>
    <dgm:cxn modelId="{E233542F-8C1C-4735-88D6-26519C5E8168}" srcId="{AA220C12-36DD-4BC4-B9D3-0DEC5B18471A}" destId="{D8869F31-75C5-40EF-A62B-8D8457C489A4}" srcOrd="1" destOrd="0" parTransId="{4068BC12-FAAB-4A4A-8C3D-E3CD47375AEA}" sibTransId="{5D515E15-D127-4E25-937F-DD436878F527}"/>
    <dgm:cxn modelId="{4323793D-8B3A-40D2-BDB0-B9E280E8CF24}" type="presOf" srcId="{AA220C12-36DD-4BC4-B9D3-0DEC5B18471A}" destId="{C92CB8F6-E239-4F26-A4B6-390B8C76D177}" srcOrd="0" destOrd="0" presId="urn:microsoft.com/office/officeart/2005/8/layout/process5"/>
    <dgm:cxn modelId="{9385EF4A-5E3C-41E1-936E-A78E52F79530}" type="presOf" srcId="{81155BCE-CAD3-4B0E-9F9A-0F918AECCAAA}" destId="{A10B6474-DDA3-404D-8C25-E9AB635EAD87}" srcOrd="0" destOrd="0" presId="urn:microsoft.com/office/officeart/2005/8/layout/process5"/>
    <dgm:cxn modelId="{8683094B-B0D9-4A90-8C4B-9CDC328F0D0F}" type="presOf" srcId="{5D515E15-D127-4E25-937F-DD436878F527}" destId="{F3365967-BD2D-4256-8BC8-286D78B9475D}" srcOrd="1" destOrd="0" presId="urn:microsoft.com/office/officeart/2005/8/layout/process5"/>
    <dgm:cxn modelId="{91D24F4D-DF3C-41B4-A3EC-D241B130333B}" type="presOf" srcId="{E586DAF3-499F-4AB0-9A1F-72816CAA0B27}" destId="{18FDD5F6-3915-470B-84F4-886CFB6D227F}" srcOrd="1" destOrd="0" presId="urn:microsoft.com/office/officeart/2005/8/layout/process5"/>
    <dgm:cxn modelId="{04A6AD4F-4641-47EB-8F7A-809D540B7124}" type="presOf" srcId="{8B1B7028-7F37-40D7-BDD0-DAFE796BE4FF}" destId="{39963294-6741-45A3-BBA7-B07062B34E1D}" srcOrd="0" destOrd="0" presId="urn:microsoft.com/office/officeart/2005/8/layout/process5"/>
    <dgm:cxn modelId="{315CDF6F-75E7-4C58-BB4E-CEB3710E66C2}" type="presOf" srcId="{833D5C78-6DF2-4770-B533-21CB0BD346C5}" destId="{6BE82B11-054B-40F4-8F60-50C0A9139CAC}" srcOrd="1" destOrd="0" presId="urn:microsoft.com/office/officeart/2005/8/layout/process5"/>
    <dgm:cxn modelId="{D9819A75-082B-4BC5-A30E-5DE28D5B88A2}" type="presOf" srcId="{59A091EB-2795-4D27-8C65-59D05E8783A3}" destId="{CB089676-E40E-47BC-8D8D-61ACBA963F1B}" srcOrd="1" destOrd="0" presId="urn:microsoft.com/office/officeart/2005/8/layout/process5"/>
    <dgm:cxn modelId="{2494347A-2979-4407-AFC6-42FDBA472133}" srcId="{AA220C12-36DD-4BC4-B9D3-0DEC5B18471A}" destId="{D9553614-3464-4C3E-B9E4-F9A717ED3610}" srcOrd="5" destOrd="0" parTransId="{AF9FE3D2-C8F4-4A8E-833D-002108F8585F}" sibTransId="{E586DAF3-499F-4AB0-9A1F-72816CAA0B27}"/>
    <dgm:cxn modelId="{8319F79F-2C7B-4324-83DC-50A0BA011E64}" type="presOf" srcId="{099D7A3D-0838-44C3-A57C-2ADF62DA8DE4}" destId="{38C465E3-914D-47ED-87B1-80EE4C5467A7}" srcOrd="1" destOrd="0" presId="urn:microsoft.com/office/officeart/2005/8/layout/process5"/>
    <dgm:cxn modelId="{357E2CAA-DB6D-4D0C-A045-20B243B4D47F}" type="presOf" srcId="{D0671C60-5EAB-4A77-B624-688B5706D67E}" destId="{5B05FC53-FFFC-4B3C-81EA-511D329322A7}" srcOrd="0" destOrd="0" presId="urn:microsoft.com/office/officeart/2005/8/layout/process5"/>
    <dgm:cxn modelId="{14AF6CAA-A2E2-4DE1-ABDA-E8CA3FD34807}" srcId="{AA220C12-36DD-4BC4-B9D3-0DEC5B18471A}" destId="{D0671C60-5EAB-4A77-B624-688B5706D67E}" srcOrd="7" destOrd="0" parTransId="{8DD2CA75-5032-4AA9-B5AB-980F5AFF6AEC}" sibTransId="{D0EAEF0C-2139-41C1-9E50-19471E8B819C}"/>
    <dgm:cxn modelId="{C9404FB5-3F13-44F4-AADC-35F48A5A15C0}" type="presOf" srcId="{099D7A3D-0838-44C3-A57C-2ADF62DA8DE4}" destId="{73958B6B-C499-4A75-A5CD-AA6A1D850123}" srcOrd="0" destOrd="0" presId="urn:microsoft.com/office/officeart/2005/8/layout/process5"/>
    <dgm:cxn modelId="{98BF84BD-5708-4BB8-B918-A7489AB5FA83}" srcId="{AA220C12-36DD-4BC4-B9D3-0DEC5B18471A}" destId="{9AA9DC38-B94C-4971-A210-4683613D4DC5}" srcOrd="0" destOrd="0" parTransId="{79707FB1-6B58-494A-9FF7-3E0A0D54F5A7}" sibTransId="{59A091EB-2795-4D27-8C65-59D05E8783A3}"/>
    <dgm:cxn modelId="{A4933DC4-B210-41F6-9647-7B3C9F828089}" srcId="{AA220C12-36DD-4BC4-B9D3-0DEC5B18471A}" destId="{9D5EADE4-CCD1-477D-9D90-29396BACE968}" srcOrd="6" destOrd="0" parTransId="{B7EB9229-22FD-4FED-9B60-DBEFB1B476EB}" sibTransId="{56776103-E56E-4962-BC05-856F690894FB}"/>
    <dgm:cxn modelId="{08BCE5C9-5C66-4772-9524-3CF97F50749E}" type="presOf" srcId="{3C9652C8-C29F-475E-A182-CAFA2A1F7C11}" destId="{3C51DFE8-B48D-481C-9507-6DF0EB918775}" srcOrd="1" destOrd="0" presId="urn:microsoft.com/office/officeart/2005/8/layout/process5"/>
    <dgm:cxn modelId="{D8054ECA-9B15-4EF1-8DFC-6012896D0AED}" srcId="{AA220C12-36DD-4BC4-B9D3-0DEC5B18471A}" destId="{81155BCE-CAD3-4B0E-9F9A-0F918AECCAAA}" srcOrd="3" destOrd="0" parTransId="{540A5BB1-9AB1-43DD-8424-7F9EF781A0A1}" sibTransId="{099D7A3D-0838-44C3-A57C-2ADF62DA8DE4}"/>
    <dgm:cxn modelId="{BADFC3CE-2F2E-4000-B725-0712F631497A}" srcId="{AA220C12-36DD-4BC4-B9D3-0DEC5B18471A}" destId="{AE9AD10F-BEE8-48C4-851D-9637FAA8BDFF}" srcOrd="4" destOrd="0" parTransId="{ADD64108-6153-4FD2-93B8-AFC71A1BDF71}" sibTransId="{3C9652C8-C29F-475E-A182-CAFA2A1F7C11}"/>
    <dgm:cxn modelId="{79CE9CD2-E129-46F0-B174-1CA247E9254E}" srcId="{AA220C12-36DD-4BC4-B9D3-0DEC5B18471A}" destId="{8B1B7028-7F37-40D7-BDD0-DAFE796BE4FF}" srcOrd="2" destOrd="0" parTransId="{E0F65E68-E8F6-4878-938C-F2CEB1578872}" sibTransId="{833D5C78-6DF2-4770-B533-21CB0BD346C5}"/>
    <dgm:cxn modelId="{2F70ECD6-D7BF-446D-9DB5-DA8B8209E5FA}" type="presOf" srcId="{5D515E15-D127-4E25-937F-DD436878F527}" destId="{8350A52D-A9F5-4F15-B00B-EABFCBB7C207}" srcOrd="0" destOrd="0" presId="urn:microsoft.com/office/officeart/2005/8/layout/process5"/>
    <dgm:cxn modelId="{2312AFDC-AE6C-4F67-B047-5047D16C39DF}" type="presOf" srcId="{D9553614-3464-4C3E-B9E4-F9A717ED3610}" destId="{EA5AEBDE-BCDE-489A-9684-956F674CA74E}" srcOrd="0" destOrd="0" presId="urn:microsoft.com/office/officeart/2005/8/layout/process5"/>
    <dgm:cxn modelId="{DF2EDEDF-D791-46EE-B063-69C37AAD0A66}" type="presOf" srcId="{59A091EB-2795-4D27-8C65-59D05E8783A3}" destId="{1556D7CE-73E0-4A35-9D17-EA732E5B6571}" srcOrd="0" destOrd="0" presId="urn:microsoft.com/office/officeart/2005/8/layout/process5"/>
    <dgm:cxn modelId="{ADB8D8EB-3483-4955-B19A-1C5AA0C88854}" type="presOf" srcId="{9AA9DC38-B94C-4971-A210-4683613D4DC5}" destId="{31548D25-9BAF-4A49-80CC-7DCD0CC762C9}" srcOrd="0" destOrd="0" presId="urn:microsoft.com/office/officeart/2005/8/layout/process5"/>
    <dgm:cxn modelId="{53390EF5-7DA0-4442-B1C5-373274341C91}" type="presOf" srcId="{E586DAF3-499F-4AB0-9A1F-72816CAA0B27}" destId="{DAFD7D85-AE17-4F31-BF20-EA8F5C2B18B2}" srcOrd="0" destOrd="0" presId="urn:microsoft.com/office/officeart/2005/8/layout/process5"/>
    <dgm:cxn modelId="{77A02CF9-1B8A-455A-9847-BCB1F46029FD}" type="presOf" srcId="{3C9652C8-C29F-475E-A182-CAFA2A1F7C11}" destId="{798DDB37-CDA2-43BE-BFA4-6F060F21503B}" srcOrd="0" destOrd="0" presId="urn:microsoft.com/office/officeart/2005/8/layout/process5"/>
    <dgm:cxn modelId="{B68A5657-B056-4087-87A7-54C84893B074}" type="presParOf" srcId="{C92CB8F6-E239-4F26-A4B6-390B8C76D177}" destId="{31548D25-9BAF-4A49-80CC-7DCD0CC762C9}" srcOrd="0" destOrd="0" presId="urn:microsoft.com/office/officeart/2005/8/layout/process5"/>
    <dgm:cxn modelId="{EA12A183-5AFB-451F-A725-4AAFBF93A759}" type="presParOf" srcId="{C92CB8F6-E239-4F26-A4B6-390B8C76D177}" destId="{1556D7CE-73E0-4A35-9D17-EA732E5B6571}" srcOrd="1" destOrd="0" presId="urn:microsoft.com/office/officeart/2005/8/layout/process5"/>
    <dgm:cxn modelId="{10AFB5A1-DCD5-41CC-8001-875A225FA30B}" type="presParOf" srcId="{1556D7CE-73E0-4A35-9D17-EA732E5B6571}" destId="{CB089676-E40E-47BC-8D8D-61ACBA963F1B}" srcOrd="0" destOrd="0" presId="urn:microsoft.com/office/officeart/2005/8/layout/process5"/>
    <dgm:cxn modelId="{036EDCCB-B5D0-4EEB-A14C-63656B8CBBC7}" type="presParOf" srcId="{C92CB8F6-E239-4F26-A4B6-390B8C76D177}" destId="{AD0FC504-8089-4979-A73F-DD2C809F5165}" srcOrd="2" destOrd="0" presId="urn:microsoft.com/office/officeart/2005/8/layout/process5"/>
    <dgm:cxn modelId="{833D4800-D29D-49A5-A7EF-4DA1CF9DF950}" type="presParOf" srcId="{C92CB8F6-E239-4F26-A4B6-390B8C76D177}" destId="{8350A52D-A9F5-4F15-B00B-EABFCBB7C207}" srcOrd="3" destOrd="0" presId="urn:microsoft.com/office/officeart/2005/8/layout/process5"/>
    <dgm:cxn modelId="{B6CAC81F-C801-4B62-9778-C875EB7B9055}" type="presParOf" srcId="{8350A52D-A9F5-4F15-B00B-EABFCBB7C207}" destId="{F3365967-BD2D-4256-8BC8-286D78B9475D}" srcOrd="0" destOrd="0" presId="urn:microsoft.com/office/officeart/2005/8/layout/process5"/>
    <dgm:cxn modelId="{12779A5E-2EE4-4F00-8E84-75246BD1BA14}" type="presParOf" srcId="{C92CB8F6-E239-4F26-A4B6-390B8C76D177}" destId="{39963294-6741-45A3-BBA7-B07062B34E1D}" srcOrd="4" destOrd="0" presId="urn:microsoft.com/office/officeart/2005/8/layout/process5"/>
    <dgm:cxn modelId="{E7419EDD-BE32-48BB-9180-7C89C732FE41}" type="presParOf" srcId="{C92CB8F6-E239-4F26-A4B6-390B8C76D177}" destId="{EA1361E5-52AD-4659-8EB1-A23CDA3AB8BB}" srcOrd="5" destOrd="0" presId="urn:microsoft.com/office/officeart/2005/8/layout/process5"/>
    <dgm:cxn modelId="{843A2BEB-4360-4526-8E4D-9162FB9880FE}" type="presParOf" srcId="{EA1361E5-52AD-4659-8EB1-A23CDA3AB8BB}" destId="{6BE82B11-054B-40F4-8F60-50C0A9139CAC}" srcOrd="0" destOrd="0" presId="urn:microsoft.com/office/officeart/2005/8/layout/process5"/>
    <dgm:cxn modelId="{A6284E31-F7D7-4A7C-9A09-E87E9A7FBB49}" type="presParOf" srcId="{C92CB8F6-E239-4F26-A4B6-390B8C76D177}" destId="{A10B6474-DDA3-404D-8C25-E9AB635EAD87}" srcOrd="6" destOrd="0" presId="urn:microsoft.com/office/officeart/2005/8/layout/process5"/>
    <dgm:cxn modelId="{526091FB-4138-483C-967B-60783857DA68}" type="presParOf" srcId="{C92CB8F6-E239-4F26-A4B6-390B8C76D177}" destId="{73958B6B-C499-4A75-A5CD-AA6A1D850123}" srcOrd="7" destOrd="0" presId="urn:microsoft.com/office/officeart/2005/8/layout/process5"/>
    <dgm:cxn modelId="{649BF991-7F15-4DC6-A333-5D48D3D81729}" type="presParOf" srcId="{73958B6B-C499-4A75-A5CD-AA6A1D850123}" destId="{38C465E3-914D-47ED-87B1-80EE4C5467A7}" srcOrd="0" destOrd="0" presId="urn:microsoft.com/office/officeart/2005/8/layout/process5"/>
    <dgm:cxn modelId="{220FDD16-B535-4302-B2A1-AEFC94E60F1E}" type="presParOf" srcId="{C92CB8F6-E239-4F26-A4B6-390B8C76D177}" destId="{2FE54150-E40A-462A-B26D-E35F08A3B681}" srcOrd="8" destOrd="0" presId="urn:microsoft.com/office/officeart/2005/8/layout/process5"/>
    <dgm:cxn modelId="{ABDBC109-626A-4E8D-AB24-531504C80320}" type="presParOf" srcId="{C92CB8F6-E239-4F26-A4B6-390B8C76D177}" destId="{798DDB37-CDA2-43BE-BFA4-6F060F21503B}" srcOrd="9" destOrd="0" presId="urn:microsoft.com/office/officeart/2005/8/layout/process5"/>
    <dgm:cxn modelId="{06EBFF32-CEF2-4215-BAA2-763EAE47500A}" type="presParOf" srcId="{798DDB37-CDA2-43BE-BFA4-6F060F21503B}" destId="{3C51DFE8-B48D-481C-9507-6DF0EB918775}" srcOrd="0" destOrd="0" presId="urn:microsoft.com/office/officeart/2005/8/layout/process5"/>
    <dgm:cxn modelId="{647D112E-B8E2-4DE6-8B48-69451DF4C317}" type="presParOf" srcId="{C92CB8F6-E239-4F26-A4B6-390B8C76D177}" destId="{EA5AEBDE-BCDE-489A-9684-956F674CA74E}" srcOrd="10" destOrd="0" presId="urn:microsoft.com/office/officeart/2005/8/layout/process5"/>
    <dgm:cxn modelId="{6869176F-9B16-4DAC-BB73-37D1D458981E}" type="presParOf" srcId="{C92CB8F6-E239-4F26-A4B6-390B8C76D177}" destId="{DAFD7D85-AE17-4F31-BF20-EA8F5C2B18B2}" srcOrd="11" destOrd="0" presId="urn:microsoft.com/office/officeart/2005/8/layout/process5"/>
    <dgm:cxn modelId="{8D85A3EB-7478-4285-AAEB-725F5F49B637}" type="presParOf" srcId="{DAFD7D85-AE17-4F31-BF20-EA8F5C2B18B2}" destId="{18FDD5F6-3915-470B-84F4-886CFB6D227F}" srcOrd="0" destOrd="0" presId="urn:microsoft.com/office/officeart/2005/8/layout/process5"/>
    <dgm:cxn modelId="{DCDCFD14-82D0-4F0C-B46B-6A82FE421282}" type="presParOf" srcId="{C92CB8F6-E239-4F26-A4B6-390B8C76D177}" destId="{66246E41-B04F-4341-8D83-B731EF77B204}" srcOrd="12" destOrd="0" presId="urn:microsoft.com/office/officeart/2005/8/layout/process5"/>
    <dgm:cxn modelId="{BECAA336-92A2-4A82-BA6A-C143CE8A09C0}" type="presParOf" srcId="{C92CB8F6-E239-4F26-A4B6-390B8C76D177}" destId="{2FF98B46-D9A0-4396-8CB9-329D5BDB5CB6}" srcOrd="13" destOrd="0" presId="urn:microsoft.com/office/officeart/2005/8/layout/process5"/>
    <dgm:cxn modelId="{10FC100A-0890-4677-B817-EC69A69E29A9}" type="presParOf" srcId="{2FF98B46-D9A0-4396-8CB9-329D5BDB5CB6}" destId="{6D4B7853-2568-430E-9EF0-FB291AEE268A}" srcOrd="0" destOrd="0" presId="urn:microsoft.com/office/officeart/2005/8/layout/process5"/>
    <dgm:cxn modelId="{A346E538-7F28-4864-8A08-50A341C42092}" type="presParOf" srcId="{C92CB8F6-E239-4F26-A4B6-390B8C76D177}" destId="{5B05FC53-FFFC-4B3C-81EA-511D329322A7}" srcOrd="1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0AE88BA-3897-4A31-AE0A-F32565724B13}" type="doc">
      <dgm:prSet loTypeId="urn:microsoft.com/office/officeart/2008/layout/PictureGrid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35E72E7-9EDA-471E-9829-7E3E0A66C5A0}">
      <dgm:prSet phldrT="[Text]" phldr="1"/>
      <dgm:spPr/>
      <dgm:t>
        <a:bodyPr/>
        <a:lstStyle/>
        <a:p>
          <a:endParaRPr lang="en-US"/>
        </a:p>
      </dgm:t>
    </dgm:pt>
    <dgm:pt modelId="{C1357B09-1779-4820-8921-DA3CDDAAE450}" type="parTrans" cxnId="{77BF4428-A366-4E38-97F5-3DF71985DDAA}">
      <dgm:prSet/>
      <dgm:spPr/>
      <dgm:t>
        <a:bodyPr/>
        <a:lstStyle/>
        <a:p>
          <a:endParaRPr lang="en-US"/>
        </a:p>
      </dgm:t>
    </dgm:pt>
    <dgm:pt modelId="{DF309CDC-3EDB-4D31-939A-C29C43BA643F}" type="sibTrans" cxnId="{77BF4428-A366-4E38-97F5-3DF71985DDAA}">
      <dgm:prSet/>
      <dgm:spPr/>
      <dgm:t>
        <a:bodyPr/>
        <a:lstStyle/>
        <a:p>
          <a:endParaRPr lang="en-US"/>
        </a:p>
      </dgm:t>
    </dgm:pt>
    <dgm:pt modelId="{46EDAD0A-D4B4-45AA-8E4B-6765E3405108}">
      <dgm:prSet phldrT="[Text]" phldr="1"/>
      <dgm:spPr/>
      <dgm:t>
        <a:bodyPr/>
        <a:lstStyle/>
        <a:p>
          <a:endParaRPr lang="en-US"/>
        </a:p>
      </dgm:t>
    </dgm:pt>
    <dgm:pt modelId="{F9C45BB0-26D3-4C47-9020-5D7DE3EA7F49}" type="parTrans" cxnId="{49E69643-5954-4FB0-9093-E99804022190}">
      <dgm:prSet/>
      <dgm:spPr/>
      <dgm:t>
        <a:bodyPr/>
        <a:lstStyle/>
        <a:p>
          <a:endParaRPr lang="en-US"/>
        </a:p>
      </dgm:t>
    </dgm:pt>
    <dgm:pt modelId="{6C5C67F4-0E13-4F76-A542-B9EBA542F3B4}" type="sibTrans" cxnId="{49E69643-5954-4FB0-9093-E99804022190}">
      <dgm:prSet/>
      <dgm:spPr/>
      <dgm:t>
        <a:bodyPr/>
        <a:lstStyle/>
        <a:p>
          <a:endParaRPr lang="en-US"/>
        </a:p>
      </dgm:t>
    </dgm:pt>
    <dgm:pt modelId="{862F28FA-8F77-4A06-B2F6-2AB6E73FA76D}">
      <dgm:prSet phldrT="[Text]" phldr="1"/>
      <dgm:spPr/>
      <dgm:t>
        <a:bodyPr/>
        <a:lstStyle/>
        <a:p>
          <a:endParaRPr lang="en-US"/>
        </a:p>
      </dgm:t>
    </dgm:pt>
    <dgm:pt modelId="{04D564BE-C72C-4EF1-97CE-97E6446F5A23}" type="parTrans" cxnId="{78CF906D-3ED8-460B-B873-4ADD9BB68F81}">
      <dgm:prSet/>
      <dgm:spPr/>
      <dgm:t>
        <a:bodyPr/>
        <a:lstStyle/>
        <a:p>
          <a:endParaRPr lang="en-US"/>
        </a:p>
      </dgm:t>
    </dgm:pt>
    <dgm:pt modelId="{E43D2BAF-F769-4D40-AD5A-A2C97832B3A9}" type="sibTrans" cxnId="{78CF906D-3ED8-460B-B873-4ADD9BB68F81}">
      <dgm:prSet/>
      <dgm:spPr/>
      <dgm:t>
        <a:bodyPr/>
        <a:lstStyle/>
        <a:p>
          <a:endParaRPr lang="en-US"/>
        </a:p>
      </dgm:t>
    </dgm:pt>
    <dgm:pt modelId="{490552CA-990E-4EDE-AAF5-E6CD29DAEEBA}">
      <dgm:prSet phldrT="[Text]" phldr="1"/>
      <dgm:spPr/>
      <dgm:t>
        <a:bodyPr/>
        <a:lstStyle/>
        <a:p>
          <a:endParaRPr lang="en-US"/>
        </a:p>
      </dgm:t>
    </dgm:pt>
    <dgm:pt modelId="{B8CD8A20-D0C9-4508-99BD-87CB9BB86F30}" type="parTrans" cxnId="{86348B80-5003-416F-B19D-4B393986230A}">
      <dgm:prSet/>
      <dgm:spPr/>
      <dgm:t>
        <a:bodyPr/>
        <a:lstStyle/>
        <a:p>
          <a:endParaRPr lang="en-US"/>
        </a:p>
      </dgm:t>
    </dgm:pt>
    <dgm:pt modelId="{E25A2923-6CF7-44DB-9E83-9636DB18DB6C}" type="sibTrans" cxnId="{86348B80-5003-416F-B19D-4B393986230A}">
      <dgm:prSet/>
      <dgm:spPr/>
      <dgm:t>
        <a:bodyPr/>
        <a:lstStyle/>
        <a:p>
          <a:endParaRPr lang="en-US"/>
        </a:p>
      </dgm:t>
    </dgm:pt>
    <dgm:pt modelId="{D6D51444-0DA1-4DDD-A642-8993B6D2498F}" type="pres">
      <dgm:prSet presAssocID="{A0AE88BA-3897-4A31-AE0A-F32565724B13}" presName="Name0" presStyleCnt="0">
        <dgm:presLayoutVars>
          <dgm:dir/>
        </dgm:presLayoutVars>
      </dgm:prSet>
      <dgm:spPr/>
    </dgm:pt>
    <dgm:pt modelId="{B1692D69-085E-4DF7-AAA0-AAAB28803323}" type="pres">
      <dgm:prSet presAssocID="{C35E72E7-9EDA-471E-9829-7E3E0A66C5A0}" presName="composite" presStyleCnt="0"/>
      <dgm:spPr/>
    </dgm:pt>
    <dgm:pt modelId="{B216DB0D-7D60-48AC-91BF-38716D3211E1}" type="pres">
      <dgm:prSet presAssocID="{C35E72E7-9EDA-471E-9829-7E3E0A66C5A0}" presName="rect2" presStyleLbl="revTx" presStyleIdx="0" presStyleCnt="4">
        <dgm:presLayoutVars>
          <dgm:bulletEnabled val="1"/>
        </dgm:presLayoutVars>
      </dgm:prSet>
      <dgm:spPr/>
    </dgm:pt>
    <dgm:pt modelId="{BF3A9359-B3E5-43D7-94AD-284AE35F68F1}" type="pres">
      <dgm:prSet presAssocID="{C35E72E7-9EDA-471E-9829-7E3E0A66C5A0}" presName="rect1" presStyleLbl="alignImgPlace1" presStyleIdx="0" presStyleCnt="4" custScaleX="210224" custScaleY="114769" custLinFactNeighborX="-45975" custLinFactNeighborY="-1026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</dgm:spPr>
    </dgm:pt>
    <dgm:pt modelId="{56BC6452-6F9A-44B3-A7FF-DCF76EF4392F}" type="pres">
      <dgm:prSet presAssocID="{DF309CDC-3EDB-4D31-939A-C29C43BA643F}" presName="sibTrans" presStyleCnt="0"/>
      <dgm:spPr/>
    </dgm:pt>
    <dgm:pt modelId="{68C5A064-5C88-4F51-9651-EF60A35C821D}" type="pres">
      <dgm:prSet presAssocID="{46EDAD0A-D4B4-45AA-8E4B-6765E3405108}" presName="composite" presStyleCnt="0"/>
      <dgm:spPr/>
    </dgm:pt>
    <dgm:pt modelId="{0DF1E09D-0074-474F-B1B0-803704854CDF}" type="pres">
      <dgm:prSet presAssocID="{46EDAD0A-D4B4-45AA-8E4B-6765E3405108}" presName="rect2" presStyleLbl="revTx" presStyleIdx="1" presStyleCnt="4">
        <dgm:presLayoutVars>
          <dgm:bulletEnabled val="1"/>
        </dgm:presLayoutVars>
      </dgm:prSet>
      <dgm:spPr/>
    </dgm:pt>
    <dgm:pt modelId="{54A07C62-6CD5-4D1F-9F89-E0138B9891DC}" type="pres">
      <dgm:prSet presAssocID="{46EDAD0A-D4B4-45AA-8E4B-6765E3405108}" presName="rect1" presStyleLbl="alignImgPlace1" presStyleIdx="1" presStyleCnt="4" custScaleX="207747" custScaleY="114230" custLinFactX="-100000" custLinFactY="34033" custLinFactNeighborX="-168526" custLinFactNeighborY="100000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</dgm:pt>
    <dgm:pt modelId="{BAD735A8-40C6-4259-BE54-A6747019828D}" type="pres">
      <dgm:prSet presAssocID="{6C5C67F4-0E13-4F76-A542-B9EBA542F3B4}" presName="sibTrans" presStyleCnt="0"/>
      <dgm:spPr/>
    </dgm:pt>
    <dgm:pt modelId="{BCF2CBE8-095F-45CF-BE3C-36AB0C40D4BB}" type="pres">
      <dgm:prSet presAssocID="{862F28FA-8F77-4A06-B2F6-2AB6E73FA76D}" presName="composite" presStyleCnt="0"/>
      <dgm:spPr/>
    </dgm:pt>
    <dgm:pt modelId="{002F70CB-0938-4F74-B758-F6213A4B566E}" type="pres">
      <dgm:prSet presAssocID="{862F28FA-8F77-4A06-B2F6-2AB6E73FA76D}" presName="rect2" presStyleLbl="revTx" presStyleIdx="2" presStyleCnt="4">
        <dgm:presLayoutVars>
          <dgm:bulletEnabled val="1"/>
        </dgm:presLayoutVars>
      </dgm:prSet>
      <dgm:spPr/>
    </dgm:pt>
    <dgm:pt modelId="{08AD8EB1-ED33-4097-A9E9-02B82F1B4051}" type="pres">
      <dgm:prSet presAssocID="{862F28FA-8F77-4A06-B2F6-2AB6E73FA76D}" presName="rect1" presStyleLbl="alignImgPlace1" presStyleIdx="2" presStyleCnt="4" custScaleX="211375" custScaleY="122082" custLinFactX="100000" custLinFactY="-43929" custLinFactNeighborX="147538" custLinFactNeighborY="-100000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</dgm:pt>
    <dgm:pt modelId="{F1BF9A19-A268-45FD-B1C1-122EE253E037}" type="pres">
      <dgm:prSet presAssocID="{E43D2BAF-F769-4D40-AD5A-A2C97832B3A9}" presName="sibTrans" presStyleCnt="0"/>
      <dgm:spPr/>
    </dgm:pt>
    <dgm:pt modelId="{2FF295FF-1ADC-40B7-A9FD-68CAF15E7287}" type="pres">
      <dgm:prSet presAssocID="{490552CA-990E-4EDE-AAF5-E6CD29DAEEBA}" presName="composite" presStyleCnt="0"/>
      <dgm:spPr/>
    </dgm:pt>
    <dgm:pt modelId="{9816CCDC-60DA-4388-BDFE-6B9284BF6568}" type="pres">
      <dgm:prSet presAssocID="{490552CA-990E-4EDE-AAF5-E6CD29DAEEBA}" presName="rect2" presStyleLbl="revTx" presStyleIdx="3" presStyleCnt="4">
        <dgm:presLayoutVars>
          <dgm:bulletEnabled val="1"/>
        </dgm:presLayoutVars>
      </dgm:prSet>
      <dgm:spPr/>
    </dgm:pt>
    <dgm:pt modelId="{1F7656B2-F3B9-4FD0-B094-3DD5E1B12396}" type="pres">
      <dgm:prSet presAssocID="{490552CA-990E-4EDE-AAF5-E6CD29DAEEBA}" presName="rect1" presStyleLbl="alignImgPlace1" presStyleIdx="3" presStyleCnt="4" custScaleX="92134" custScaleY="125031" custLinFactNeighborX="-94026" custLinFactNeighborY="-70432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</dgm:spPr>
    </dgm:pt>
  </dgm:ptLst>
  <dgm:cxnLst>
    <dgm:cxn modelId="{77BF4428-A366-4E38-97F5-3DF71985DDAA}" srcId="{A0AE88BA-3897-4A31-AE0A-F32565724B13}" destId="{C35E72E7-9EDA-471E-9829-7E3E0A66C5A0}" srcOrd="0" destOrd="0" parTransId="{C1357B09-1779-4820-8921-DA3CDDAAE450}" sibTransId="{DF309CDC-3EDB-4D31-939A-C29C43BA643F}"/>
    <dgm:cxn modelId="{02BCD333-9163-4B5C-888F-99D74CEE220A}" type="presOf" srcId="{862F28FA-8F77-4A06-B2F6-2AB6E73FA76D}" destId="{002F70CB-0938-4F74-B758-F6213A4B566E}" srcOrd="0" destOrd="0" presId="urn:microsoft.com/office/officeart/2008/layout/PictureGrid"/>
    <dgm:cxn modelId="{49E69643-5954-4FB0-9093-E99804022190}" srcId="{A0AE88BA-3897-4A31-AE0A-F32565724B13}" destId="{46EDAD0A-D4B4-45AA-8E4B-6765E3405108}" srcOrd="1" destOrd="0" parTransId="{F9C45BB0-26D3-4C47-9020-5D7DE3EA7F49}" sibTransId="{6C5C67F4-0E13-4F76-A542-B9EBA542F3B4}"/>
    <dgm:cxn modelId="{78CF906D-3ED8-460B-B873-4ADD9BB68F81}" srcId="{A0AE88BA-3897-4A31-AE0A-F32565724B13}" destId="{862F28FA-8F77-4A06-B2F6-2AB6E73FA76D}" srcOrd="2" destOrd="0" parTransId="{04D564BE-C72C-4EF1-97CE-97E6446F5A23}" sibTransId="{E43D2BAF-F769-4D40-AD5A-A2C97832B3A9}"/>
    <dgm:cxn modelId="{86348B80-5003-416F-B19D-4B393986230A}" srcId="{A0AE88BA-3897-4A31-AE0A-F32565724B13}" destId="{490552CA-990E-4EDE-AAF5-E6CD29DAEEBA}" srcOrd="3" destOrd="0" parTransId="{B8CD8A20-D0C9-4508-99BD-87CB9BB86F30}" sibTransId="{E25A2923-6CF7-44DB-9E83-9636DB18DB6C}"/>
    <dgm:cxn modelId="{CDE4B18B-0470-4FEC-A32D-8E40A7C628C2}" type="presOf" srcId="{46EDAD0A-D4B4-45AA-8E4B-6765E3405108}" destId="{0DF1E09D-0074-474F-B1B0-803704854CDF}" srcOrd="0" destOrd="0" presId="urn:microsoft.com/office/officeart/2008/layout/PictureGrid"/>
    <dgm:cxn modelId="{0420C1A4-3DE5-4F66-9BF6-2DB7895DDE00}" type="presOf" srcId="{C35E72E7-9EDA-471E-9829-7E3E0A66C5A0}" destId="{B216DB0D-7D60-48AC-91BF-38716D3211E1}" srcOrd="0" destOrd="0" presId="urn:microsoft.com/office/officeart/2008/layout/PictureGrid"/>
    <dgm:cxn modelId="{970752C4-4AB6-442E-9659-80C478A346B7}" type="presOf" srcId="{A0AE88BA-3897-4A31-AE0A-F32565724B13}" destId="{D6D51444-0DA1-4DDD-A642-8993B6D2498F}" srcOrd="0" destOrd="0" presId="urn:microsoft.com/office/officeart/2008/layout/PictureGrid"/>
    <dgm:cxn modelId="{DB4373C8-101F-4335-8992-744F3DB40B8E}" type="presOf" srcId="{490552CA-990E-4EDE-AAF5-E6CD29DAEEBA}" destId="{9816CCDC-60DA-4388-BDFE-6B9284BF6568}" srcOrd="0" destOrd="0" presId="urn:microsoft.com/office/officeart/2008/layout/PictureGrid"/>
    <dgm:cxn modelId="{41908BAB-AA12-4CD9-892D-57ABACB83D9C}" type="presParOf" srcId="{D6D51444-0DA1-4DDD-A642-8993B6D2498F}" destId="{B1692D69-085E-4DF7-AAA0-AAAB28803323}" srcOrd="0" destOrd="0" presId="urn:microsoft.com/office/officeart/2008/layout/PictureGrid"/>
    <dgm:cxn modelId="{3BEA08DD-45B7-4C5A-8281-E69D5C6194E9}" type="presParOf" srcId="{B1692D69-085E-4DF7-AAA0-AAAB28803323}" destId="{B216DB0D-7D60-48AC-91BF-38716D3211E1}" srcOrd="0" destOrd="0" presId="urn:microsoft.com/office/officeart/2008/layout/PictureGrid"/>
    <dgm:cxn modelId="{85D879A1-F72F-4FBC-8619-4459CE0AF58C}" type="presParOf" srcId="{B1692D69-085E-4DF7-AAA0-AAAB28803323}" destId="{BF3A9359-B3E5-43D7-94AD-284AE35F68F1}" srcOrd="1" destOrd="0" presId="urn:microsoft.com/office/officeart/2008/layout/PictureGrid"/>
    <dgm:cxn modelId="{16F24CB7-913A-48D4-A132-D738C7961926}" type="presParOf" srcId="{D6D51444-0DA1-4DDD-A642-8993B6D2498F}" destId="{56BC6452-6F9A-44B3-A7FF-DCF76EF4392F}" srcOrd="1" destOrd="0" presId="urn:microsoft.com/office/officeart/2008/layout/PictureGrid"/>
    <dgm:cxn modelId="{993011B9-D8A0-4DC2-A387-84305674B3AF}" type="presParOf" srcId="{D6D51444-0DA1-4DDD-A642-8993B6D2498F}" destId="{68C5A064-5C88-4F51-9651-EF60A35C821D}" srcOrd="2" destOrd="0" presId="urn:microsoft.com/office/officeart/2008/layout/PictureGrid"/>
    <dgm:cxn modelId="{D3A807C1-B613-4E33-A27F-7F8B16B28B84}" type="presParOf" srcId="{68C5A064-5C88-4F51-9651-EF60A35C821D}" destId="{0DF1E09D-0074-474F-B1B0-803704854CDF}" srcOrd="0" destOrd="0" presId="urn:microsoft.com/office/officeart/2008/layout/PictureGrid"/>
    <dgm:cxn modelId="{F0847459-B338-4539-9202-6B33B7A5E73B}" type="presParOf" srcId="{68C5A064-5C88-4F51-9651-EF60A35C821D}" destId="{54A07C62-6CD5-4D1F-9F89-E0138B9891DC}" srcOrd="1" destOrd="0" presId="urn:microsoft.com/office/officeart/2008/layout/PictureGrid"/>
    <dgm:cxn modelId="{D07D40A0-C779-48E5-B74A-737966D6EA8A}" type="presParOf" srcId="{D6D51444-0DA1-4DDD-A642-8993B6D2498F}" destId="{BAD735A8-40C6-4259-BE54-A6747019828D}" srcOrd="3" destOrd="0" presId="urn:microsoft.com/office/officeart/2008/layout/PictureGrid"/>
    <dgm:cxn modelId="{39F51464-7015-4749-A5DA-42751D0751F2}" type="presParOf" srcId="{D6D51444-0DA1-4DDD-A642-8993B6D2498F}" destId="{BCF2CBE8-095F-45CF-BE3C-36AB0C40D4BB}" srcOrd="4" destOrd="0" presId="urn:microsoft.com/office/officeart/2008/layout/PictureGrid"/>
    <dgm:cxn modelId="{7820857D-E652-4D18-88BF-F557B13375DB}" type="presParOf" srcId="{BCF2CBE8-095F-45CF-BE3C-36AB0C40D4BB}" destId="{002F70CB-0938-4F74-B758-F6213A4B566E}" srcOrd="0" destOrd="0" presId="urn:microsoft.com/office/officeart/2008/layout/PictureGrid"/>
    <dgm:cxn modelId="{9A72CBA4-444A-42AF-883B-F0286287E829}" type="presParOf" srcId="{BCF2CBE8-095F-45CF-BE3C-36AB0C40D4BB}" destId="{08AD8EB1-ED33-4097-A9E9-02B82F1B4051}" srcOrd="1" destOrd="0" presId="urn:microsoft.com/office/officeart/2008/layout/PictureGrid"/>
    <dgm:cxn modelId="{916AC693-823C-448F-B050-E1043071D574}" type="presParOf" srcId="{D6D51444-0DA1-4DDD-A642-8993B6D2498F}" destId="{F1BF9A19-A268-45FD-B1C1-122EE253E037}" srcOrd="5" destOrd="0" presId="urn:microsoft.com/office/officeart/2008/layout/PictureGrid"/>
    <dgm:cxn modelId="{4A787470-6A9F-4B9C-839F-70EA48E96E9F}" type="presParOf" srcId="{D6D51444-0DA1-4DDD-A642-8993B6D2498F}" destId="{2FF295FF-1ADC-40B7-A9FD-68CAF15E7287}" srcOrd="6" destOrd="0" presId="urn:microsoft.com/office/officeart/2008/layout/PictureGrid"/>
    <dgm:cxn modelId="{24293DB7-75B2-46E0-B163-FFDECBBA22B1}" type="presParOf" srcId="{2FF295FF-1ADC-40B7-A9FD-68CAF15E7287}" destId="{9816CCDC-60DA-4388-BDFE-6B9284BF6568}" srcOrd="0" destOrd="0" presId="urn:microsoft.com/office/officeart/2008/layout/PictureGrid"/>
    <dgm:cxn modelId="{F23D20FE-C09E-4BE0-A4FD-C9AD983B4707}" type="presParOf" srcId="{2FF295FF-1ADC-40B7-A9FD-68CAF15E7287}" destId="{1F7656B2-F3B9-4FD0-B094-3DD5E1B12396}" srcOrd="1" destOrd="0" presId="urn:microsoft.com/office/officeart/2008/layout/PictureGrid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548D25-9BAF-4A49-80CC-7DCD0CC762C9}">
      <dsp:nvSpPr>
        <dsp:cNvPr id="0" name=""/>
        <dsp:cNvSpPr/>
      </dsp:nvSpPr>
      <dsp:spPr>
        <a:xfrm>
          <a:off x="4712" y="427888"/>
          <a:ext cx="2060274" cy="12361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Data Ingestion</a:t>
          </a:r>
        </a:p>
      </dsp:txBody>
      <dsp:txXfrm>
        <a:off x="40918" y="464094"/>
        <a:ext cx="1987862" cy="1163752"/>
      </dsp:txXfrm>
    </dsp:sp>
    <dsp:sp modelId="{1556D7CE-73E0-4A35-9D17-EA732E5B6571}">
      <dsp:nvSpPr>
        <dsp:cNvPr id="0" name=""/>
        <dsp:cNvSpPr/>
      </dsp:nvSpPr>
      <dsp:spPr>
        <a:xfrm>
          <a:off x="2246290" y="790497"/>
          <a:ext cx="436778" cy="5109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>
        <a:off x="2246290" y="892687"/>
        <a:ext cx="305745" cy="306568"/>
      </dsp:txXfrm>
    </dsp:sp>
    <dsp:sp modelId="{AD0FC504-8089-4979-A73F-DD2C809F5165}">
      <dsp:nvSpPr>
        <dsp:cNvPr id="0" name=""/>
        <dsp:cNvSpPr/>
      </dsp:nvSpPr>
      <dsp:spPr>
        <a:xfrm>
          <a:off x="2889096" y="427888"/>
          <a:ext cx="2060274" cy="12361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Data Cleaning</a:t>
          </a:r>
        </a:p>
      </dsp:txBody>
      <dsp:txXfrm>
        <a:off x="2925302" y="464094"/>
        <a:ext cx="1987862" cy="1163752"/>
      </dsp:txXfrm>
    </dsp:sp>
    <dsp:sp modelId="{8350A52D-A9F5-4F15-B00B-EABFCBB7C207}">
      <dsp:nvSpPr>
        <dsp:cNvPr id="0" name=""/>
        <dsp:cNvSpPr/>
      </dsp:nvSpPr>
      <dsp:spPr>
        <a:xfrm>
          <a:off x="5130675" y="790497"/>
          <a:ext cx="436778" cy="5109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>
        <a:off x="5130675" y="892687"/>
        <a:ext cx="305745" cy="306568"/>
      </dsp:txXfrm>
    </dsp:sp>
    <dsp:sp modelId="{39963294-6741-45A3-BBA7-B07062B34E1D}">
      <dsp:nvSpPr>
        <dsp:cNvPr id="0" name=""/>
        <dsp:cNvSpPr/>
      </dsp:nvSpPr>
      <dsp:spPr>
        <a:xfrm>
          <a:off x="5773480" y="427888"/>
          <a:ext cx="2060274" cy="12361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Feature Selection</a:t>
          </a:r>
        </a:p>
      </dsp:txBody>
      <dsp:txXfrm>
        <a:off x="5809686" y="464094"/>
        <a:ext cx="1987862" cy="1163752"/>
      </dsp:txXfrm>
    </dsp:sp>
    <dsp:sp modelId="{EA1361E5-52AD-4659-8EB1-A23CDA3AB8BB}">
      <dsp:nvSpPr>
        <dsp:cNvPr id="0" name=""/>
        <dsp:cNvSpPr/>
      </dsp:nvSpPr>
      <dsp:spPr>
        <a:xfrm>
          <a:off x="8015059" y="790497"/>
          <a:ext cx="436778" cy="5109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>
        <a:off x="8015059" y="892687"/>
        <a:ext cx="305745" cy="306568"/>
      </dsp:txXfrm>
    </dsp:sp>
    <dsp:sp modelId="{A10B6474-DDA3-404D-8C25-E9AB635EAD87}">
      <dsp:nvSpPr>
        <dsp:cNvPr id="0" name=""/>
        <dsp:cNvSpPr/>
      </dsp:nvSpPr>
      <dsp:spPr>
        <a:xfrm>
          <a:off x="8657865" y="427888"/>
          <a:ext cx="2060274" cy="12361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Train-Test Split</a:t>
          </a:r>
        </a:p>
      </dsp:txBody>
      <dsp:txXfrm>
        <a:off x="8694071" y="464094"/>
        <a:ext cx="1987862" cy="1163752"/>
      </dsp:txXfrm>
    </dsp:sp>
    <dsp:sp modelId="{73958B6B-C499-4A75-A5CD-AA6A1D850123}">
      <dsp:nvSpPr>
        <dsp:cNvPr id="0" name=""/>
        <dsp:cNvSpPr/>
      </dsp:nvSpPr>
      <dsp:spPr>
        <a:xfrm rot="5400000">
          <a:off x="9469613" y="1808272"/>
          <a:ext cx="436778" cy="5109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 rot="-5400000">
        <a:off x="9534719" y="1845357"/>
        <a:ext cx="306568" cy="305745"/>
      </dsp:txXfrm>
    </dsp:sp>
    <dsp:sp modelId="{2FE54150-E40A-462A-B26D-E35F08A3B681}">
      <dsp:nvSpPr>
        <dsp:cNvPr id="0" name=""/>
        <dsp:cNvSpPr/>
      </dsp:nvSpPr>
      <dsp:spPr>
        <a:xfrm>
          <a:off x="8657865" y="2488163"/>
          <a:ext cx="2060274" cy="12361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Model Training</a:t>
          </a:r>
        </a:p>
      </dsp:txBody>
      <dsp:txXfrm>
        <a:off x="8694071" y="2524369"/>
        <a:ext cx="1987862" cy="1163752"/>
      </dsp:txXfrm>
    </dsp:sp>
    <dsp:sp modelId="{798DDB37-CDA2-43BE-BFA4-6F060F21503B}">
      <dsp:nvSpPr>
        <dsp:cNvPr id="0" name=""/>
        <dsp:cNvSpPr/>
      </dsp:nvSpPr>
      <dsp:spPr>
        <a:xfrm rot="10800000">
          <a:off x="8039782" y="2850771"/>
          <a:ext cx="436778" cy="5109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 rot="10800000">
        <a:off x="8170815" y="2952961"/>
        <a:ext cx="305745" cy="306568"/>
      </dsp:txXfrm>
    </dsp:sp>
    <dsp:sp modelId="{EA5AEBDE-BCDE-489A-9684-956F674CA74E}">
      <dsp:nvSpPr>
        <dsp:cNvPr id="0" name=""/>
        <dsp:cNvSpPr/>
      </dsp:nvSpPr>
      <dsp:spPr>
        <a:xfrm>
          <a:off x="5773480" y="2488163"/>
          <a:ext cx="2060274" cy="12361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Model Evaluation</a:t>
          </a:r>
        </a:p>
      </dsp:txBody>
      <dsp:txXfrm>
        <a:off x="5809686" y="2524369"/>
        <a:ext cx="1987862" cy="1163752"/>
      </dsp:txXfrm>
    </dsp:sp>
    <dsp:sp modelId="{DAFD7D85-AE17-4F31-BF20-EA8F5C2B18B2}">
      <dsp:nvSpPr>
        <dsp:cNvPr id="0" name=""/>
        <dsp:cNvSpPr/>
      </dsp:nvSpPr>
      <dsp:spPr>
        <a:xfrm rot="10800000">
          <a:off x="5155398" y="2850771"/>
          <a:ext cx="436778" cy="5109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 rot="10800000">
        <a:off x="5286431" y="2952961"/>
        <a:ext cx="305745" cy="306568"/>
      </dsp:txXfrm>
    </dsp:sp>
    <dsp:sp modelId="{66246E41-B04F-4341-8D83-B731EF77B204}">
      <dsp:nvSpPr>
        <dsp:cNvPr id="0" name=""/>
        <dsp:cNvSpPr/>
      </dsp:nvSpPr>
      <dsp:spPr>
        <a:xfrm>
          <a:off x="2889096" y="2488163"/>
          <a:ext cx="2060274" cy="12361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Model Integration</a:t>
          </a:r>
        </a:p>
      </dsp:txBody>
      <dsp:txXfrm>
        <a:off x="2925302" y="2524369"/>
        <a:ext cx="1987862" cy="1163752"/>
      </dsp:txXfrm>
    </dsp:sp>
    <dsp:sp modelId="{2FF98B46-D9A0-4396-8CB9-329D5BDB5CB6}">
      <dsp:nvSpPr>
        <dsp:cNvPr id="0" name=""/>
        <dsp:cNvSpPr/>
      </dsp:nvSpPr>
      <dsp:spPr>
        <a:xfrm rot="10800000">
          <a:off x="2271014" y="2850771"/>
          <a:ext cx="436778" cy="5109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 rot="10800000">
        <a:off x="2402047" y="2952961"/>
        <a:ext cx="305745" cy="306568"/>
      </dsp:txXfrm>
    </dsp:sp>
    <dsp:sp modelId="{5B05FC53-FFFC-4B3C-81EA-511D329322A7}">
      <dsp:nvSpPr>
        <dsp:cNvPr id="0" name=""/>
        <dsp:cNvSpPr/>
      </dsp:nvSpPr>
      <dsp:spPr>
        <a:xfrm>
          <a:off x="4712" y="2488163"/>
          <a:ext cx="2060274" cy="12361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Interactive Visualization</a:t>
          </a:r>
        </a:p>
      </dsp:txBody>
      <dsp:txXfrm>
        <a:off x="40918" y="2524369"/>
        <a:ext cx="1987862" cy="116375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16DB0D-7D60-48AC-91BF-38716D3211E1}">
      <dsp:nvSpPr>
        <dsp:cNvPr id="0" name=""/>
        <dsp:cNvSpPr/>
      </dsp:nvSpPr>
      <dsp:spPr>
        <a:xfrm>
          <a:off x="2390719" y="43175"/>
          <a:ext cx="1920314" cy="2880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0960" rIns="60960" bIns="0" numCol="1" spcCol="1270" anchor="b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2390719" y="43175"/>
        <a:ext cx="1920314" cy="288047"/>
      </dsp:txXfrm>
    </dsp:sp>
    <dsp:sp modelId="{BF3A9359-B3E5-43D7-94AD-284AE35F68F1}">
      <dsp:nvSpPr>
        <dsp:cNvPr id="0" name=""/>
        <dsp:cNvSpPr/>
      </dsp:nvSpPr>
      <dsp:spPr>
        <a:xfrm>
          <a:off x="449530" y="49369"/>
          <a:ext cx="4036962" cy="220392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F1E09D-0074-474F-B1B0-803704854CDF}">
      <dsp:nvSpPr>
        <dsp:cNvPr id="0" name=""/>
        <dsp:cNvSpPr/>
      </dsp:nvSpPr>
      <dsp:spPr>
        <a:xfrm>
          <a:off x="6606891" y="45762"/>
          <a:ext cx="1920314" cy="2880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0960" rIns="60960" bIns="0" numCol="1" spcCol="1270" anchor="b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6606891" y="45762"/>
        <a:ext cx="1920314" cy="288047"/>
      </dsp:txXfrm>
    </dsp:sp>
    <dsp:sp modelId="{54A07C62-6CD5-4D1F-9F89-E0138B9891DC}">
      <dsp:nvSpPr>
        <dsp:cNvPr id="0" name=""/>
        <dsp:cNvSpPr/>
      </dsp:nvSpPr>
      <dsp:spPr>
        <a:xfrm>
          <a:off x="415806" y="2828126"/>
          <a:ext cx="3989396" cy="2193575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2F70CB-0938-4F74-B758-F6213A4B566E}">
      <dsp:nvSpPr>
        <dsp:cNvPr id="0" name=""/>
        <dsp:cNvSpPr/>
      </dsp:nvSpPr>
      <dsp:spPr>
        <a:xfrm>
          <a:off x="3425260" y="2656623"/>
          <a:ext cx="1920314" cy="2880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0960" rIns="60960" bIns="0" numCol="1" spcCol="1270" anchor="b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3425260" y="2656623"/>
        <a:ext cx="1920314" cy="288047"/>
      </dsp:txXfrm>
    </dsp:sp>
    <dsp:sp modelId="{08AD8EB1-ED33-4097-A9E9-02B82F1B4051}">
      <dsp:nvSpPr>
        <dsp:cNvPr id="0" name=""/>
        <dsp:cNvSpPr/>
      </dsp:nvSpPr>
      <dsp:spPr>
        <a:xfrm>
          <a:off x="6835077" y="25850"/>
          <a:ext cx="4059065" cy="234435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16CCDC-60DA-4388-BDFE-6B9284BF6568}">
      <dsp:nvSpPr>
        <dsp:cNvPr id="0" name=""/>
        <dsp:cNvSpPr/>
      </dsp:nvSpPr>
      <dsp:spPr>
        <a:xfrm>
          <a:off x="6617943" y="2642466"/>
          <a:ext cx="1920314" cy="2880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0960" rIns="60960" bIns="0" numCol="1" spcCol="1270" anchor="b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6617943" y="2642466"/>
        <a:ext cx="1920314" cy="288047"/>
      </dsp:txXfrm>
    </dsp:sp>
    <dsp:sp modelId="{1F7656B2-F3B9-4FD0-B094-3DD5E1B12396}">
      <dsp:nvSpPr>
        <dsp:cNvPr id="0" name=""/>
        <dsp:cNvSpPr/>
      </dsp:nvSpPr>
      <dsp:spPr>
        <a:xfrm>
          <a:off x="4887874" y="1394752"/>
          <a:ext cx="1769262" cy="2400988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Grid">
  <dgm:title val=""/>
  <dgm:desc val=""/>
  <dgm:catLst>
    <dgm:cat type="picture" pri="11000"/>
    <dgm:cat type="pictureconvert" pri="1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</dgm:varLst>
    <dgm:choose name="Name1">
      <dgm:if name="Name2" axis="ch" ptType="node" func="cnt" op="lte" val="4">
        <dgm:choose name="Name3">
          <dgm:if name="Name4" func="var" arg="dir" op="equ" val="norm">
            <dgm:alg type="snake">
              <dgm:param type="off" val="ctr"/>
              <dgm:param type="bkpt" val="fixed"/>
              <dgm:param type="bkPtFixedVal" val="2"/>
            </dgm:alg>
          </dgm:if>
          <dgm:else name="Name5">
            <dgm:alg type="snake">
              <dgm:param type="off" val="ctr"/>
              <dgm:param type="grDir" val="tR"/>
              <dgm:param type="bkpt" val="fixed"/>
              <dgm:param type="bkPtFixedVal" val="2"/>
            </dgm:alg>
          </dgm:else>
        </dgm:choose>
      </dgm:if>
      <dgm:else name="Name6">
        <dgm:choose name="Name7">
          <dgm:if name="Name8" axis="ch" ptType="node" func="cnt" op="lte" val="9">
            <dgm:choose name="Name9">
              <dgm:if name="Name10" func="var" arg="dir" op="equ" val="norm">
                <dgm:alg type="snake">
                  <dgm:param type="off" val="ctr"/>
                  <dgm:param type="bkpt" val="fixed"/>
                  <dgm:param type="bkPtFixedVal" val="3"/>
                </dgm:alg>
              </dgm:if>
              <dgm:else name="Name11">
                <dgm:alg type="snake">
                  <dgm:param type="off" val="ctr"/>
                  <dgm:param type="grDir" val="tR"/>
                  <dgm:param type="bkpt" val="fixed"/>
                  <dgm:param type="bkPtFixedVal" val="3"/>
                </dgm:alg>
              </dgm:else>
            </dgm:choose>
          </dgm:if>
          <dgm:else name="Name12">
            <dgm:choose name="Name13">
              <dgm:if name="Name14" axis="ch" ptType="node" func="cnt" op="lte" val="16">
                <dgm:choose name="Name15">
                  <dgm:if name="Name16" func="var" arg="dir" op="equ" val="norm">
                    <dgm:alg type="snake">
                      <dgm:param type="off" val="ctr"/>
                      <dgm:param type="bkpt" val="fixed"/>
                      <dgm:param type="bkPtFixedVal" val="4"/>
                    </dgm:alg>
                  </dgm:if>
                  <dgm:else name="Name17">
                    <dgm:alg type="snake">
                      <dgm:param type="off" val="ctr"/>
                      <dgm:param type="grDir" val="tR"/>
                      <dgm:param type="bkpt" val="fixed"/>
                      <dgm:param type="bkPtFixedVal" val="4"/>
                    </dgm:alg>
                  </dgm:else>
                </dgm:choose>
              </dgm:if>
              <dgm:else name="Name18">
                <dgm:choose name="Name19">
                  <dgm:if name="Name20" axis="ch" ptType="node" func="cnt" op="lte" val="25">
                    <dgm:choose name="Name21">
                      <dgm:if name="Name22" func="var" arg="dir" op="equ" val="norm">
                        <dgm:alg type="snake">
                          <dgm:param type="off" val="ctr"/>
                          <dgm:param type="bkpt" val="fixed"/>
                          <dgm:param type="bkPtFixedVal" val="5"/>
                        </dgm:alg>
                      </dgm:if>
                      <dgm:else name="Name23">
                        <dgm:alg type="snake">
                          <dgm:param type="off" val="ctr"/>
                          <dgm:param type="grDir" val="tR"/>
                          <dgm:param type="bkpt" val="fixed"/>
                          <dgm:param type="bkPtFixedVal" val="5"/>
                        </dgm:alg>
                      </dgm:else>
                    </dgm:choose>
                  </dgm:if>
                  <dgm:else name="Name24">
                    <dgm:choose name="Name25">
                      <dgm:if name="Name26" func="var" arg="dir" op="equ" val="norm">
                        <dgm:alg type="snake">
                          <dgm:param type="off" val="ctr"/>
                        </dgm:alg>
                      </dgm:if>
                      <dgm:else name="Name27">
                        <dgm:alg type="snake">
                          <dgm:param type="off" val="ctr"/>
                          <dgm:param type="grDir" val="tR"/>
                        </dgm:alg>
                      </dgm:else>
                    </dgm:choose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0.8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0.7568"/>
        </dgm:alg>
        <dgm:shape xmlns:r="http://schemas.openxmlformats.org/officeDocument/2006/relationships" r:blip="">
          <dgm:adjLst/>
        </dgm:shape>
        <dgm:constrLst>
          <dgm:constr type="l" for="ch" forName="rect1" refType="w" fact="0"/>
          <dgm:constr type="t" for="ch" forName="rect1" refType="h" fact="0.15"/>
          <dgm:constr type="w" for="ch" forName="rect1" refType="w"/>
          <dgm:constr type="h" for="ch" forName="rect1" refType="w"/>
          <dgm:constr type="l" for="ch" forName="rect2" refType="w" fact="0"/>
          <dgm:constr type="t" for="ch" forName="rect2" refType="h" fact="0"/>
          <dgm:constr type="w" for="ch" forName="rect2" refType="w"/>
          <dgm:constr type="h" for="ch" forName="rect2" refType="w" fact="0.15"/>
        </dgm:constrLst>
        <dgm:layoutNode name="rect2" styleLbl="revTx">
          <dgm:varLst>
            <dgm:bulletEnabled val="1"/>
          </dgm:varLst>
          <dgm:alg type="tx">
            <dgm:param type="stBulletLvl" val="3"/>
            <dgm:param type="parTxLTRAlign" val="l"/>
            <dgm:param type="parTxRTLAlign" val="r"/>
            <dgm:param type="txAnchorVert" val="b"/>
            <dgm:param type="txAnchorVertCh" val="b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"/>
            <dgm:constr type="rMarg" refType="primFontSz" fact="0.3"/>
            <dgm:constr type="tMarg" refType="primFontSz" fact="0.3"/>
            <dgm:constr type="bMarg" refType="primFontSz" fact="0"/>
            <dgm:constr type="secFontSz" refType="primFontSz" fact="0.8"/>
          </dgm:constrLst>
          <dgm:ruleLst>
            <dgm:rule type="primFontSz" val="5" fact="NaN" max="NaN"/>
          </dgm:ruleLst>
        </dgm:layoutNode>
        <dgm:layoutNode name="rect1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4AE07EF-4AAE-4CF9-853F-48E471D371D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0E2498-5807-43AE-B07F-5235B7F438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C8E9A8-14A9-4D8A-B7C9-289026939B74}" type="datetimeFigureOut">
              <a:rPr lang="en-US" smtClean="0"/>
              <a:t>7/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69BA-3A23-4130-8700-569552E7BF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D9BF4F-0506-4CBF-A15B-1CC5384FFB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E6A7D4-4162-4C23-9844-5C20F25E5B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1561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7BD7379A-BBFF-4F71-BC82-AFFDDC2C7896}" type="datetimeFigureOut">
              <a:rPr lang="en-US" smtClean="0"/>
              <a:pPr/>
              <a:t>7/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2758E463-9EDD-4EAA-9E2F-6662D5CC9B2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3360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7F977D-93EF-46E2-9200-1E20E3BB779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  <a:sym typeface="EYInterstate Light" panose="02000506000000020004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  <a:sym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213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11" Type="http://schemas.microsoft.com/office/2007/relationships/hdphoto" Target="../media/hdphoto2.wdp"/><Relationship Id="rId5" Type="http://schemas.openxmlformats.org/officeDocument/2006/relationships/image" Target="../media/image2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microsoft.com/office/2007/relationships/hdphoto" Target="../media/hdphoto1.wdp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Relationship Id="rId4" Type="http://schemas.openxmlformats.org/officeDocument/2006/relationships/image" Target="../media/image31.emf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0.sv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.xml"/><Relationship Id="rId4" Type="http://schemas.openxmlformats.org/officeDocument/2006/relationships/image" Target="../media/image31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Relationship Id="rId4" Type="http://schemas.openxmlformats.org/officeDocument/2006/relationships/image" Target="../media/image7.emf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5" Type="http://schemas.openxmlformats.org/officeDocument/2006/relationships/image" Target="../media/image36.wmf"/><Relationship Id="rId4" Type="http://schemas.openxmlformats.org/officeDocument/2006/relationships/image" Target="../media/image35.em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4" Type="http://schemas.openxmlformats.org/officeDocument/2006/relationships/image" Target="../media/image11.emf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4" Type="http://schemas.openxmlformats.org/officeDocument/2006/relationships/image" Target="../media/image33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4" Type="http://schemas.openxmlformats.org/officeDocument/2006/relationships/image" Target="../media/image33.emf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oleObject" Target="../embeddings/oleObject13.bin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image" Target="../media/image14.png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image" Target="../media/image13.png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image" Target="../media/image12.emf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Relationship Id="rId4" Type="http://schemas.openxmlformats.org/officeDocument/2006/relationships/image" Target="../media/image11.emf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.xml"/><Relationship Id="rId5" Type="http://schemas.openxmlformats.org/officeDocument/2006/relationships/image" Target="../media/image37.jpeg"/><Relationship Id="rId4" Type="http://schemas.openxmlformats.org/officeDocument/2006/relationships/image" Target="../media/image7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8.xml"/><Relationship Id="rId4" Type="http://schemas.openxmlformats.org/officeDocument/2006/relationships/image" Target="../media/image7.emf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tiff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.xml"/><Relationship Id="rId5" Type="http://schemas.openxmlformats.org/officeDocument/2006/relationships/image" Target="../media/image40.jpeg"/><Relationship Id="rId4" Type="http://schemas.openxmlformats.org/officeDocument/2006/relationships/image" Target="../media/image39.emf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emf"/><Relationship Id="rId4" Type="http://schemas.openxmlformats.org/officeDocument/2006/relationships/image" Target="../media/image22.w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w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5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994279"/>
              </p:ext>
            </p:extLst>
          </p:nvPr>
        </p:nvGraphicFramePr>
        <p:xfrm>
          <a:off x="1590" y="1588"/>
          <a:ext cx="158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5" y="0"/>
            <a:ext cx="158668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i="0" baseline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0549" y="331818"/>
            <a:ext cx="10991854" cy="562041"/>
          </a:xfrm>
          <a:prstGeom prst="rect">
            <a:avLst/>
          </a:prstGeom>
        </p:spPr>
        <p:txBody>
          <a:bodyPr vert="horz" lIns="0"/>
          <a:lstStyle>
            <a:lvl1pPr rtl="0">
              <a:defRPr sz="200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590549" y="1700213"/>
            <a:ext cx="11077849" cy="4030662"/>
          </a:xfrm>
        </p:spPr>
        <p:txBody>
          <a:bodyPr numCol="1" spcCol="288000"/>
          <a:lstStyle>
            <a:lvl1pPr marL="0" marR="0" indent="0" algn="l" defTabSz="913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799"/>
            </a:lvl1pPr>
            <a:lvl2pPr marL="0" rtl="0">
              <a:spcBef>
                <a:spcPts val="0"/>
              </a:spcBef>
              <a:spcAft>
                <a:spcPts val="600"/>
              </a:spcAft>
              <a:defRPr sz="1398"/>
            </a:lvl2pPr>
            <a:lvl3pPr marL="0" rtl="0">
              <a:spcBef>
                <a:spcPts val="0"/>
              </a:spcBef>
              <a:spcAft>
                <a:spcPts val="600"/>
              </a:spcAft>
              <a:defRPr sz="1398"/>
            </a:lvl3pPr>
            <a:lvl4pPr marL="0">
              <a:spcBef>
                <a:spcPts val="0"/>
              </a:spcBef>
              <a:spcAft>
                <a:spcPts val="600"/>
              </a:spcAft>
              <a:defRPr sz="1398"/>
            </a:lvl4pPr>
            <a:lvl5pPr marL="0">
              <a:spcBef>
                <a:spcPts val="0"/>
              </a:spcBef>
              <a:spcAft>
                <a:spcPts val="600"/>
              </a:spcAft>
              <a:defRPr sz="139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CAC5B2-447F-45F2-97DD-09E379C280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38" y="6350298"/>
            <a:ext cx="408278" cy="457271"/>
          </a:xfrm>
          <a:prstGeom prst="rect">
            <a:avLst/>
          </a:prstGeom>
        </p:spPr>
      </p:pic>
      <p:sp>
        <p:nvSpPr>
          <p:cNvPr id="14" name="Isosceles Triangle 9">
            <a:extLst>
              <a:ext uri="{FF2B5EF4-FFF2-40B4-BE49-F238E27FC236}">
                <a16:creationId xmlns:a16="http://schemas.microsoft.com/office/drawing/2014/main" id="{BD76C034-5CA0-4906-ACBF-B55712422C40}"/>
              </a:ext>
            </a:extLst>
          </p:cNvPr>
          <p:cNvSpPr/>
          <p:nvPr userDrawn="1"/>
        </p:nvSpPr>
        <p:spPr>
          <a:xfrm rot="5400000">
            <a:off x="21408" y="387451"/>
            <a:ext cx="269323" cy="200381"/>
          </a:xfrm>
          <a:prstGeom prst="triangle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/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7CBE8034-ACB3-42CA-A0E3-FBA69B66C05D}"/>
              </a:ext>
            </a:extLst>
          </p:cNvPr>
          <p:cNvGrpSpPr/>
          <p:nvPr userDrawn="1"/>
        </p:nvGrpSpPr>
        <p:grpSpPr>
          <a:xfrm>
            <a:off x="2507825" y="-168956"/>
            <a:ext cx="7343988" cy="7136915"/>
            <a:chOff x="2507825" y="-168956"/>
            <a:chExt cx="7343988" cy="7083067"/>
          </a:xfrm>
        </p:grpSpPr>
        <p:pic>
          <p:nvPicPr>
            <p:cNvPr id="17" name="Shadow">
              <a:extLst>
                <a:ext uri="{FF2B5EF4-FFF2-40B4-BE49-F238E27FC236}">
                  <a16:creationId xmlns:a16="http://schemas.microsoft.com/office/drawing/2014/main" id="{FE46A766-C7DB-44FE-B9E6-33B067CFA2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7082078" flipH="1">
              <a:off x="-747012" y="3085881"/>
              <a:ext cx="6970221" cy="4605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Shadow">
              <a:extLst>
                <a:ext uri="{FF2B5EF4-FFF2-40B4-BE49-F238E27FC236}">
                  <a16:creationId xmlns:a16="http://schemas.microsoft.com/office/drawing/2014/main" id="{70C04EAD-591E-4754-8F48-1C8F48DB32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7089949" flipH="1">
              <a:off x="1547866" y="3198726"/>
              <a:ext cx="6970221" cy="4605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Shadow">
              <a:extLst>
                <a:ext uri="{FF2B5EF4-FFF2-40B4-BE49-F238E27FC236}">
                  <a16:creationId xmlns:a16="http://schemas.microsoft.com/office/drawing/2014/main" id="{71BEAC76-77FF-4512-BDAA-9A0A66137F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alphaModFix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7064798" flipH="1">
              <a:off x="4146489" y="3120366"/>
              <a:ext cx="6970221" cy="6172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Shadow">
              <a:extLst>
                <a:ext uri="{FF2B5EF4-FFF2-40B4-BE49-F238E27FC236}">
                  <a16:creationId xmlns:a16="http://schemas.microsoft.com/office/drawing/2014/main" id="{7223632C-6C19-40E7-9898-89C77D1041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273473">
              <a:off x="6136428" y="3139592"/>
              <a:ext cx="6970221" cy="4605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5" descr="A group of batteries in different colors&#10;&#10;Description automatically generated">
            <a:extLst>
              <a:ext uri="{FF2B5EF4-FFF2-40B4-BE49-F238E27FC236}">
                <a16:creationId xmlns:a16="http://schemas.microsoft.com/office/drawing/2014/main" id="{BF9A39EA-1D45-447E-84E8-66FED0C9BAC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Texturizer trans="25000" scaling="18"/>
                    </a14:imgEffect>
                    <a14:imgEffect>
                      <a14:colorTemperature colorTemp="5300"/>
                    </a14:imgEffect>
                    <a14:imgEffect>
                      <a14:saturation sat="66000"/>
                    </a14:imgEffect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813"/>
            <a:ext cx="12192000" cy="688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072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104670"/>
              </p:ext>
            </p:extLst>
          </p:nvPr>
        </p:nvGraphicFramePr>
        <p:xfrm>
          <a:off x="2121" y="1594"/>
          <a:ext cx="211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CB083FE1-E99D-44D7-999D-47CFE928C923}"/>
              </a:ext>
            </a:extLst>
          </p:cNvPr>
          <p:cNvSpPr/>
          <p:nvPr userDrawn="1"/>
        </p:nvSpPr>
        <p:spPr>
          <a:xfrm>
            <a:off x="-792287" y="600412"/>
            <a:ext cx="1181100" cy="0"/>
          </a:xfrm>
          <a:custGeom>
            <a:avLst/>
            <a:gdLst>
              <a:gd name="connsiteX0" fmla="*/ 0 w 1181100"/>
              <a:gd name="connsiteY0" fmla="*/ 0 h 0"/>
              <a:gd name="connsiteX1" fmla="*/ 1181100 w 1181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81100">
                <a:moveTo>
                  <a:pt x="0" y="0"/>
                </a:moveTo>
                <a:lnTo>
                  <a:pt x="1181100" y="0"/>
                </a:lnTo>
              </a:path>
            </a:pathLst>
          </a:cu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ED65D4E-691A-4FBD-BE99-95B5192433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478450"/>
            <a:ext cx="11175818" cy="476462"/>
          </a:xfrm>
        </p:spPr>
        <p:txBody>
          <a:bodyPr numCol="1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lang="en-US" sz="1600" b="0" kern="1200" cap="none" baseline="0" noProof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marL="169790" indent="0">
              <a:buNone/>
              <a:defRPr/>
            </a:lvl2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0" name="Rectangle 36">
            <a:extLst>
              <a:ext uri="{FF2B5EF4-FFF2-40B4-BE49-F238E27FC236}">
                <a16:creationId xmlns:a16="http://schemas.microsoft.com/office/drawing/2014/main" id="{B7B7CC29-EB94-49A6-83FA-332151D992B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99441" y="6544316"/>
            <a:ext cx="284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EY Consulting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B7A5852-7210-42E8-93C0-7CD11B79C02F}"/>
              </a:ext>
            </a:extLst>
          </p:cNvPr>
          <p:cNvGrpSpPr/>
          <p:nvPr userDrawn="1"/>
        </p:nvGrpSpPr>
        <p:grpSpPr>
          <a:xfrm>
            <a:off x="0" y="-2662"/>
            <a:ext cx="12212298" cy="362728"/>
            <a:chOff x="0" y="-12187"/>
            <a:chExt cx="12212298" cy="362728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31650BEE-4953-40BA-94B5-88B53EEF54FB}"/>
                </a:ext>
              </a:extLst>
            </p:cNvPr>
            <p:cNvGrpSpPr/>
            <p:nvPr userDrawn="1"/>
          </p:nvGrpSpPr>
          <p:grpSpPr>
            <a:xfrm>
              <a:off x="0" y="1"/>
              <a:ext cx="12192000" cy="350540"/>
              <a:chOff x="0" y="1"/>
              <a:chExt cx="12192000" cy="350540"/>
            </a:xfrm>
          </p:grpSpPr>
          <p:sp>
            <p:nvSpPr>
              <p:cNvPr id="51" name="AutoShape 4">
                <a:extLst>
                  <a:ext uri="{FF2B5EF4-FFF2-40B4-BE49-F238E27FC236}">
                    <a16:creationId xmlns:a16="http://schemas.microsoft.com/office/drawing/2014/main" id="{8AC30FE5-F3A9-4A6C-85F6-54732099405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4680" y="68072"/>
                <a:ext cx="167539" cy="200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7365CD81-02A3-4013-99D3-745C7A426977}"/>
                  </a:ext>
                </a:extLst>
              </p:cNvPr>
              <p:cNvGrpSpPr/>
              <p:nvPr userDrawn="1"/>
            </p:nvGrpSpPr>
            <p:grpSpPr>
              <a:xfrm>
                <a:off x="0" y="1"/>
                <a:ext cx="12192000" cy="350540"/>
                <a:chOff x="0" y="1"/>
                <a:chExt cx="12192000" cy="350540"/>
              </a:xfrm>
            </p:grpSpPr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FBE1DAFF-CE69-420E-9D36-FD1F73B7D13E}"/>
                    </a:ext>
                  </a:extLst>
                </p:cNvPr>
                <p:cNvSpPr/>
                <p:nvPr userDrawn="1"/>
              </p:nvSpPr>
              <p:spPr>
                <a:xfrm>
                  <a:off x="0" y="1"/>
                  <a:ext cx="12192000" cy="350540"/>
                </a:xfrm>
                <a:prstGeom prst="rect">
                  <a:avLst/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6AC7E9CF-1D6A-477C-A6C8-2C24BB869028}"/>
                    </a:ext>
                  </a:extLst>
                </p:cNvPr>
                <p:cNvGrpSpPr/>
                <p:nvPr userDrawn="1"/>
              </p:nvGrpSpPr>
              <p:grpSpPr>
                <a:xfrm>
                  <a:off x="81557" y="51130"/>
                  <a:ext cx="11861822" cy="211888"/>
                  <a:chOff x="81557" y="51130"/>
                  <a:chExt cx="11861822" cy="211888"/>
                </a:xfrm>
              </p:grpSpPr>
              <p:grpSp>
                <p:nvGrpSpPr>
                  <p:cNvPr id="56" name="Group 55">
                    <a:extLst>
                      <a:ext uri="{FF2B5EF4-FFF2-40B4-BE49-F238E27FC236}">
                        <a16:creationId xmlns:a16="http://schemas.microsoft.com/office/drawing/2014/main" id="{5C002D16-7519-40CC-B5F9-2CA29EDEF83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81557" y="62687"/>
                    <a:ext cx="167539" cy="200331"/>
                    <a:chOff x="784680" y="68072"/>
                    <a:chExt cx="167539" cy="200331"/>
                  </a:xfrm>
                </p:grpSpPr>
                <p:sp>
                  <p:nvSpPr>
                    <p:cNvPr id="65" name="Freeform 6">
                      <a:extLst>
                        <a:ext uri="{FF2B5EF4-FFF2-40B4-BE49-F238E27FC236}">
                          <a16:creationId xmlns:a16="http://schemas.microsoft.com/office/drawing/2014/main" id="{FD6FAF43-DAC7-42B4-8469-540B165D36E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84680" y="68072"/>
                      <a:ext cx="134278" cy="50020"/>
                    </a:xfrm>
                    <a:custGeom>
                      <a:avLst/>
                      <a:gdLst>
                        <a:gd name="T0" fmla="*/ 2723 w 2723"/>
                        <a:gd name="T1" fmla="*/ 0 h 994"/>
                        <a:gd name="T2" fmla="*/ 0 w 2723"/>
                        <a:gd name="T3" fmla="*/ 994 h 994"/>
                        <a:gd name="T4" fmla="*/ 2723 w 2723"/>
                        <a:gd name="T5" fmla="*/ 513 h 994"/>
                        <a:gd name="T6" fmla="*/ 2723 w 2723"/>
                        <a:gd name="T7" fmla="*/ 0 h 9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723" h="994">
                          <a:moveTo>
                            <a:pt x="2723" y="0"/>
                          </a:moveTo>
                          <a:lnTo>
                            <a:pt x="0" y="994"/>
                          </a:lnTo>
                          <a:lnTo>
                            <a:pt x="2723" y="513"/>
                          </a:lnTo>
                          <a:lnTo>
                            <a:pt x="2723" y="0"/>
                          </a:lnTo>
                          <a:close/>
                        </a:path>
                      </a:pathLst>
                    </a:custGeom>
                    <a:solidFill>
                      <a:srgbClr val="F7DF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  <p:sp>
                  <p:nvSpPr>
                    <p:cNvPr id="66" name="Freeform 7">
                      <a:extLst>
                        <a:ext uri="{FF2B5EF4-FFF2-40B4-BE49-F238E27FC236}">
                          <a16:creationId xmlns:a16="http://schemas.microsoft.com/office/drawing/2014/main" id="{938951AD-F20F-4A63-AD6E-45B02CF44564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84680" y="138954"/>
                      <a:ext cx="167539" cy="129449"/>
                    </a:xfrm>
                    <a:custGeom>
                      <a:avLst/>
                      <a:gdLst>
                        <a:gd name="T0" fmla="*/ 256 w 3400"/>
                        <a:gd name="T1" fmla="*/ 1749 h 2577"/>
                        <a:gd name="T2" fmla="*/ 278 w 3400"/>
                        <a:gd name="T3" fmla="*/ 1978 h 2577"/>
                        <a:gd name="T4" fmla="*/ 166 w 3400"/>
                        <a:gd name="T5" fmla="*/ 1993 h 2577"/>
                        <a:gd name="T6" fmla="*/ 386 w 3400"/>
                        <a:gd name="T7" fmla="*/ 1940 h 2577"/>
                        <a:gd name="T8" fmla="*/ 458 w 3400"/>
                        <a:gd name="T9" fmla="*/ 2046 h 2577"/>
                        <a:gd name="T10" fmla="*/ 1255 w 3400"/>
                        <a:gd name="T11" fmla="*/ 1820 h 2577"/>
                        <a:gd name="T12" fmla="*/ 1339 w 3400"/>
                        <a:gd name="T13" fmla="*/ 1914 h 2577"/>
                        <a:gd name="T14" fmla="*/ 767 w 3400"/>
                        <a:gd name="T15" fmla="*/ 1703 h 2577"/>
                        <a:gd name="T16" fmla="*/ 813 w 3400"/>
                        <a:gd name="T17" fmla="*/ 1884 h 2577"/>
                        <a:gd name="T18" fmla="*/ 947 w 3400"/>
                        <a:gd name="T19" fmla="*/ 2042 h 2577"/>
                        <a:gd name="T20" fmla="*/ 916 w 3400"/>
                        <a:gd name="T21" fmla="*/ 1855 h 2577"/>
                        <a:gd name="T22" fmla="*/ 2225 w 3400"/>
                        <a:gd name="T23" fmla="*/ 2049 h 2577"/>
                        <a:gd name="T24" fmla="*/ 2376 w 3400"/>
                        <a:gd name="T25" fmla="*/ 1924 h 2577"/>
                        <a:gd name="T26" fmla="*/ 2312 w 3400"/>
                        <a:gd name="T27" fmla="*/ 1906 h 2577"/>
                        <a:gd name="T28" fmla="*/ 2267 w 3400"/>
                        <a:gd name="T29" fmla="*/ 1855 h 2577"/>
                        <a:gd name="T30" fmla="*/ 1441 w 3400"/>
                        <a:gd name="T31" fmla="*/ 1911 h 2577"/>
                        <a:gd name="T32" fmla="*/ 1591 w 3400"/>
                        <a:gd name="T33" fmla="*/ 2031 h 2577"/>
                        <a:gd name="T34" fmla="*/ 1622 w 3400"/>
                        <a:gd name="T35" fmla="*/ 2119 h 2577"/>
                        <a:gd name="T36" fmla="*/ 1507 w 3400"/>
                        <a:gd name="T37" fmla="*/ 1962 h 2577"/>
                        <a:gd name="T38" fmla="*/ 1902 w 3400"/>
                        <a:gd name="T39" fmla="*/ 1848 h 2577"/>
                        <a:gd name="T40" fmla="*/ 1797 w 3400"/>
                        <a:gd name="T41" fmla="*/ 1958 h 2577"/>
                        <a:gd name="T42" fmla="*/ 2006 w 3400"/>
                        <a:gd name="T43" fmla="*/ 1884 h 2577"/>
                        <a:gd name="T44" fmla="*/ 1857 w 3400"/>
                        <a:gd name="T45" fmla="*/ 1968 h 2577"/>
                        <a:gd name="T46" fmla="*/ 1881 w 3400"/>
                        <a:gd name="T47" fmla="*/ 2002 h 2577"/>
                        <a:gd name="T48" fmla="*/ 2467 w 3400"/>
                        <a:gd name="T49" fmla="*/ 1946 h 2577"/>
                        <a:gd name="T50" fmla="*/ 2452 w 3400"/>
                        <a:gd name="T51" fmla="*/ 1821 h 2577"/>
                        <a:gd name="T52" fmla="*/ 2521 w 3400"/>
                        <a:gd name="T53" fmla="*/ 2055 h 2577"/>
                        <a:gd name="T54" fmla="*/ 2555 w 3400"/>
                        <a:gd name="T55" fmla="*/ 1883 h 2577"/>
                        <a:gd name="T56" fmla="*/ 3202 w 3400"/>
                        <a:gd name="T57" fmla="*/ 1928 h 2577"/>
                        <a:gd name="T58" fmla="*/ 3006 w 3400"/>
                        <a:gd name="T59" fmla="*/ 1854 h 2577"/>
                        <a:gd name="T60" fmla="*/ 3140 w 3400"/>
                        <a:gd name="T61" fmla="*/ 2049 h 2577"/>
                        <a:gd name="T62" fmla="*/ 2905 w 3400"/>
                        <a:gd name="T63" fmla="*/ 1964 h 2577"/>
                        <a:gd name="T64" fmla="*/ 2868 w 3400"/>
                        <a:gd name="T65" fmla="*/ 2041 h 2577"/>
                        <a:gd name="T66" fmla="*/ 2713 w 3400"/>
                        <a:gd name="T67" fmla="*/ 2051 h 2577"/>
                        <a:gd name="T68" fmla="*/ 2747 w 3400"/>
                        <a:gd name="T69" fmla="*/ 1996 h 2577"/>
                        <a:gd name="T70" fmla="*/ 3300 w 3400"/>
                        <a:gd name="T71" fmla="*/ 1805 h 2577"/>
                        <a:gd name="T72" fmla="*/ 1073 w 3400"/>
                        <a:gd name="T73" fmla="*/ 2049 h 2577"/>
                        <a:gd name="T74" fmla="*/ 2660 w 3400"/>
                        <a:gd name="T75" fmla="*/ 2279 h 2577"/>
                        <a:gd name="T76" fmla="*/ 2763 w 3400"/>
                        <a:gd name="T77" fmla="*/ 2480 h 2577"/>
                        <a:gd name="T78" fmla="*/ 2737 w 3400"/>
                        <a:gd name="T79" fmla="*/ 2285 h 2577"/>
                        <a:gd name="T80" fmla="*/ 690 w 3400"/>
                        <a:gd name="T81" fmla="*/ 2289 h 2577"/>
                        <a:gd name="T82" fmla="*/ 740 w 3400"/>
                        <a:gd name="T83" fmla="*/ 2301 h 2577"/>
                        <a:gd name="T84" fmla="*/ 222 w 3400"/>
                        <a:gd name="T85" fmla="*/ 2352 h 2577"/>
                        <a:gd name="T86" fmla="*/ 341 w 3400"/>
                        <a:gd name="T87" fmla="*/ 2395 h 2577"/>
                        <a:gd name="T88" fmla="*/ 554 w 3400"/>
                        <a:gd name="T89" fmla="*/ 2395 h 2577"/>
                        <a:gd name="T90" fmla="*/ 412 w 3400"/>
                        <a:gd name="T91" fmla="*/ 2407 h 2577"/>
                        <a:gd name="T92" fmla="*/ 484 w 3400"/>
                        <a:gd name="T93" fmla="*/ 2407 h 2577"/>
                        <a:gd name="T94" fmla="*/ 2419 w 3400"/>
                        <a:gd name="T95" fmla="*/ 2248 h 2577"/>
                        <a:gd name="T96" fmla="*/ 1758 w 3400"/>
                        <a:gd name="T97" fmla="*/ 2233 h 2577"/>
                        <a:gd name="T98" fmla="*/ 2133 w 3400"/>
                        <a:gd name="T99" fmla="*/ 2255 h 2577"/>
                        <a:gd name="T100" fmla="*/ 2204 w 3400"/>
                        <a:gd name="T101" fmla="*/ 2483 h 2577"/>
                        <a:gd name="T102" fmla="*/ 2269 w 3400"/>
                        <a:gd name="T103" fmla="*/ 2249 h 2577"/>
                        <a:gd name="T104" fmla="*/ 2204 w 3400"/>
                        <a:gd name="T105" fmla="*/ 2284 h 2577"/>
                        <a:gd name="T106" fmla="*/ 845 w 3400"/>
                        <a:gd name="T107" fmla="*/ 2131 h 2577"/>
                        <a:gd name="T108" fmla="*/ 1323 w 3400"/>
                        <a:gd name="T109" fmla="*/ 2244 h 2577"/>
                        <a:gd name="T110" fmla="*/ 1220 w 3400"/>
                        <a:gd name="T111" fmla="*/ 2299 h 2577"/>
                        <a:gd name="T112" fmla="*/ 1410 w 3400"/>
                        <a:gd name="T113" fmla="*/ 2289 h 2577"/>
                        <a:gd name="T114" fmla="*/ 1525 w 3400"/>
                        <a:gd name="T115" fmla="*/ 2477 h 2577"/>
                        <a:gd name="T116" fmla="*/ 1544 w 3400"/>
                        <a:gd name="T117" fmla="*/ 2570 h 2577"/>
                        <a:gd name="T118" fmla="*/ 1491 w 3400"/>
                        <a:gd name="T119" fmla="*/ 2424 h 2577"/>
                        <a:gd name="T120" fmla="*/ 1094 w 3400"/>
                        <a:gd name="T121" fmla="*/ 2341 h 2577"/>
                        <a:gd name="T122" fmla="*/ 437 w 3400"/>
                        <a:gd name="T123" fmla="*/ 1061 h 25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3400" h="2577">
                          <a:moveTo>
                            <a:pt x="283" y="1942"/>
                          </a:moveTo>
                          <a:lnTo>
                            <a:pt x="283" y="1942"/>
                          </a:lnTo>
                          <a:lnTo>
                            <a:pt x="283" y="1934"/>
                          </a:lnTo>
                          <a:lnTo>
                            <a:pt x="282" y="1927"/>
                          </a:lnTo>
                          <a:lnTo>
                            <a:pt x="278" y="1912"/>
                          </a:lnTo>
                          <a:lnTo>
                            <a:pt x="272" y="1900"/>
                          </a:lnTo>
                          <a:lnTo>
                            <a:pt x="265" y="1890"/>
                          </a:lnTo>
                          <a:lnTo>
                            <a:pt x="256" y="1883"/>
                          </a:lnTo>
                          <a:lnTo>
                            <a:pt x="248" y="1877"/>
                          </a:lnTo>
                          <a:lnTo>
                            <a:pt x="241" y="1872"/>
                          </a:lnTo>
                          <a:lnTo>
                            <a:pt x="233" y="1868"/>
                          </a:lnTo>
                          <a:lnTo>
                            <a:pt x="233" y="1868"/>
                          </a:lnTo>
                          <a:lnTo>
                            <a:pt x="242" y="1862"/>
                          </a:lnTo>
                          <a:lnTo>
                            <a:pt x="249" y="1856"/>
                          </a:lnTo>
                          <a:lnTo>
                            <a:pt x="255" y="1849"/>
                          </a:lnTo>
                          <a:lnTo>
                            <a:pt x="261" y="1840"/>
                          </a:lnTo>
                          <a:lnTo>
                            <a:pt x="266" y="1832"/>
                          </a:lnTo>
                          <a:lnTo>
                            <a:pt x="269" y="1822"/>
                          </a:lnTo>
                          <a:lnTo>
                            <a:pt x="271" y="1812"/>
                          </a:lnTo>
                          <a:lnTo>
                            <a:pt x="271" y="1801"/>
                          </a:lnTo>
                          <a:lnTo>
                            <a:pt x="271" y="1801"/>
                          </a:lnTo>
                          <a:lnTo>
                            <a:pt x="271" y="1792"/>
                          </a:lnTo>
                          <a:lnTo>
                            <a:pt x="270" y="1782"/>
                          </a:lnTo>
                          <a:lnTo>
                            <a:pt x="267" y="1773"/>
                          </a:lnTo>
                          <a:lnTo>
                            <a:pt x="265" y="1765"/>
                          </a:lnTo>
                          <a:lnTo>
                            <a:pt x="261" y="1756"/>
                          </a:lnTo>
                          <a:lnTo>
                            <a:pt x="256" y="1749"/>
                          </a:lnTo>
                          <a:lnTo>
                            <a:pt x="250" y="1743"/>
                          </a:lnTo>
                          <a:lnTo>
                            <a:pt x="244" y="1737"/>
                          </a:lnTo>
                          <a:lnTo>
                            <a:pt x="237" y="1732"/>
                          </a:lnTo>
                          <a:lnTo>
                            <a:pt x="230" y="1727"/>
                          </a:lnTo>
                          <a:lnTo>
                            <a:pt x="221" y="1724"/>
                          </a:lnTo>
                          <a:lnTo>
                            <a:pt x="211" y="1720"/>
                          </a:lnTo>
                          <a:lnTo>
                            <a:pt x="202" y="1718"/>
                          </a:lnTo>
                          <a:lnTo>
                            <a:pt x="191" y="1715"/>
                          </a:lnTo>
                          <a:lnTo>
                            <a:pt x="180" y="1715"/>
                          </a:lnTo>
                          <a:lnTo>
                            <a:pt x="168" y="1714"/>
                          </a:lnTo>
                          <a:lnTo>
                            <a:pt x="24" y="1714"/>
                          </a:lnTo>
                          <a:lnTo>
                            <a:pt x="24" y="2049"/>
                          </a:lnTo>
                          <a:lnTo>
                            <a:pt x="166" y="2049"/>
                          </a:lnTo>
                          <a:lnTo>
                            <a:pt x="166" y="2049"/>
                          </a:lnTo>
                          <a:lnTo>
                            <a:pt x="180" y="2049"/>
                          </a:lnTo>
                          <a:lnTo>
                            <a:pt x="192" y="2048"/>
                          </a:lnTo>
                          <a:lnTo>
                            <a:pt x="204" y="2046"/>
                          </a:lnTo>
                          <a:lnTo>
                            <a:pt x="215" y="2042"/>
                          </a:lnTo>
                          <a:lnTo>
                            <a:pt x="226" y="2038"/>
                          </a:lnTo>
                          <a:lnTo>
                            <a:pt x="236" y="2034"/>
                          </a:lnTo>
                          <a:lnTo>
                            <a:pt x="244" y="2028"/>
                          </a:lnTo>
                          <a:lnTo>
                            <a:pt x="252" y="2021"/>
                          </a:lnTo>
                          <a:lnTo>
                            <a:pt x="259" y="2014"/>
                          </a:lnTo>
                          <a:lnTo>
                            <a:pt x="265" y="2006"/>
                          </a:lnTo>
                          <a:lnTo>
                            <a:pt x="271" y="1997"/>
                          </a:lnTo>
                          <a:lnTo>
                            <a:pt x="275" y="1987"/>
                          </a:lnTo>
                          <a:lnTo>
                            <a:pt x="278" y="1978"/>
                          </a:lnTo>
                          <a:lnTo>
                            <a:pt x="281" y="1967"/>
                          </a:lnTo>
                          <a:lnTo>
                            <a:pt x="282" y="1955"/>
                          </a:lnTo>
                          <a:lnTo>
                            <a:pt x="283" y="1942"/>
                          </a:lnTo>
                          <a:lnTo>
                            <a:pt x="283" y="1942"/>
                          </a:lnTo>
                          <a:close/>
                          <a:moveTo>
                            <a:pt x="166" y="1993"/>
                          </a:moveTo>
                          <a:lnTo>
                            <a:pt x="86" y="1993"/>
                          </a:lnTo>
                          <a:lnTo>
                            <a:pt x="86" y="1897"/>
                          </a:lnTo>
                          <a:lnTo>
                            <a:pt x="166" y="1897"/>
                          </a:lnTo>
                          <a:lnTo>
                            <a:pt x="166" y="1897"/>
                          </a:lnTo>
                          <a:lnTo>
                            <a:pt x="179" y="1899"/>
                          </a:lnTo>
                          <a:lnTo>
                            <a:pt x="188" y="1900"/>
                          </a:lnTo>
                          <a:lnTo>
                            <a:pt x="197" y="1904"/>
                          </a:lnTo>
                          <a:lnTo>
                            <a:pt x="204" y="1910"/>
                          </a:lnTo>
                          <a:lnTo>
                            <a:pt x="210" y="1916"/>
                          </a:lnTo>
                          <a:lnTo>
                            <a:pt x="214" y="1924"/>
                          </a:lnTo>
                          <a:lnTo>
                            <a:pt x="216" y="1934"/>
                          </a:lnTo>
                          <a:lnTo>
                            <a:pt x="218" y="1945"/>
                          </a:lnTo>
                          <a:lnTo>
                            <a:pt x="218" y="1945"/>
                          </a:lnTo>
                          <a:lnTo>
                            <a:pt x="216" y="1956"/>
                          </a:lnTo>
                          <a:lnTo>
                            <a:pt x="214" y="1966"/>
                          </a:lnTo>
                          <a:lnTo>
                            <a:pt x="209" y="1974"/>
                          </a:lnTo>
                          <a:lnTo>
                            <a:pt x="204" y="1980"/>
                          </a:lnTo>
                          <a:lnTo>
                            <a:pt x="197" y="1986"/>
                          </a:lnTo>
                          <a:lnTo>
                            <a:pt x="188" y="1990"/>
                          </a:lnTo>
                          <a:lnTo>
                            <a:pt x="177" y="1992"/>
                          </a:lnTo>
                          <a:lnTo>
                            <a:pt x="166" y="1993"/>
                          </a:lnTo>
                          <a:lnTo>
                            <a:pt x="166" y="1993"/>
                          </a:lnTo>
                          <a:close/>
                          <a:moveTo>
                            <a:pt x="165" y="1843"/>
                          </a:moveTo>
                          <a:lnTo>
                            <a:pt x="86" y="1843"/>
                          </a:lnTo>
                          <a:lnTo>
                            <a:pt x="86" y="1771"/>
                          </a:lnTo>
                          <a:lnTo>
                            <a:pt x="163" y="1771"/>
                          </a:lnTo>
                          <a:lnTo>
                            <a:pt x="163" y="1771"/>
                          </a:lnTo>
                          <a:lnTo>
                            <a:pt x="173" y="1772"/>
                          </a:lnTo>
                          <a:lnTo>
                            <a:pt x="182" y="1773"/>
                          </a:lnTo>
                          <a:lnTo>
                            <a:pt x="190" y="1776"/>
                          </a:lnTo>
                          <a:lnTo>
                            <a:pt x="196" y="1780"/>
                          </a:lnTo>
                          <a:lnTo>
                            <a:pt x="201" y="1786"/>
                          </a:lnTo>
                          <a:lnTo>
                            <a:pt x="204" y="1792"/>
                          </a:lnTo>
                          <a:lnTo>
                            <a:pt x="205" y="1799"/>
                          </a:lnTo>
                          <a:lnTo>
                            <a:pt x="207" y="1807"/>
                          </a:lnTo>
                          <a:lnTo>
                            <a:pt x="207" y="1807"/>
                          </a:lnTo>
                          <a:lnTo>
                            <a:pt x="207" y="1814"/>
                          </a:lnTo>
                          <a:lnTo>
                            <a:pt x="205" y="1820"/>
                          </a:lnTo>
                          <a:lnTo>
                            <a:pt x="203" y="1826"/>
                          </a:lnTo>
                          <a:lnTo>
                            <a:pt x="199" y="1831"/>
                          </a:lnTo>
                          <a:lnTo>
                            <a:pt x="193" y="1835"/>
                          </a:lnTo>
                          <a:lnTo>
                            <a:pt x="186" y="1839"/>
                          </a:lnTo>
                          <a:lnTo>
                            <a:pt x="177" y="1842"/>
                          </a:lnTo>
                          <a:lnTo>
                            <a:pt x="165" y="1843"/>
                          </a:lnTo>
                          <a:lnTo>
                            <a:pt x="165" y="1843"/>
                          </a:lnTo>
                          <a:close/>
                          <a:moveTo>
                            <a:pt x="326" y="1944"/>
                          </a:moveTo>
                          <a:lnTo>
                            <a:pt x="326" y="1805"/>
                          </a:lnTo>
                          <a:lnTo>
                            <a:pt x="386" y="1805"/>
                          </a:lnTo>
                          <a:lnTo>
                            <a:pt x="386" y="1940"/>
                          </a:lnTo>
                          <a:lnTo>
                            <a:pt x="386" y="1940"/>
                          </a:lnTo>
                          <a:lnTo>
                            <a:pt x="386" y="1953"/>
                          </a:lnTo>
                          <a:lnTo>
                            <a:pt x="389" y="1967"/>
                          </a:lnTo>
                          <a:lnTo>
                            <a:pt x="392" y="1976"/>
                          </a:lnTo>
                          <a:lnTo>
                            <a:pt x="397" y="1985"/>
                          </a:lnTo>
                          <a:lnTo>
                            <a:pt x="403" y="1991"/>
                          </a:lnTo>
                          <a:lnTo>
                            <a:pt x="411" y="1996"/>
                          </a:lnTo>
                          <a:lnTo>
                            <a:pt x="420" y="1998"/>
                          </a:lnTo>
                          <a:lnTo>
                            <a:pt x="431" y="2000"/>
                          </a:lnTo>
                          <a:lnTo>
                            <a:pt x="431" y="2000"/>
                          </a:lnTo>
                          <a:lnTo>
                            <a:pt x="442" y="1998"/>
                          </a:lnTo>
                          <a:lnTo>
                            <a:pt x="451" y="1996"/>
                          </a:lnTo>
                          <a:lnTo>
                            <a:pt x="459" y="1991"/>
                          </a:lnTo>
                          <a:lnTo>
                            <a:pt x="465" y="1985"/>
                          </a:lnTo>
                          <a:lnTo>
                            <a:pt x="470" y="1976"/>
                          </a:lnTo>
                          <a:lnTo>
                            <a:pt x="474" y="1966"/>
                          </a:lnTo>
                          <a:lnTo>
                            <a:pt x="476" y="1953"/>
                          </a:lnTo>
                          <a:lnTo>
                            <a:pt x="476" y="1940"/>
                          </a:lnTo>
                          <a:lnTo>
                            <a:pt x="476" y="1805"/>
                          </a:lnTo>
                          <a:lnTo>
                            <a:pt x="537" y="1805"/>
                          </a:lnTo>
                          <a:lnTo>
                            <a:pt x="537" y="2049"/>
                          </a:lnTo>
                          <a:lnTo>
                            <a:pt x="476" y="2049"/>
                          </a:lnTo>
                          <a:lnTo>
                            <a:pt x="476" y="2030"/>
                          </a:lnTo>
                          <a:lnTo>
                            <a:pt x="476" y="2030"/>
                          </a:lnTo>
                          <a:lnTo>
                            <a:pt x="471" y="2036"/>
                          </a:lnTo>
                          <a:lnTo>
                            <a:pt x="464" y="2041"/>
                          </a:lnTo>
                          <a:lnTo>
                            <a:pt x="458" y="2046"/>
                          </a:lnTo>
                          <a:lnTo>
                            <a:pt x="451" y="2048"/>
                          </a:lnTo>
                          <a:lnTo>
                            <a:pt x="444" y="2052"/>
                          </a:lnTo>
                          <a:lnTo>
                            <a:pt x="435" y="2053"/>
                          </a:lnTo>
                          <a:lnTo>
                            <a:pt x="427" y="2054"/>
                          </a:lnTo>
                          <a:lnTo>
                            <a:pt x="418" y="2055"/>
                          </a:lnTo>
                          <a:lnTo>
                            <a:pt x="418" y="2055"/>
                          </a:lnTo>
                          <a:lnTo>
                            <a:pt x="403" y="2054"/>
                          </a:lnTo>
                          <a:lnTo>
                            <a:pt x="391" y="2052"/>
                          </a:lnTo>
                          <a:lnTo>
                            <a:pt x="380" y="2048"/>
                          </a:lnTo>
                          <a:lnTo>
                            <a:pt x="369" y="2043"/>
                          </a:lnTo>
                          <a:lnTo>
                            <a:pt x="361" y="2037"/>
                          </a:lnTo>
                          <a:lnTo>
                            <a:pt x="354" y="2031"/>
                          </a:lnTo>
                          <a:lnTo>
                            <a:pt x="348" y="2023"/>
                          </a:lnTo>
                          <a:lnTo>
                            <a:pt x="341" y="2014"/>
                          </a:lnTo>
                          <a:lnTo>
                            <a:pt x="338" y="2006"/>
                          </a:lnTo>
                          <a:lnTo>
                            <a:pt x="334" y="1997"/>
                          </a:lnTo>
                          <a:lnTo>
                            <a:pt x="329" y="1978"/>
                          </a:lnTo>
                          <a:lnTo>
                            <a:pt x="327" y="1959"/>
                          </a:lnTo>
                          <a:lnTo>
                            <a:pt x="326" y="1944"/>
                          </a:lnTo>
                          <a:lnTo>
                            <a:pt x="326" y="1944"/>
                          </a:lnTo>
                          <a:close/>
                          <a:moveTo>
                            <a:pt x="1249" y="2049"/>
                          </a:moveTo>
                          <a:lnTo>
                            <a:pt x="1188" y="2049"/>
                          </a:lnTo>
                          <a:lnTo>
                            <a:pt x="1188" y="1805"/>
                          </a:lnTo>
                          <a:lnTo>
                            <a:pt x="1249" y="1805"/>
                          </a:lnTo>
                          <a:lnTo>
                            <a:pt x="1249" y="1826"/>
                          </a:lnTo>
                          <a:lnTo>
                            <a:pt x="1249" y="1826"/>
                          </a:lnTo>
                          <a:lnTo>
                            <a:pt x="1255" y="1820"/>
                          </a:lnTo>
                          <a:lnTo>
                            <a:pt x="1261" y="1814"/>
                          </a:lnTo>
                          <a:lnTo>
                            <a:pt x="1269" y="1810"/>
                          </a:lnTo>
                          <a:lnTo>
                            <a:pt x="1276" y="1806"/>
                          </a:lnTo>
                          <a:lnTo>
                            <a:pt x="1284" y="1803"/>
                          </a:lnTo>
                          <a:lnTo>
                            <a:pt x="1292" y="1801"/>
                          </a:lnTo>
                          <a:lnTo>
                            <a:pt x="1301" y="1800"/>
                          </a:lnTo>
                          <a:lnTo>
                            <a:pt x="1310" y="1799"/>
                          </a:lnTo>
                          <a:lnTo>
                            <a:pt x="1310" y="1799"/>
                          </a:lnTo>
                          <a:lnTo>
                            <a:pt x="1321" y="1800"/>
                          </a:lnTo>
                          <a:lnTo>
                            <a:pt x="1331" y="1801"/>
                          </a:lnTo>
                          <a:lnTo>
                            <a:pt x="1340" y="1804"/>
                          </a:lnTo>
                          <a:lnTo>
                            <a:pt x="1349" y="1806"/>
                          </a:lnTo>
                          <a:lnTo>
                            <a:pt x="1357" y="1810"/>
                          </a:lnTo>
                          <a:lnTo>
                            <a:pt x="1365" y="1816"/>
                          </a:lnTo>
                          <a:lnTo>
                            <a:pt x="1371" y="1821"/>
                          </a:lnTo>
                          <a:lnTo>
                            <a:pt x="1377" y="1828"/>
                          </a:lnTo>
                          <a:lnTo>
                            <a:pt x="1383" y="1835"/>
                          </a:lnTo>
                          <a:lnTo>
                            <a:pt x="1386" y="1844"/>
                          </a:lnTo>
                          <a:lnTo>
                            <a:pt x="1391" y="1852"/>
                          </a:lnTo>
                          <a:lnTo>
                            <a:pt x="1394" y="1862"/>
                          </a:lnTo>
                          <a:lnTo>
                            <a:pt x="1396" y="1873"/>
                          </a:lnTo>
                          <a:lnTo>
                            <a:pt x="1399" y="1885"/>
                          </a:lnTo>
                          <a:lnTo>
                            <a:pt x="1400" y="1897"/>
                          </a:lnTo>
                          <a:lnTo>
                            <a:pt x="1400" y="1911"/>
                          </a:lnTo>
                          <a:lnTo>
                            <a:pt x="1400" y="2049"/>
                          </a:lnTo>
                          <a:lnTo>
                            <a:pt x="1339" y="2049"/>
                          </a:lnTo>
                          <a:lnTo>
                            <a:pt x="1339" y="1914"/>
                          </a:lnTo>
                          <a:lnTo>
                            <a:pt x="1339" y="1914"/>
                          </a:lnTo>
                          <a:lnTo>
                            <a:pt x="1339" y="1900"/>
                          </a:lnTo>
                          <a:lnTo>
                            <a:pt x="1337" y="1888"/>
                          </a:lnTo>
                          <a:lnTo>
                            <a:pt x="1333" y="1878"/>
                          </a:lnTo>
                          <a:lnTo>
                            <a:pt x="1328" y="1869"/>
                          </a:lnTo>
                          <a:lnTo>
                            <a:pt x="1322" y="1863"/>
                          </a:lnTo>
                          <a:lnTo>
                            <a:pt x="1315" y="1859"/>
                          </a:lnTo>
                          <a:lnTo>
                            <a:pt x="1306" y="1856"/>
                          </a:lnTo>
                          <a:lnTo>
                            <a:pt x="1295" y="1855"/>
                          </a:lnTo>
                          <a:lnTo>
                            <a:pt x="1295" y="1855"/>
                          </a:lnTo>
                          <a:lnTo>
                            <a:pt x="1284" y="1856"/>
                          </a:lnTo>
                          <a:lnTo>
                            <a:pt x="1275" y="1859"/>
                          </a:lnTo>
                          <a:lnTo>
                            <a:pt x="1267" y="1863"/>
                          </a:lnTo>
                          <a:lnTo>
                            <a:pt x="1261" y="1869"/>
                          </a:lnTo>
                          <a:lnTo>
                            <a:pt x="1255" y="1878"/>
                          </a:lnTo>
                          <a:lnTo>
                            <a:pt x="1252" y="1889"/>
                          </a:lnTo>
                          <a:lnTo>
                            <a:pt x="1249" y="1901"/>
                          </a:lnTo>
                          <a:lnTo>
                            <a:pt x="1249" y="1914"/>
                          </a:lnTo>
                          <a:lnTo>
                            <a:pt x="1249" y="2049"/>
                          </a:lnTo>
                          <a:close/>
                          <a:moveTo>
                            <a:pt x="653" y="1927"/>
                          </a:moveTo>
                          <a:lnTo>
                            <a:pt x="653" y="2049"/>
                          </a:lnTo>
                          <a:lnTo>
                            <a:pt x="592" y="2049"/>
                          </a:lnTo>
                          <a:lnTo>
                            <a:pt x="592" y="1805"/>
                          </a:lnTo>
                          <a:lnTo>
                            <a:pt x="653" y="1805"/>
                          </a:lnTo>
                          <a:lnTo>
                            <a:pt x="653" y="1927"/>
                          </a:lnTo>
                          <a:close/>
                          <a:moveTo>
                            <a:pt x="706" y="1733"/>
                          </a:moveTo>
                          <a:lnTo>
                            <a:pt x="767" y="1703"/>
                          </a:lnTo>
                          <a:lnTo>
                            <a:pt x="767" y="1924"/>
                          </a:lnTo>
                          <a:lnTo>
                            <a:pt x="767" y="2049"/>
                          </a:lnTo>
                          <a:lnTo>
                            <a:pt x="706" y="2049"/>
                          </a:lnTo>
                          <a:lnTo>
                            <a:pt x="706" y="1733"/>
                          </a:lnTo>
                          <a:close/>
                          <a:moveTo>
                            <a:pt x="959" y="1822"/>
                          </a:moveTo>
                          <a:lnTo>
                            <a:pt x="959" y="1822"/>
                          </a:lnTo>
                          <a:lnTo>
                            <a:pt x="954" y="1816"/>
                          </a:lnTo>
                          <a:lnTo>
                            <a:pt x="948" y="1812"/>
                          </a:lnTo>
                          <a:lnTo>
                            <a:pt x="941" y="1807"/>
                          </a:lnTo>
                          <a:lnTo>
                            <a:pt x="934" y="1805"/>
                          </a:lnTo>
                          <a:lnTo>
                            <a:pt x="927" y="1803"/>
                          </a:lnTo>
                          <a:lnTo>
                            <a:pt x="920" y="1800"/>
                          </a:lnTo>
                          <a:lnTo>
                            <a:pt x="905" y="1799"/>
                          </a:lnTo>
                          <a:lnTo>
                            <a:pt x="905" y="1799"/>
                          </a:lnTo>
                          <a:lnTo>
                            <a:pt x="894" y="1800"/>
                          </a:lnTo>
                          <a:lnTo>
                            <a:pt x="883" y="1801"/>
                          </a:lnTo>
                          <a:lnTo>
                            <a:pt x="874" y="1804"/>
                          </a:lnTo>
                          <a:lnTo>
                            <a:pt x="865" y="1807"/>
                          </a:lnTo>
                          <a:lnTo>
                            <a:pt x="857" y="1812"/>
                          </a:lnTo>
                          <a:lnTo>
                            <a:pt x="848" y="1818"/>
                          </a:lnTo>
                          <a:lnTo>
                            <a:pt x="841" y="1826"/>
                          </a:lnTo>
                          <a:lnTo>
                            <a:pt x="835" y="1833"/>
                          </a:lnTo>
                          <a:lnTo>
                            <a:pt x="829" y="1842"/>
                          </a:lnTo>
                          <a:lnTo>
                            <a:pt x="824" y="1851"/>
                          </a:lnTo>
                          <a:lnTo>
                            <a:pt x="819" y="1861"/>
                          </a:lnTo>
                          <a:lnTo>
                            <a:pt x="815" y="1872"/>
                          </a:lnTo>
                          <a:lnTo>
                            <a:pt x="813" y="1884"/>
                          </a:lnTo>
                          <a:lnTo>
                            <a:pt x="811" y="1897"/>
                          </a:lnTo>
                          <a:lnTo>
                            <a:pt x="809" y="1911"/>
                          </a:lnTo>
                          <a:lnTo>
                            <a:pt x="809" y="1924"/>
                          </a:lnTo>
                          <a:lnTo>
                            <a:pt x="809" y="1924"/>
                          </a:lnTo>
                          <a:lnTo>
                            <a:pt x="809" y="1940"/>
                          </a:lnTo>
                          <a:lnTo>
                            <a:pt x="811" y="1953"/>
                          </a:lnTo>
                          <a:lnTo>
                            <a:pt x="813" y="1967"/>
                          </a:lnTo>
                          <a:lnTo>
                            <a:pt x="815" y="1979"/>
                          </a:lnTo>
                          <a:lnTo>
                            <a:pt x="819" y="1991"/>
                          </a:lnTo>
                          <a:lnTo>
                            <a:pt x="823" y="2002"/>
                          </a:lnTo>
                          <a:lnTo>
                            <a:pt x="828" y="2012"/>
                          </a:lnTo>
                          <a:lnTo>
                            <a:pt x="834" y="2020"/>
                          </a:lnTo>
                          <a:lnTo>
                            <a:pt x="841" y="2029"/>
                          </a:lnTo>
                          <a:lnTo>
                            <a:pt x="847" y="2035"/>
                          </a:lnTo>
                          <a:lnTo>
                            <a:pt x="855" y="2041"/>
                          </a:lnTo>
                          <a:lnTo>
                            <a:pt x="864" y="2046"/>
                          </a:lnTo>
                          <a:lnTo>
                            <a:pt x="872" y="2049"/>
                          </a:lnTo>
                          <a:lnTo>
                            <a:pt x="882" y="2053"/>
                          </a:lnTo>
                          <a:lnTo>
                            <a:pt x="893" y="2054"/>
                          </a:lnTo>
                          <a:lnTo>
                            <a:pt x="904" y="2055"/>
                          </a:lnTo>
                          <a:lnTo>
                            <a:pt x="904" y="2055"/>
                          </a:lnTo>
                          <a:lnTo>
                            <a:pt x="911" y="2054"/>
                          </a:lnTo>
                          <a:lnTo>
                            <a:pt x="919" y="2053"/>
                          </a:lnTo>
                          <a:lnTo>
                            <a:pt x="926" y="2052"/>
                          </a:lnTo>
                          <a:lnTo>
                            <a:pt x="933" y="2049"/>
                          </a:lnTo>
                          <a:lnTo>
                            <a:pt x="939" y="2046"/>
                          </a:lnTo>
                          <a:lnTo>
                            <a:pt x="947" y="2042"/>
                          </a:lnTo>
                          <a:lnTo>
                            <a:pt x="953" y="2037"/>
                          </a:lnTo>
                          <a:lnTo>
                            <a:pt x="959" y="2031"/>
                          </a:lnTo>
                          <a:lnTo>
                            <a:pt x="959" y="2049"/>
                          </a:lnTo>
                          <a:lnTo>
                            <a:pt x="1020" y="2049"/>
                          </a:lnTo>
                          <a:lnTo>
                            <a:pt x="1020" y="1703"/>
                          </a:lnTo>
                          <a:lnTo>
                            <a:pt x="959" y="1733"/>
                          </a:lnTo>
                          <a:lnTo>
                            <a:pt x="959" y="1822"/>
                          </a:lnTo>
                          <a:close/>
                          <a:moveTo>
                            <a:pt x="916" y="2000"/>
                          </a:moveTo>
                          <a:lnTo>
                            <a:pt x="916" y="2000"/>
                          </a:lnTo>
                          <a:lnTo>
                            <a:pt x="909" y="1998"/>
                          </a:lnTo>
                          <a:lnTo>
                            <a:pt x="900" y="1996"/>
                          </a:lnTo>
                          <a:lnTo>
                            <a:pt x="893" y="1992"/>
                          </a:lnTo>
                          <a:lnTo>
                            <a:pt x="886" y="1985"/>
                          </a:lnTo>
                          <a:lnTo>
                            <a:pt x="880" y="1975"/>
                          </a:lnTo>
                          <a:lnTo>
                            <a:pt x="875" y="1962"/>
                          </a:lnTo>
                          <a:lnTo>
                            <a:pt x="871" y="1945"/>
                          </a:lnTo>
                          <a:lnTo>
                            <a:pt x="870" y="1923"/>
                          </a:lnTo>
                          <a:lnTo>
                            <a:pt x="870" y="1923"/>
                          </a:lnTo>
                          <a:lnTo>
                            <a:pt x="871" y="1904"/>
                          </a:lnTo>
                          <a:lnTo>
                            <a:pt x="875" y="1889"/>
                          </a:lnTo>
                          <a:lnTo>
                            <a:pt x="880" y="1877"/>
                          </a:lnTo>
                          <a:lnTo>
                            <a:pt x="886" y="1868"/>
                          </a:lnTo>
                          <a:lnTo>
                            <a:pt x="892" y="1861"/>
                          </a:lnTo>
                          <a:lnTo>
                            <a:pt x="900" y="1857"/>
                          </a:lnTo>
                          <a:lnTo>
                            <a:pt x="908" y="1855"/>
                          </a:lnTo>
                          <a:lnTo>
                            <a:pt x="916" y="1855"/>
                          </a:lnTo>
                          <a:lnTo>
                            <a:pt x="916" y="1855"/>
                          </a:lnTo>
                          <a:lnTo>
                            <a:pt x="924" y="1855"/>
                          </a:lnTo>
                          <a:lnTo>
                            <a:pt x="931" y="1857"/>
                          </a:lnTo>
                          <a:lnTo>
                            <a:pt x="938" y="1860"/>
                          </a:lnTo>
                          <a:lnTo>
                            <a:pt x="943" y="1863"/>
                          </a:lnTo>
                          <a:lnTo>
                            <a:pt x="948" y="1867"/>
                          </a:lnTo>
                          <a:lnTo>
                            <a:pt x="953" y="1871"/>
                          </a:lnTo>
                          <a:lnTo>
                            <a:pt x="959" y="1879"/>
                          </a:lnTo>
                          <a:lnTo>
                            <a:pt x="959" y="1975"/>
                          </a:lnTo>
                          <a:lnTo>
                            <a:pt x="959" y="1975"/>
                          </a:lnTo>
                          <a:lnTo>
                            <a:pt x="951" y="1984"/>
                          </a:lnTo>
                          <a:lnTo>
                            <a:pt x="943" y="1991"/>
                          </a:lnTo>
                          <a:lnTo>
                            <a:pt x="938" y="1995"/>
                          </a:lnTo>
                          <a:lnTo>
                            <a:pt x="931" y="1997"/>
                          </a:lnTo>
                          <a:lnTo>
                            <a:pt x="925" y="1998"/>
                          </a:lnTo>
                          <a:lnTo>
                            <a:pt x="916" y="2000"/>
                          </a:lnTo>
                          <a:lnTo>
                            <a:pt x="916" y="2000"/>
                          </a:lnTo>
                          <a:close/>
                          <a:moveTo>
                            <a:pt x="2278" y="1799"/>
                          </a:moveTo>
                          <a:lnTo>
                            <a:pt x="2278" y="1799"/>
                          </a:lnTo>
                          <a:lnTo>
                            <a:pt x="2272" y="1800"/>
                          </a:lnTo>
                          <a:lnTo>
                            <a:pt x="2265" y="1801"/>
                          </a:lnTo>
                          <a:lnTo>
                            <a:pt x="2250" y="1805"/>
                          </a:lnTo>
                          <a:lnTo>
                            <a:pt x="2237" y="1812"/>
                          </a:lnTo>
                          <a:lnTo>
                            <a:pt x="2225" y="1822"/>
                          </a:lnTo>
                          <a:lnTo>
                            <a:pt x="2225" y="1709"/>
                          </a:lnTo>
                          <a:lnTo>
                            <a:pt x="2164" y="1739"/>
                          </a:lnTo>
                          <a:lnTo>
                            <a:pt x="2164" y="2049"/>
                          </a:lnTo>
                          <a:lnTo>
                            <a:pt x="2225" y="2049"/>
                          </a:lnTo>
                          <a:lnTo>
                            <a:pt x="2225" y="2031"/>
                          </a:lnTo>
                          <a:lnTo>
                            <a:pt x="2225" y="2031"/>
                          </a:lnTo>
                          <a:lnTo>
                            <a:pt x="2230" y="2037"/>
                          </a:lnTo>
                          <a:lnTo>
                            <a:pt x="2237" y="2042"/>
                          </a:lnTo>
                          <a:lnTo>
                            <a:pt x="2243" y="2046"/>
                          </a:lnTo>
                          <a:lnTo>
                            <a:pt x="2250" y="2049"/>
                          </a:lnTo>
                          <a:lnTo>
                            <a:pt x="2257" y="2052"/>
                          </a:lnTo>
                          <a:lnTo>
                            <a:pt x="2265" y="2053"/>
                          </a:lnTo>
                          <a:lnTo>
                            <a:pt x="2272" y="2054"/>
                          </a:lnTo>
                          <a:lnTo>
                            <a:pt x="2280" y="2055"/>
                          </a:lnTo>
                          <a:lnTo>
                            <a:pt x="2280" y="2055"/>
                          </a:lnTo>
                          <a:lnTo>
                            <a:pt x="2291" y="2054"/>
                          </a:lnTo>
                          <a:lnTo>
                            <a:pt x="2302" y="2053"/>
                          </a:lnTo>
                          <a:lnTo>
                            <a:pt x="2311" y="2051"/>
                          </a:lnTo>
                          <a:lnTo>
                            <a:pt x="2321" y="2046"/>
                          </a:lnTo>
                          <a:lnTo>
                            <a:pt x="2329" y="2041"/>
                          </a:lnTo>
                          <a:lnTo>
                            <a:pt x="2337" y="2036"/>
                          </a:lnTo>
                          <a:lnTo>
                            <a:pt x="2344" y="2029"/>
                          </a:lnTo>
                          <a:lnTo>
                            <a:pt x="2350" y="2021"/>
                          </a:lnTo>
                          <a:lnTo>
                            <a:pt x="2356" y="2012"/>
                          </a:lnTo>
                          <a:lnTo>
                            <a:pt x="2361" y="2002"/>
                          </a:lnTo>
                          <a:lnTo>
                            <a:pt x="2365" y="1991"/>
                          </a:lnTo>
                          <a:lnTo>
                            <a:pt x="2368" y="1980"/>
                          </a:lnTo>
                          <a:lnTo>
                            <a:pt x="2372" y="1968"/>
                          </a:lnTo>
                          <a:lnTo>
                            <a:pt x="2373" y="1955"/>
                          </a:lnTo>
                          <a:lnTo>
                            <a:pt x="2374" y="1940"/>
                          </a:lnTo>
                          <a:lnTo>
                            <a:pt x="2376" y="1924"/>
                          </a:lnTo>
                          <a:lnTo>
                            <a:pt x="2376" y="1924"/>
                          </a:lnTo>
                          <a:lnTo>
                            <a:pt x="2374" y="1911"/>
                          </a:lnTo>
                          <a:lnTo>
                            <a:pt x="2373" y="1897"/>
                          </a:lnTo>
                          <a:lnTo>
                            <a:pt x="2371" y="1884"/>
                          </a:lnTo>
                          <a:lnTo>
                            <a:pt x="2368" y="1872"/>
                          </a:lnTo>
                          <a:lnTo>
                            <a:pt x="2365" y="1861"/>
                          </a:lnTo>
                          <a:lnTo>
                            <a:pt x="2360" y="1851"/>
                          </a:lnTo>
                          <a:lnTo>
                            <a:pt x="2355" y="1842"/>
                          </a:lnTo>
                          <a:lnTo>
                            <a:pt x="2349" y="1833"/>
                          </a:lnTo>
                          <a:lnTo>
                            <a:pt x="2343" y="1826"/>
                          </a:lnTo>
                          <a:lnTo>
                            <a:pt x="2336" y="1818"/>
                          </a:lnTo>
                          <a:lnTo>
                            <a:pt x="2327" y="1812"/>
                          </a:lnTo>
                          <a:lnTo>
                            <a:pt x="2319" y="1807"/>
                          </a:lnTo>
                          <a:lnTo>
                            <a:pt x="2310" y="1804"/>
                          </a:lnTo>
                          <a:lnTo>
                            <a:pt x="2300" y="1801"/>
                          </a:lnTo>
                          <a:lnTo>
                            <a:pt x="2289" y="1800"/>
                          </a:lnTo>
                          <a:lnTo>
                            <a:pt x="2278" y="1799"/>
                          </a:lnTo>
                          <a:lnTo>
                            <a:pt x="2278" y="1799"/>
                          </a:lnTo>
                          <a:close/>
                          <a:moveTo>
                            <a:pt x="2267" y="1855"/>
                          </a:moveTo>
                          <a:lnTo>
                            <a:pt x="2267" y="1855"/>
                          </a:lnTo>
                          <a:lnTo>
                            <a:pt x="2276" y="1856"/>
                          </a:lnTo>
                          <a:lnTo>
                            <a:pt x="2284" y="1859"/>
                          </a:lnTo>
                          <a:lnTo>
                            <a:pt x="2292" y="1863"/>
                          </a:lnTo>
                          <a:lnTo>
                            <a:pt x="2299" y="1871"/>
                          </a:lnTo>
                          <a:lnTo>
                            <a:pt x="2305" y="1879"/>
                          </a:lnTo>
                          <a:lnTo>
                            <a:pt x="2309" y="1891"/>
                          </a:lnTo>
                          <a:lnTo>
                            <a:pt x="2312" y="1906"/>
                          </a:lnTo>
                          <a:lnTo>
                            <a:pt x="2314" y="1923"/>
                          </a:lnTo>
                          <a:lnTo>
                            <a:pt x="2314" y="1923"/>
                          </a:lnTo>
                          <a:lnTo>
                            <a:pt x="2312" y="1941"/>
                          </a:lnTo>
                          <a:lnTo>
                            <a:pt x="2310" y="1957"/>
                          </a:lnTo>
                          <a:lnTo>
                            <a:pt x="2308" y="1969"/>
                          </a:lnTo>
                          <a:lnTo>
                            <a:pt x="2303" y="1980"/>
                          </a:lnTo>
                          <a:lnTo>
                            <a:pt x="2295" y="1989"/>
                          </a:lnTo>
                          <a:lnTo>
                            <a:pt x="2288" y="1995"/>
                          </a:lnTo>
                          <a:lnTo>
                            <a:pt x="2280" y="1998"/>
                          </a:lnTo>
                          <a:lnTo>
                            <a:pt x="2269" y="2000"/>
                          </a:lnTo>
                          <a:lnTo>
                            <a:pt x="2269" y="2000"/>
                          </a:lnTo>
                          <a:lnTo>
                            <a:pt x="2260" y="1998"/>
                          </a:lnTo>
                          <a:lnTo>
                            <a:pt x="2253" y="1997"/>
                          </a:lnTo>
                          <a:lnTo>
                            <a:pt x="2247" y="1993"/>
                          </a:lnTo>
                          <a:lnTo>
                            <a:pt x="2241" y="1991"/>
                          </a:lnTo>
                          <a:lnTo>
                            <a:pt x="2231" y="1983"/>
                          </a:lnTo>
                          <a:lnTo>
                            <a:pt x="2225" y="1976"/>
                          </a:lnTo>
                          <a:lnTo>
                            <a:pt x="2225" y="1879"/>
                          </a:lnTo>
                          <a:lnTo>
                            <a:pt x="2225" y="1879"/>
                          </a:lnTo>
                          <a:lnTo>
                            <a:pt x="2229" y="1874"/>
                          </a:lnTo>
                          <a:lnTo>
                            <a:pt x="2233" y="1869"/>
                          </a:lnTo>
                          <a:lnTo>
                            <a:pt x="2238" y="1865"/>
                          </a:lnTo>
                          <a:lnTo>
                            <a:pt x="2243" y="1861"/>
                          </a:lnTo>
                          <a:lnTo>
                            <a:pt x="2249" y="1859"/>
                          </a:lnTo>
                          <a:lnTo>
                            <a:pt x="2255" y="1856"/>
                          </a:lnTo>
                          <a:lnTo>
                            <a:pt x="2261" y="1855"/>
                          </a:lnTo>
                          <a:lnTo>
                            <a:pt x="2267" y="1855"/>
                          </a:lnTo>
                          <a:lnTo>
                            <a:pt x="2267" y="1855"/>
                          </a:lnTo>
                          <a:close/>
                          <a:moveTo>
                            <a:pt x="1591" y="1822"/>
                          </a:moveTo>
                          <a:lnTo>
                            <a:pt x="1591" y="1822"/>
                          </a:lnTo>
                          <a:lnTo>
                            <a:pt x="1586" y="1817"/>
                          </a:lnTo>
                          <a:lnTo>
                            <a:pt x="1580" y="1812"/>
                          </a:lnTo>
                          <a:lnTo>
                            <a:pt x="1572" y="1809"/>
                          </a:lnTo>
                          <a:lnTo>
                            <a:pt x="1566" y="1805"/>
                          </a:lnTo>
                          <a:lnTo>
                            <a:pt x="1559" y="1803"/>
                          </a:lnTo>
                          <a:lnTo>
                            <a:pt x="1552" y="1800"/>
                          </a:lnTo>
                          <a:lnTo>
                            <a:pt x="1544" y="1800"/>
                          </a:lnTo>
                          <a:lnTo>
                            <a:pt x="1537" y="1799"/>
                          </a:lnTo>
                          <a:lnTo>
                            <a:pt x="1537" y="1799"/>
                          </a:lnTo>
                          <a:lnTo>
                            <a:pt x="1526" y="1800"/>
                          </a:lnTo>
                          <a:lnTo>
                            <a:pt x="1515" y="1801"/>
                          </a:lnTo>
                          <a:lnTo>
                            <a:pt x="1506" y="1804"/>
                          </a:lnTo>
                          <a:lnTo>
                            <a:pt x="1497" y="1807"/>
                          </a:lnTo>
                          <a:lnTo>
                            <a:pt x="1489" y="1812"/>
                          </a:lnTo>
                          <a:lnTo>
                            <a:pt x="1480" y="1818"/>
                          </a:lnTo>
                          <a:lnTo>
                            <a:pt x="1473" y="1826"/>
                          </a:lnTo>
                          <a:lnTo>
                            <a:pt x="1467" y="1833"/>
                          </a:lnTo>
                          <a:lnTo>
                            <a:pt x="1461" y="1842"/>
                          </a:lnTo>
                          <a:lnTo>
                            <a:pt x="1456" y="1851"/>
                          </a:lnTo>
                          <a:lnTo>
                            <a:pt x="1451" y="1861"/>
                          </a:lnTo>
                          <a:lnTo>
                            <a:pt x="1447" y="1872"/>
                          </a:lnTo>
                          <a:lnTo>
                            <a:pt x="1445" y="1884"/>
                          </a:lnTo>
                          <a:lnTo>
                            <a:pt x="1442" y="1897"/>
                          </a:lnTo>
                          <a:lnTo>
                            <a:pt x="1441" y="1911"/>
                          </a:lnTo>
                          <a:lnTo>
                            <a:pt x="1441" y="1924"/>
                          </a:lnTo>
                          <a:lnTo>
                            <a:pt x="1441" y="1924"/>
                          </a:lnTo>
                          <a:lnTo>
                            <a:pt x="1441" y="1940"/>
                          </a:lnTo>
                          <a:lnTo>
                            <a:pt x="1442" y="1953"/>
                          </a:lnTo>
                          <a:lnTo>
                            <a:pt x="1445" y="1967"/>
                          </a:lnTo>
                          <a:lnTo>
                            <a:pt x="1447" y="1979"/>
                          </a:lnTo>
                          <a:lnTo>
                            <a:pt x="1451" y="1991"/>
                          </a:lnTo>
                          <a:lnTo>
                            <a:pt x="1455" y="2002"/>
                          </a:lnTo>
                          <a:lnTo>
                            <a:pt x="1461" y="2012"/>
                          </a:lnTo>
                          <a:lnTo>
                            <a:pt x="1465" y="2020"/>
                          </a:lnTo>
                          <a:lnTo>
                            <a:pt x="1473" y="2029"/>
                          </a:lnTo>
                          <a:lnTo>
                            <a:pt x="1479" y="2035"/>
                          </a:lnTo>
                          <a:lnTo>
                            <a:pt x="1487" y="2041"/>
                          </a:lnTo>
                          <a:lnTo>
                            <a:pt x="1496" y="2046"/>
                          </a:lnTo>
                          <a:lnTo>
                            <a:pt x="1504" y="2049"/>
                          </a:lnTo>
                          <a:lnTo>
                            <a:pt x="1514" y="2053"/>
                          </a:lnTo>
                          <a:lnTo>
                            <a:pt x="1525" y="2054"/>
                          </a:lnTo>
                          <a:lnTo>
                            <a:pt x="1536" y="2054"/>
                          </a:lnTo>
                          <a:lnTo>
                            <a:pt x="1536" y="2054"/>
                          </a:lnTo>
                          <a:lnTo>
                            <a:pt x="1543" y="2054"/>
                          </a:lnTo>
                          <a:lnTo>
                            <a:pt x="1551" y="2053"/>
                          </a:lnTo>
                          <a:lnTo>
                            <a:pt x="1558" y="2052"/>
                          </a:lnTo>
                          <a:lnTo>
                            <a:pt x="1565" y="2049"/>
                          </a:lnTo>
                          <a:lnTo>
                            <a:pt x="1572" y="2046"/>
                          </a:lnTo>
                          <a:lnTo>
                            <a:pt x="1578" y="2041"/>
                          </a:lnTo>
                          <a:lnTo>
                            <a:pt x="1585" y="2037"/>
                          </a:lnTo>
                          <a:lnTo>
                            <a:pt x="1591" y="2031"/>
                          </a:lnTo>
                          <a:lnTo>
                            <a:pt x="1591" y="2037"/>
                          </a:lnTo>
                          <a:lnTo>
                            <a:pt x="1591" y="2037"/>
                          </a:lnTo>
                          <a:lnTo>
                            <a:pt x="1591" y="2047"/>
                          </a:lnTo>
                          <a:lnTo>
                            <a:pt x="1589" y="2058"/>
                          </a:lnTo>
                          <a:lnTo>
                            <a:pt x="1587" y="2069"/>
                          </a:lnTo>
                          <a:lnTo>
                            <a:pt x="1585" y="2074"/>
                          </a:lnTo>
                          <a:lnTo>
                            <a:pt x="1581" y="2079"/>
                          </a:lnTo>
                          <a:lnTo>
                            <a:pt x="1577" y="2083"/>
                          </a:lnTo>
                          <a:lnTo>
                            <a:pt x="1572" y="2088"/>
                          </a:lnTo>
                          <a:lnTo>
                            <a:pt x="1565" y="2092"/>
                          </a:lnTo>
                          <a:lnTo>
                            <a:pt x="1558" y="2094"/>
                          </a:lnTo>
                          <a:lnTo>
                            <a:pt x="1549" y="2098"/>
                          </a:lnTo>
                          <a:lnTo>
                            <a:pt x="1538" y="2099"/>
                          </a:lnTo>
                          <a:lnTo>
                            <a:pt x="1526" y="2102"/>
                          </a:lnTo>
                          <a:lnTo>
                            <a:pt x="1513" y="2102"/>
                          </a:lnTo>
                          <a:lnTo>
                            <a:pt x="1510" y="2102"/>
                          </a:lnTo>
                          <a:lnTo>
                            <a:pt x="1531" y="2149"/>
                          </a:lnTo>
                          <a:lnTo>
                            <a:pt x="1532" y="2149"/>
                          </a:lnTo>
                          <a:lnTo>
                            <a:pt x="1532" y="2149"/>
                          </a:lnTo>
                          <a:lnTo>
                            <a:pt x="1547" y="2149"/>
                          </a:lnTo>
                          <a:lnTo>
                            <a:pt x="1560" y="2147"/>
                          </a:lnTo>
                          <a:lnTo>
                            <a:pt x="1574" y="2144"/>
                          </a:lnTo>
                          <a:lnTo>
                            <a:pt x="1585" y="2141"/>
                          </a:lnTo>
                          <a:lnTo>
                            <a:pt x="1595" y="2137"/>
                          </a:lnTo>
                          <a:lnTo>
                            <a:pt x="1605" y="2132"/>
                          </a:lnTo>
                          <a:lnTo>
                            <a:pt x="1614" y="2125"/>
                          </a:lnTo>
                          <a:lnTo>
                            <a:pt x="1622" y="2119"/>
                          </a:lnTo>
                          <a:lnTo>
                            <a:pt x="1630" y="2110"/>
                          </a:lnTo>
                          <a:lnTo>
                            <a:pt x="1634" y="2100"/>
                          </a:lnTo>
                          <a:lnTo>
                            <a:pt x="1640" y="2091"/>
                          </a:lnTo>
                          <a:lnTo>
                            <a:pt x="1644" y="2080"/>
                          </a:lnTo>
                          <a:lnTo>
                            <a:pt x="1648" y="2068"/>
                          </a:lnTo>
                          <a:lnTo>
                            <a:pt x="1650" y="2055"/>
                          </a:lnTo>
                          <a:lnTo>
                            <a:pt x="1651" y="2042"/>
                          </a:lnTo>
                          <a:lnTo>
                            <a:pt x="1651" y="2026"/>
                          </a:lnTo>
                          <a:lnTo>
                            <a:pt x="1651" y="1805"/>
                          </a:lnTo>
                          <a:lnTo>
                            <a:pt x="1591" y="1805"/>
                          </a:lnTo>
                          <a:lnTo>
                            <a:pt x="1591" y="1822"/>
                          </a:lnTo>
                          <a:close/>
                          <a:moveTo>
                            <a:pt x="1591" y="1879"/>
                          </a:moveTo>
                          <a:lnTo>
                            <a:pt x="1591" y="1975"/>
                          </a:lnTo>
                          <a:lnTo>
                            <a:pt x="1591" y="1975"/>
                          </a:lnTo>
                          <a:lnTo>
                            <a:pt x="1583" y="1984"/>
                          </a:lnTo>
                          <a:lnTo>
                            <a:pt x="1574" y="1992"/>
                          </a:lnTo>
                          <a:lnTo>
                            <a:pt x="1569" y="1995"/>
                          </a:lnTo>
                          <a:lnTo>
                            <a:pt x="1563" y="1997"/>
                          </a:lnTo>
                          <a:lnTo>
                            <a:pt x="1555" y="1998"/>
                          </a:lnTo>
                          <a:lnTo>
                            <a:pt x="1548" y="2000"/>
                          </a:lnTo>
                          <a:lnTo>
                            <a:pt x="1548" y="2000"/>
                          </a:lnTo>
                          <a:lnTo>
                            <a:pt x="1540" y="1998"/>
                          </a:lnTo>
                          <a:lnTo>
                            <a:pt x="1532" y="1996"/>
                          </a:lnTo>
                          <a:lnTo>
                            <a:pt x="1524" y="1991"/>
                          </a:lnTo>
                          <a:lnTo>
                            <a:pt x="1518" y="1985"/>
                          </a:lnTo>
                          <a:lnTo>
                            <a:pt x="1512" y="1975"/>
                          </a:lnTo>
                          <a:lnTo>
                            <a:pt x="1507" y="1962"/>
                          </a:lnTo>
                          <a:lnTo>
                            <a:pt x="1503" y="1945"/>
                          </a:lnTo>
                          <a:lnTo>
                            <a:pt x="1502" y="1923"/>
                          </a:lnTo>
                          <a:lnTo>
                            <a:pt x="1502" y="1923"/>
                          </a:lnTo>
                          <a:lnTo>
                            <a:pt x="1503" y="1904"/>
                          </a:lnTo>
                          <a:lnTo>
                            <a:pt x="1507" y="1889"/>
                          </a:lnTo>
                          <a:lnTo>
                            <a:pt x="1512" y="1877"/>
                          </a:lnTo>
                          <a:lnTo>
                            <a:pt x="1518" y="1868"/>
                          </a:lnTo>
                          <a:lnTo>
                            <a:pt x="1524" y="1861"/>
                          </a:lnTo>
                          <a:lnTo>
                            <a:pt x="1532" y="1857"/>
                          </a:lnTo>
                          <a:lnTo>
                            <a:pt x="1540" y="1855"/>
                          </a:lnTo>
                          <a:lnTo>
                            <a:pt x="1548" y="1855"/>
                          </a:lnTo>
                          <a:lnTo>
                            <a:pt x="1548" y="1855"/>
                          </a:lnTo>
                          <a:lnTo>
                            <a:pt x="1555" y="1855"/>
                          </a:lnTo>
                          <a:lnTo>
                            <a:pt x="1563" y="1857"/>
                          </a:lnTo>
                          <a:lnTo>
                            <a:pt x="1570" y="1860"/>
                          </a:lnTo>
                          <a:lnTo>
                            <a:pt x="1575" y="1862"/>
                          </a:lnTo>
                          <a:lnTo>
                            <a:pt x="1580" y="1867"/>
                          </a:lnTo>
                          <a:lnTo>
                            <a:pt x="1585" y="1871"/>
                          </a:lnTo>
                          <a:lnTo>
                            <a:pt x="1591" y="1879"/>
                          </a:lnTo>
                          <a:lnTo>
                            <a:pt x="1591" y="1879"/>
                          </a:lnTo>
                          <a:close/>
                          <a:moveTo>
                            <a:pt x="1840" y="1865"/>
                          </a:moveTo>
                          <a:lnTo>
                            <a:pt x="1840" y="1865"/>
                          </a:lnTo>
                          <a:lnTo>
                            <a:pt x="1854" y="1857"/>
                          </a:lnTo>
                          <a:lnTo>
                            <a:pt x="1869" y="1852"/>
                          </a:lnTo>
                          <a:lnTo>
                            <a:pt x="1885" y="1849"/>
                          </a:lnTo>
                          <a:lnTo>
                            <a:pt x="1902" y="1848"/>
                          </a:lnTo>
                          <a:lnTo>
                            <a:pt x="1902" y="1848"/>
                          </a:lnTo>
                          <a:lnTo>
                            <a:pt x="1913" y="1849"/>
                          </a:lnTo>
                          <a:lnTo>
                            <a:pt x="1921" y="1850"/>
                          </a:lnTo>
                          <a:lnTo>
                            <a:pt x="1928" y="1852"/>
                          </a:lnTo>
                          <a:lnTo>
                            <a:pt x="1935" y="1857"/>
                          </a:lnTo>
                          <a:lnTo>
                            <a:pt x="1939" y="1862"/>
                          </a:lnTo>
                          <a:lnTo>
                            <a:pt x="1943" y="1868"/>
                          </a:lnTo>
                          <a:lnTo>
                            <a:pt x="1945" y="1874"/>
                          </a:lnTo>
                          <a:lnTo>
                            <a:pt x="1945" y="1883"/>
                          </a:lnTo>
                          <a:lnTo>
                            <a:pt x="1945" y="1900"/>
                          </a:lnTo>
                          <a:lnTo>
                            <a:pt x="1945" y="1900"/>
                          </a:lnTo>
                          <a:lnTo>
                            <a:pt x="1935" y="1895"/>
                          </a:lnTo>
                          <a:lnTo>
                            <a:pt x="1921" y="1891"/>
                          </a:lnTo>
                          <a:lnTo>
                            <a:pt x="1908" y="1889"/>
                          </a:lnTo>
                          <a:lnTo>
                            <a:pt x="1893" y="1888"/>
                          </a:lnTo>
                          <a:lnTo>
                            <a:pt x="1893" y="1888"/>
                          </a:lnTo>
                          <a:lnTo>
                            <a:pt x="1876" y="1889"/>
                          </a:lnTo>
                          <a:lnTo>
                            <a:pt x="1859" y="1893"/>
                          </a:lnTo>
                          <a:lnTo>
                            <a:pt x="1843" y="1897"/>
                          </a:lnTo>
                          <a:lnTo>
                            <a:pt x="1835" y="1901"/>
                          </a:lnTo>
                          <a:lnTo>
                            <a:pt x="1828" y="1906"/>
                          </a:lnTo>
                          <a:lnTo>
                            <a:pt x="1822" y="1911"/>
                          </a:lnTo>
                          <a:lnTo>
                            <a:pt x="1815" y="1917"/>
                          </a:lnTo>
                          <a:lnTo>
                            <a:pt x="1809" y="1923"/>
                          </a:lnTo>
                          <a:lnTo>
                            <a:pt x="1805" y="1930"/>
                          </a:lnTo>
                          <a:lnTo>
                            <a:pt x="1801" y="1939"/>
                          </a:lnTo>
                          <a:lnTo>
                            <a:pt x="1798" y="1948"/>
                          </a:lnTo>
                          <a:lnTo>
                            <a:pt x="1797" y="1958"/>
                          </a:lnTo>
                          <a:lnTo>
                            <a:pt x="1796" y="1968"/>
                          </a:lnTo>
                          <a:lnTo>
                            <a:pt x="1796" y="1968"/>
                          </a:lnTo>
                          <a:lnTo>
                            <a:pt x="1797" y="1980"/>
                          </a:lnTo>
                          <a:lnTo>
                            <a:pt x="1798" y="1991"/>
                          </a:lnTo>
                          <a:lnTo>
                            <a:pt x="1801" y="2000"/>
                          </a:lnTo>
                          <a:lnTo>
                            <a:pt x="1805" y="2009"/>
                          </a:lnTo>
                          <a:lnTo>
                            <a:pt x="1808" y="2017"/>
                          </a:lnTo>
                          <a:lnTo>
                            <a:pt x="1814" y="2024"/>
                          </a:lnTo>
                          <a:lnTo>
                            <a:pt x="1819" y="2030"/>
                          </a:lnTo>
                          <a:lnTo>
                            <a:pt x="1826" y="2036"/>
                          </a:lnTo>
                          <a:lnTo>
                            <a:pt x="1832" y="2041"/>
                          </a:lnTo>
                          <a:lnTo>
                            <a:pt x="1840" y="2045"/>
                          </a:lnTo>
                          <a:lnTo>
                            <a:pt x="1856" y="2051"/>
                          </a:lnTo>
                          <a:lnTo>
                            <a:pt x="1871" y="2054"/>
                          </a:lnTo>
                          <a:lnTo>
                            <a:pt x="1887" y="2055"/>
                          </a:lnTo>
                          <a:lnTo>
                            <a:pt x="1887" y="2055"/>
                          </a:lnTo>
                          <a:lnTo>
                            <a:pt x="1901" y="2053"/>
                          </a:lnTo>
                          <a:lnTo>
                            <a:pt x="1909" y="2052"/>
                          </a:lnTo>
                          <a:lnTo>
                            <a:pt x="1916" y="2049"/>
                          </a:lnTo>
                          <a:lnTo>
                            <a:pt x="1925" y="2046"/>
                          </a:lnTo>
                          <a:lnTo>
                            <a:pt x="1932" y="2041"/>
                          </a:lnTo>
                          <a:lnTo>
                            <a:pt x="1939" y="2036"/>
                          </a:lnTo>
                          <a:lnTo>
                            <a:pt x="1945" y="2030"/>
                          </a:lnTo>
                          <a:lnTo>
                            <a:pt x="1945" y="2049"/>
                          </a:lnTo>
                          <a:lnTo>
                            <a:pt x="2006" y="2049"/>
                          </a:lnTo>
                          <a:lnTo>
                            <a:pt x="2006" y="1884"/>
                          </a:lnTo>
                          <a:lnTo>
                            <a:pt x="2006" y="1884"/>
                          </a:lnTo>
                          <a:lnTo>
                            <a:pt x="2006" y="1874"/>
                          </a:lnTo>
                          <a:lnTo>
                            <a:pt x="2005" y="1866"/>
                          </a:lnTo>
                          <a:lnTo>
                            <a:pt x="2003" y="1857"/>
                          </a:lnTo>
                          <a:lnTo>
                            <a:pt x="2000" y="1849"/>
                          </a:lnTo>
                          <a:lnTo>
                            <a:pt x="1995" y="1842"/>
                          </a:lnTo>
                          <a:lnTo>
                            <a:pt x="1992" y="1834"/>
                          </a:lnTo>
                          <a:lnTo>
                            <a:pt x="1986" y="1828"/>
                          </a:lnTo>
                          <a:lnTo>
                            <a:pt x="1979" y="1822"/>
                          </a:lnTo>
                          <a:lnTo>
                            <a:pt x="1973" y="1817"/>
                          </a:lnTo>
                          <a:lnTo>
                            <a:pt x="1966" y="1812"/>
                          </a:lnTo>
                          <a:lnTo>
                            <a:pt x="1958" y="1809"/>
                          </a:lnTo>
                          <a:lnTo>
                            <a:pt x="1949" y="1805"/>
                          </a:lnTo>
                          <a:lnTo>
                            <a:pt x="1939" y="1803"/>
                          </a:lnTo>
                          <a:lnTo>
                            <a:pt x="1930" y="1801"/>
                          </a:lnTo>
                          <a:lnTo>
                            <a:pt x="1919" y="1800"/>
                          </a:lnTo>
                          <a:lnTo>
                            <a:pt x="1908" y="1799"/>
                          </a:lnTo>
                          <a:lnTo>
                            <a:pt x="1908" y="1799"/>
                          </a:lnTo>
                          <a:lnTo>
                            <a:pt x="1894" y="1800"/>
                          </a:lnTo>
                          <a:lnTo>
                            <a:pt x="1883" y="1800"/>
                          </a:lnTo>
                          <a:lnTo>
                            <a:pt x="1871" y="1803"/>
                          </a:lnTo>
                          <a:lnTo>
                            <a:pt x="1859" y="1805"/>
                          </a:lnTo>
                          <a:lnTo>
                            <a:pt x="1848" y="1809"/>
                          </a:lnTo>
                          <a:lnTo>
                            <a:pt x="1837" y="1812"/>
                          </a:lnTo>
                          <a:lnTo>
                            <a:pt x="1826" y="1817"/>
                          </a:lnTo>
                          <a:lnTo>
                            <a:pt x="1815" y="1823"/>
                          </a:lnTo>
                          <a:lnTo>
                            <a:pt x="1840" y="1865"/>
                          </a:lnTo>
                          <a:close/>
                          <a:moveTo>
                            <a:pt x="1857" y="1968"/>
                          </a:moveTo>
                          <a:lnTo>
                            <a:pt x="1857" y="1968"/>
                          </a:lnTo>
                          <a:lnTo>
                            <a:pt x="1857" y="1961"/>
                          </a:lnTo>
                          <a:lnTo>
                            <a:pt x="1859" y="1953"/>
                          </a:lnTo>
                          <a:lnTo>
                            <a:pt x="1863" y="1947"/>
                          </a:lnTo>
                          <a:lnTo>
                            <a:pt x="1868" y="1942"/>
                          </a:lnTo>
                          <a:lnTo>
                            <a:pt x="1874" y="1939"/>
                          </a:lnTo>
                          <a:lnTo>
                            <a:pt x="1881" y="1936"/>
                          </a:lnTo>
                          <a:lnTo>
                            <a:pt x="1890" y="1934"/>
                          </a:lnTo>
                          <a:lnTo>
                            <a:pt x="1898" y="1934"/>
                          </a:lnTo>
                          <a:lnTo>
                            <a:pt x="1898" y="1934"/>
                          </a:lnTo>
                          <a:lnTo>
                            <a:pt x="1911" y="1934"/>
                          </a:lnTo>
                          <a:lnTo>
                            <a:pt x="1924" y="1936"/>
                          </a:lnTo>
                          <a:lnTo>
                            <a:pt x="1935" y="1940"/>
                          </a:lnTo>
                          <a:lnTo>
                            <a:pt x="1945" y="1946"/>
                          </a:lnTo>
                          <a:lnTo>
                            <a:pt x="1945" y="1979"/>
                          </a:lnTo>
                          <a:lnTo>
                            <a:pt x="1945" y="1979"/>
                          </a:lnTo>
                          <a:lnTo>
                            <a:pt x="1943" y="1984"/>
                          </a:lnTo>
                          <a:lnTo>
                            <a:pt x="1938" y="1989"/>
                          </a:lnTo>
                          <a:lnTo>
                            <a:pt x="1933" y="1993"/>
                          </a:lnTo>
                          <a:lnTo>
                            <a:pt x="1927" y="1997"/>
                          </a:lnTo>
                          <a:lnTo>
                            <a:pt x="1921" y="2001"/>
                          </a:lnTo>
                          <a:lnTo>
                            <a:pt x="1914" y="2003"/>
                          </a:lnTo>
                          <a:lnTo>
                            <a:pt x="1907" y="2004"/>
                          </a:lnTo>
                          <a:lnTo>
                            <a:pt x="1898" y="2006"/>
                          </a:lnTo>
                          <a:lnTo>
                            <a:pt x="1898" y="2006"/>
                          </a:lnTo>
                          <a:lnTo>
                            <a:pt x="1890" y="2004"/>
                          </a:lnTo>
                          <a:lnTo>
                            <a:pt x="1881" y="2002"/>
                          </a:lnTo>
                          <a:lnTo>
                            <a:pt x="1874" y="2000"/>
                          </a:lnTo>
                          <a:lnTo>
                            <a:pt x="1868" y="1995"/>
                          </a:lnTo>
                          <a:lnTo>
                            <a:pt x="1863" y="1990"/>
                          </a:lnTo>
                          <a:lnTo>
                            <a:pt x="1859" y="1984"/>
                          </a:lnTo>
                          <a:lnTo>
                            <a:pt x="1858" y="1976"/>
                          </a:lnTo>
                          <a:lnTo>
                            <a:pt x="1857" y="1968"/>
                          </a:lnTo>
                          <a:lnTo>
                            <a:pt x="1857" y="1968"/>
                          </a:lnTo>
                          <a:close/>
                          <a:moveTo>
                            <a:pt x="2569" y="1979"/>
                          </a:moveTo>
                          <a:lnTo>
                            <a:pt x="2569" y="1979"/>
                          </a:lnTo>
                          <a:lnTo>
                            <a:pt x="2560" y="1986"/>
                          </a:lnTo>
                          <a:lnTo>
                            <a:pt x="2549" y="1992"/>
                          </a:lnTo>
                          <a:lnTo>
                            <a:pt x="2543" y="1995"/>
                          </a:lnTo>
                          <a:lnTo>
                            <a:pt x="2536" y="1997"/>
                          </a:lnTo>
                          <a:lnTo>
                            <a:pt x="2529" y="1998"/>
                          </a:lnTo>
                          <a:lnTo>
                            <a:pt x="2521" y="2000"/>
                          </a:lnTo>
                          <a:lnTo>
                            <a:pt x="2521" y="2000"/>
                          </a:lnTo>
                          <a:lnTo>
                            <a:pt x="2515" y="1998"/>
                          </a:lnTo>
                          <a:lnTo>
                            <a:pt x="2508" y="1998"/>
                          </a:lnTo>
                          <a:lnTo>
                            <a:pt x="2500" y="1996"/>
                          </a:lnTo>
                          <a:lnTo>
                            <a:pt x="2490" y="1991"/>
                          </a:lnTo>
                          <a:lnTo>
                            <a:pt x="2481" y="1985"/>
                          </a:lnTo>
                          <a:lnTo>
                            <a:pt x="2478" y="1980"/>
                          </a:lnTo>
                          <a:lnTo>
                            <a:pt x="2474" y="1975"/>
                          </a:lnTo>
                          <a:lnTo>
                            <a:pt x="2472" y="1969"/>
                          </a:lnTo>
                          <a:lnTo>
                            <a:pt x="2469" y="1962"/>
                          </a:lnTo>
                          <a:lnTo>
                            <a:pt x="2468" y="1955"/>
                          </a:lnTo>
                          <a:lnTo>
                            <a:pt x="2467" y="1946"/>
                          </a:lnTo>
                          <a:lnTo>
                            <a:pt x="2616" y="1946"/>
                          </a:lnTo>
                          <a:lnTo>
                            <a:pt x="2616" y="1946"/>
                          </a:lnTo>
                          <a:lnTo>
                            <a:pt x="2617" y="1928"/>
                          </a:lnTo>
                          <a:lnTo>
                            <a:pt x="2617" y="1928"/>
                          </a:lnTo>
                          <a:lnTo>
                            <a:pt x="2617" y="1913"/>
                          </a:lnTo>
                          <a:lnTo>
                            <a:pt x="2615" y="1900"/>
                          </a:lnTo>
                          <a:lnTo>
                            <a:pt x="2614" y="1886"/>
                          </a:lnTo>
                          <a:lnTo>
                            <a:pt x="2610" y="1874"/>
                          </a:lnTo>
                          <a:lnTo>
                            <a:pt x="2607" y="1863"/>
                          </a:lnTo>
                          <a:lnTo>
                            <a:pt x="2602" y="1852"/>
                          </a:lnTo>
                          <a:lnTo>
                            <a:pt x="2596" y="1843"/>
                          </a:lnTo>
                          <a:lnTo>
                            <a:pt x="2589" y="1834"/>
                          </a:lnTo>
                          <a:lnTo>
                            <a:pt x="2582" y="1826"/>
                          </a:lnTo>
                          <a:lnTo>
                            <a:pt x="2575" y="1820"/>
                          </a:lnTo>
                          <a:lnTo>
                            <a:pt x="2566" y="1814"/>
                          </a:lnTo>
                          <a:lnTo>
                            <a:pt x="2557" y="1809"/>
                          </a:lnTo>
                          <a:lnTo>
                            <a:pt x="2547" y="1805"/>
                          </a:lnTo>
                          <a:lnTo>
                            <a:pt x="2537" y="1801"/>
                          </a:lnTo>
                          <a:lnTo>
                            <a:pt x="2526" y="1800"/>
                          </a:lnTo>
                          <a:lnTo>
                            <a:pt x="2514" y="1799"/>
                          </a:lnTo>
                          <a:lnTo>
                            <a:pt x="2514" y="1799"/>
                          </a:lnTo>
                          <a:lnTo>
                            <a:pt x="2503" y="1800"/>
                          </a:lnTo>
                          <a:lnTo>
                            <a:pt x="2492" y="1801"/>
                          </a:lnTo>
                          <a:lnTo>
                            <a:pt x="2481" y="1805"/>
                          </a:lnTo>
                          <a:lnTo>
                            <a:pt x="2470" y="1809"/>
                          </a:lnTo>
                          <a:lnTo>
                            <a:pt x="2461" y="1814"/>
                          </a:lnTo>
                          <a:lnTo>
                            <a:pt x="2452" y="1821"/>
                          </a:lnTo>
                          <a:lnTo>
                            <a:pt x="2444" y="1827"/>
                          </a:lnTo>
                          <a:lnTo>
                            <a:pt x="2436" y="1835"/>
                          </a:lnTo>
                          <a:lnTo>
                            <a:pt x="2429" y="1844"/>
                          </a:lnTo>
                          <a:lnTo>
                            <a:pt x="2423" y="1854"/>
                          </a:lnTo>
                          <a:lnTo>
                            <a:pt x="2418" y="1865"/>
                          </a:lnTo>
                          <a:lnTo>
                            <a:pt x="2413" y="1876"/>
                          </a:lnTo>
                          <a:lnTo>
                            <a:pt x="2410" y="1888"/>
                          </a:lnTo>
                          <a:lnTo>
                            <a:pt x="2407" y="1901"/>
                          </a:lnTo>
                          <a:lnTo>
                            <a:pt x="2406" y="1913"/>
                          </a:lnTo>
                          <a:lnTo>
                            <a:pt x="2405" y="1928"/>
                          </a:lnTo>
                          <a:lnTo>
                            <a:pt x="2405" y="1928"/>
                          </a:lnTo>
                          <a:lnTo>
                            <a:pt x="2406" y="1941"/>
                          </a:lnTo>
                          <a:lnTo>
                            <a:pt x="2407" y="1955"/>
                          </a:lnTo>
                          <a:lnTo>
                            <a:pt x="2410" y="1968"/>
                          </a:lnTo>
                          <a:lnTo>
                            <a:pt x="2413" y="1980"/>
                          </a:lnTo>
                          <a:lnTo>
                            <a:pt x="2418" y="1991"/>
                          </a:lnTo>
                          <a:lnTo>
                            <a:pt x="2423" y="2002"/>
                          </a:lnTo>
                          <a:lnTo>
                            <a:pt x="2429" y="2012"/>
                          </a:lnTo>
                          <a:lnTo>
                            <a:pt x="2436" y="2020"/>
                          </a:lnTo>
                          <a:lnTo>
                            <a:pt x="2445" y="2028"/>
                          </a:lnTo>
                          <a:lnTo>
                            <a:pt x="2453" y="2035"/>
                          </a:lnTo>
                          <a:lnTo>
                            <a:pt x="2463" y="2041"/>
                          </a:lnTo>
                          <a:lnTo>
                            <a:pt x="2473" y="2046"/>
                          </a:lnTo>
                          <a:lnTo>
                            <a:pt x="2484" y="2049"/>
                          </a:lnTo>
                          <a:lnTo>
                            <a:pt x="2496" y="2053"/>
                          </a:lnTo>
                          <a:lnTo>
                            <a:pt x="2508" y="2054"/>
                          </a:lnTo>
                          <a:lnTo>
                            <a:pt x="2521" y="2055"/>
                          </a:lnTo>
                          <a:lnTo>
                            <a:pt x="2521" y="2055"/>
                          </a:lnTo>
                          <a:lnTo>
                            <a:pt x="2534" y="2054"/>
                          </a:lnTo>
                          <a:lnTo>
                            <a:pt x="2545" y="2053"/>
                          </a:lnTo>
                          <a:lnTo>
                            <a:pt x="2557" y="2049"/>
                          </a:lnTo>
                          <a:lnTo>
                            <a:pt x="2568" y="2046"/>
                          </a:lnTo>
                          <a:lnTo>
                            <a:pt x="2579" y="2040"/>
                          </a:lnTo>
                          <a:lnTo>
                            <a:pt x="2588" y="2034"/>
                          </a:lnTo>
                          <a:lnTo>
                            <a:pt x="2598" y="2025"/>
                          </a:lnTo>
                          <a:lnTo>
                            <a:pt x="2608" y="2017"/>
                          </a:lnTo>
                          <a:lnTo>
                            <a:pt x="2569" y="1979"/>
                          </a:lnTo>
                          <a:close/>
                          <a:moveTo>
                            <a:pt x="2468" y="1901"/>
                          </a:moveTo>
                          <a:lnTo>
                            <a:pt x="2468" y="1901"/>
                          </a:lnTo>
                          <a:lnTo>
                            <a:pt x="2469" y="1890"/>
                          </a:lnTo>
                          <a:lnTo>
                            <a:pt x="2472" y="1880"/>
                          </a:lnTo>
                          <a:lnTo>
                            <a:pt x="2475" y="1872"/>
                          </a:lnTo>
                          <a:lnTo>
                            <a:pt x="2481" y="1865"/>
                          </a:lnTo>
                          <a:lnTo>
                            <a:pt x="2487" y="1859"/>
                          </a:lnTo>
                          <a:lnTo>
                            <a:pt x="2495" y="1855"/>
                          </a:lnTo>
                          <a:lnTo>
                            <a:pt x="2503" y="1851"/>
                          </a:lnTo>
                          <a:lnTo>
                            <a:pt x="2513" y="1851"/>
                          </a:lnTo>
                          <a:lnTo>
                            <a:pt x="2513" y="1851"/>
                          </a:lnTo>
                          <a:lnTo>
                            <a:pt x="2524" y="1852"/>
                          </a:lnTo>
                          <a:lnTo>
                            <a:pt x="2534" y="1855"/>
                          </a:lnTo>
                          <a:lnTo>
                            <a:pt x="2541" y="1860"/>
                          </a:lnTo>
                          <a:lnTo>
                            <a:pt x="2547" y="1867"/>
                          </a:lnTo>
                          <a:lnTo>
                            <a:pt x="2552" y="1874"/>
                          </a:lnTo>
                          <a:lnTo>
                            <a:pt x="2555" y="1883"/>
                          </a:lnTo>
                          <a:lnTo>
                            <a:pt x="2558" y="1893"/>
                          </a:lnTo>
                          <a:lnTo>
                            <a:pt x="2559" y="1901"/>
                          </a:lnTo>
                          <a:lnTo>
                            <a:pt x="2468" y="1901"/>
                          </a:lnTo>
                          <a:close/>
                          <a:moveTo>
                            <a:pt x="3153" y="1979"/>
                          </a:moveTo>
                          <a:lnTo>
                            <a:pt x="3153" y="1979"/>
                          </a:lnTo>
                          <a:lnTo>
                            <a:pt x="3144" y="1986"/>
                          </a:lnTo>
                          <a:lnTo>
                            <a:pt x="3134" y="1992"/>
                          </a:lnTo>
                          <a:lnTo>
                            <a:pt x="3127" y="1995"/>
                          </a:lnTo>
                          <a:lnTo>
                            <a:pt x="3121" y="1997"/>
                          </a:lnTo>
                          <a:lnTo>
                            <a:pt x="3113" y="1998"/>
                          </a:lnTo>
                          <a:lnTo>
                            <a:pt x="3105" y="2000"/>
                          </a:lnTo>
                          <a:lnTo>
                            <a:pt x="3105" y="2000"/>
                          </a:lnTo>
                          <a:lnTo>
                            <a:pt x="3099" y="1998"/>
                          </a:lnTo>
                          <a:lnTo>
                            <a:pt x="3091" y="1998"/>
                          </a:lnTo>
                          <a:lnTo>
                            <a:pt x="3083" y="1996"/>
                          </a:lnTo>
                          <a:lnTo>
                            <a:pt x="3074" y="1991"/>
                          </a:lnTo>
                          <a:lnTo>
                            <a:pt x="3066" y="1985"/>
                          </a:lnTo>
                          <a:lnTo>
                            <a:pt x="3062" y="1980"/>
                          </a:lnTo>
                          <a:lnTo>
                            <a:pt x="3059" y="1975"/>
                          </a:lnTo>
                          <a:lnTo>
                            <a:pt x="3056" y="1969"/>
                          </a:lnTo>
                          <a:lnTo>
                            <a:pt x="3054" y="1962"/>
                          </a:lnTo>
                          <a:lnTo>
                            <a:pt x="3051" y="1955"/>
                          </a:lnTo>
                          <a:lnTo>
                            <a:pt x="3050" y="1946"/>
                          </a:lnTo>
                          <a:lnTo>
                            <a:pt x="3201" y="1946"/>
                          </a:lnTo>
                          <a:lnTo>
                            <a:pt x="3201" y="1946"/>
                          </a:lnTo>
                          <a:lnTo>
                            <a:pt x="3202" y="1928"/>
                          </a:lnTo>
                          <a:lnTo>
                            <a:pt x="3202" y="1928"/>
                          </a:lnTo>
                          <a:lnTo>
                            <a:pt x="3201" y="1913"/>
                          </a:lnTo>
                          <a:lnTo>
                            <a:pt x="3199" y="1900"/>
                          </a:lnTo>
                          <a:lnTo>
                            <a:pt x="3197" y="1886"/>
                          </a:lnTo>
                          <a:lnTo>
                            <a:pt x="3195" y="1874"/>
                          </a:lnTo>
                          <a:lnTo>
                            <a:pt x="3190" y="1863"/>
                          </a:lnTo>
                          <a:lnTo>
                            <a:pt x="3185" y="1852"/>
                          </a:lnTo>
                          <a:lnTo>
                            <a:pt x="3180" y="1843"/>
                          </a:lnTo>
                          <a:lnTo>
                            <a:pt x="3174" y="1834"/>
                          </a:lnTo>
                          <a:lnTo>
                            <a:pt x="3167" y="1826"/>
                          </a:lnTo>
                          <a:lnTo>
                            <a:pt x="3158" y="1820"/>
                          </a:lnTo>
                          <a:lnTo>
                            <a:pt x="3150" y="1814"/>
                          </a:lnTo>
                          <a:lnTo>
                            <a:pt x="3141" y="1809"/>
                          </a:lnTo>
                          <a:lnTo>
                            <a:pt x="3131" y="1805"/>
                          </a:lnTo>
                          <a:lnTo>
                            <a:pt x="3121" y="1801"/>
                          </a:lnTo>
                          <a:lnTo>
                            <a:pt x="3110" y="1800"/>
                          </a:lnTo>
                          <a:lnTo>
                            <a:pt x="3099" y="1799"/>
                          </a:lnTo>
                          <a:lnTo>
                            <a:pt x="3099" y="1799"/>
                          </a:lnTo>
                          <a:lnTo>
                            <a:pt x="3086" y="1800"/>
                          </a:lnTo>
                          <a:lnTo>
                            <a:pt x="3076" y="1801"/>
                          </a:lnTo>
                          <a:lnTo>
                            <a:pt x="3065" y="1805"/>
                          </a:lnTo>
                          <a:lnTo>
                            <a:pt x="3055" y="1809"/>
                          </a:lnTo>
                          <a:lnTo>
                            <a:pt x="3045" y="1814"/>
                          </a:lnTo>
                          <a:lnTo>
                            <a:pt x="3035" y="1821"/>
                          </a:lnTo>
                          <a:lnTo>
                            <a:pt x="3028" y="1827"/>
                          </a:lnTo>
                          <a:lnTo>
                            <a:pt x="3020" y="1835"/>
                          </a:lnTo>
                          <a:lnTo>
                            <a:pt x="3012" y="1844"/>
                          </a:lnTo>
                          <a:lnTo>
                            <a:pt x="3006" y="1854"/>
                          </a:lnTo>
                          <a:lnTo>
                            <a:pt x="3001" y="1865"/>
                          </a:lnTo>
                          <a:lnTo>
                            <a:pt x="2997" y="1876"/>
                          </a:lnTo>
                          <a:lnTo>
                            <a:pt x="2994" y="1888"/>
                          </a:lnTo>
                          <a:lnTo>
                            <a:pt x="2990" y="1901"/>
                          </a:lnTo>
                          <a:lnTo>
                            <a:pt x="2989" y="1913"/>
                          </a:lnTo>
                          <a:lnTo>
                            <a:pt x="2989" y="1928"/>
                          </a:lnTo>
                          <a:lnTo>
                            <a:pt x="2989" y="1928"/>
                          </a:lnTo>
                          <a:lnTo>
                            <a:pt x="2989" y="1941"/>
                          </a:lnTo>
                          <a:lnTo>
                            <a:pt x="2990" y="1955"/>
                          </a:lnTo>
                          <a:lnTo>
                            <a:pt x="2993" y="1968"/>
                          </a:lnTo>
                          <a:lnTo>
                            <a:pt x="2997" y="1980"/>
                          </a:lnTo>
                          <a:lnTo>
                            <a:pt x="3001" y="1991"/>
                          </a:lnTo>
                          <a:lnTo>
                            <a:pt x="3008" y="2002"/>
                          </a:lnTo>
                          <a:lnTo>
                            <a:pt x="3014" y="2012"/>
                          </a:lnTo>
                          <a:lnTo>
                            <a:pt x="3021" y="2020"/>
                          </a:lnTo>
                          <a:lnTo>
                            <a:pt x="3028" y="2028"/>
                          </a:lnTo>
                          <a:lnTo>
                            <a:pt x="3037" y="2035"/>
                          </a:lnTo>
                          <a:lnTo>
                            <a:pt x="3046" y="2041"/>
                          </a:lnTo>
                          <a:lnTo>
                            <a:pt x="3057" y="2046"/>
                          </a:lnTo>
                          <a:lnTo>
                            <a:pt x="3068" y="2049"/>
                          </a:lnTo>
                          <a:lnTo>
                            <a:pt x="3079" y="2053"/>
                          </a:lnTo>
                          <a:lnTo>
                            <a:pt x="3093" y="2054"/>
                          </a:lnTo>
                          <a:lnTo>
                            <a:pt x="3105" y="2055"/>
                          </a:lnTo>
                          <a:lnTo>
                            <a:pt x="3105" y="2055"/>
                          </a:lnTo>
                          <a:lnTo>
                            <a:pt x="3117" y="2054"/>
                          </a:lnTo>
                          <a:lnTo>
                            <a:pt x="3129" y="2053"/>
                          </a:lnTo>
                          <a:lnTo>
                            <a:pt x="3140" y="2049"/>
                          </a:lnTo>
                          <a:lnTo>
                            <a:pt x="3151" y="2046"/>
                          </a:lnTo>
                          <a:lnTo>
                            <a:pt x="3162" y="2040"/>
                          </a:lnTo>
                          <a:lnTo>
                            <a:pt x="3173" y="2034"/>
                          </a:lnTo>
                          <a:lnTo>
                            <a:pt x="3182" y="2025"/>
                          </a:lnTo>
                          <a:lnTo>
                            <a:pt x="3191" y="2017"/>
                          </a:lnTo>
                          <a:lnTo>
                            <a:pt x="3153" y="1979"/>
                          </a:lnTo>
                          <a:close/>
                          <a:moveTo>
                            <a:pt x="3051" y="1901"/>
                          </a:moveTo>
                          <a:lnTo>
                            <a:pt x="3051" y="1901"/>
                          </a:lnTo>
                          <a:lnTo>
                            <a:pt x="3052" y="1890"/>
                          </a:lnTo>
                          <a:lnTo>
                            <a:pt x="3056" y="1880"/>
                          </a:lnTo>
                          <a:lnTo>
                            <a:pt x="3060" y="1872"/>
                          </a:lnTo>
                          <a:lnTo>
                            <a:pt x="3065" y="1865"/>
                          </a:lnTo>
                          <a:lnTo>
                            <a:pt x="3072" y="1859"/>
                          </a:lnTo>
                          <a:lnTo>
                            <a:pt x="3079" y="1855"/>
                          </a:lnTo>
                          <a:lnTo>
                            <a:pt x="3088" y="1851"/>
                          </a:lnTo>
                          <a:lnTo>
                            <a:pt x="3097" y="1851"/>
                          </a:lnTo>
                          <a:lnTo>
                            <a:pt x="3097" y="1851"/>
                          </a:lnTo>
                          <a:lnTo>
                            <a:pt x="3108" y="1852"/>
                          </a:lnTo>
                          <a:lnTo>
                            <a:pt x="3117" y="1855"/>
                          </a:lnTo>
                          <a:lnTo>
                            <a:pt x="3125" y="1860"/>
                          </a:lnTo>
                          <a:lnTo>
                            <a:pt x="3131" y="1867"/>
                          </a:lnTo>
                          <a:lnTo>
                            <a:pt x="3136" y="1874"/>
                          </a:lnTo>
                          <a:lnTo>
                            <a:pt x="3140" y="1883"/>
                          </a:lnTo>
                          <a:lnTo>
                            <a:pt x="3142" y="1893"/>
                          </a:lnTo>
                          <a:lnTo>
                            <a:pt x="3144" y="1901"/>
                          </a:lnTo>
                          <a:lnTo>
                            <a:pt x="3051" y="1901"/>
                          </a:lnTo>
                          <a:close/>
                          <a:moveTo>
                            <a:pt x="2905" y="1964"/>
                          </a:moveTo>
                          <a:lnTo>
                            <a:pt x="2905" y="1964"/>
                          </a:lnTo>
                          <a:lnTo>
                            <a:pt x="2905" y="1973"/>
                          </a:lnTo>
                          <a:lnTo>
                            <a:pt x="2907" y="1979"/>
                          </a:lnTo>
                          <a:lnTo>
                            <a:pt x="2909" y="1985"/>
                          </a:lnTo>
                          <a:lnTo>
                            <a:pt x="2912" y="1990"/>
                          </a:lnTo>
                          <a:lnTo>
                            <a:pt x="2915" y="1993"/>
                          </a:lnTo>
                          <a:lnTo>
                            <a:pt x="2920" y="1996"/>
                          </a:lnTo>
                          <a:lnTo>
                            <a:pt x="2925" y="1997"/>
                          </a:lnTo>
                          <a:lnTo>
                            <a:pt x="2932" y="1997"/>
                          </a:lnTo>
                          <a:lnTo>
                            <a:pt x="2932" y="1997"/>
                          </a:lnTo>
                          <a:lnTo>
                            <a:pt x="2941" y="1997"/>
                          </a:lnTo>
                          <a:lnTo>
                            <a:pt x="2950" y="1995"/>
                          </a:lnTo>
                          <a:lnTo>
                            <a:pt x="2960" y="1991"/>
                          </a:lnTo>
                          <a:lnTo>
                            <a:pt x="2969" y="1986"/>
                          </a:lnTo>
                          <a:lnTo>
                            <a:pt x="2961" y="2043"/>
                          </a:lnTo>
                          <a:lnTo>
                            <a:pt x="2961" y="2043"/>
                          </a:lnTo>
                          <a:lnTo>
                            <a:pt x="2950" y="2048"/>
                          </a:lnTo>
                          <a:lnTo>
                            <a:pt x="2937" y="2052"/>
                          </a:lnTo>
                          <a:lnTo>
                            <a:pt x="2924" y="2054"/>
                          </a:lnTo>
                          <a:lnTo>
                            <a:pt x="2910" y="2055"/>
                          </a:lnTo>
                          <a:lnTo>
                            <a:pt x="2910" y="2055"/>
                          </a:lnTo>
                          <a:lnTo>
                            <a:pt x="2902" y="2054"/>
                          </a:lnTo>
                          <a:lnTo>
                            <a:pt x="2893" y="2053"/>
                          </a:lnTo>
                          <a:lnTo>
                            <a:pt x="2886" y="2051"/>
                          </a:lnTo>
                          <a:lnTo>
                            <a:pt x="2880" y="2048"/>
                          </a:lnTo>
                          <a:lnTo>
                            <a:pt x="2874" y="2045"/>
                          </a:lnTo>
                          <a:lnTo>
                            <a:pt x="2868" y="2041"/>
                          </a:lnTo>
                          <a:lnTo>
                            <a:pt x="2864" y="2036"/>
                          </a:lnTo>
                          <a:lnTo>
                            <a:pt x="2859" y="2030"/>
                          </a:lnTo>
                          <a:lnTo>
                            <a:pt x="2853" y="2019"/>
                          </a:lnTo>
                          <a:lnTo>
                            <a:pt x="2848" y="2006"/>
                          </a:lnTo>
                          <a:lnTo>
                            <a:pt x="2846" y="1993"/>
                          </a:lnTo>
                          <a:lnTo>
                            <a:pt x="2845" y="1980"/>
                          </a:lnTo>
                          <a:lnTo>
                            <a:pt x="2845" y="1861"/>
                          </a:lnTo>
                          <a:lnTo>
                            <a:pt x="2807" y="1861"/>
                          </a:lnTo>
                          <a:lnTo>
                            <a:pt x="2807" y="1805"/>
                          </a:lnTo>
                          <a:lnTo>
                            <a:pt x="2845" y="1805"/>
                          </a:lnTo>
                          <a:lnTo>
                            <a:pt x="2845" y="1742"/>
                          </a:lnTo>
                          <a:lnTo>
                            <a:pt x="2905" y="1711"/>
                          </a:lnTo>
                          <a:lnTo>
                            <a:pt x="2905" y="1805"/>
                          </a:lnTo>
                          <a:lnTo>
                            <a:pt x="2960" y="1805"/>
                          </a:lnTo>
                          <a:lnTo>
                            <a:pt x="2960" y="1861"/>
                          </a:lnTo>
                          <a:lnTo>
                            <a:pt x="2905" y="1861"/>
                          </a:lnTo>
                          <a:lnTo>
                            <a:pt x="2905" y="1964"/>
                          </a:lnTo>
                          <a:close/>
                          <a:moveTo>
                            <a:pt x="2788" y="2043"/>
                          </a:moveTo>
                          <a:lnTo>
                            <a:pt x="2788" y="2043"/>
                          </a:lnTo>
                          <a:lnTo>
                            <a:pt x="2777" y="2048"/>
                          </a:lnTo>
                          <a:lnTo>
                            <a:pt x="2764" y="2052"/>
                          </a:lnTo>
                          <a:lnTo>
                            <a:pt x="2751" y="2054"/>
                          </a:lnTo>
                          <a:lnTo>
                            <a:pt x="2738" y="2055"/>
                          </a:lnTo>
                          <a:lnTo>
                            <a:pt x="2738" y="2055"/>
                          </a:lnTo>
                          <a:lnTo>
                            <a:pt x="2728" y="2054"/>
                          </a:lnTo>
                          <a:lnTo>
                            <a:pt x="2721" y="2053"/>
                          </a:lnTo>
                          <a:lnTo>
                            <a:pt x="2713" y="2051"/>
                          </a:lnTo>
                          <a:lnTo>
                            <a:pt x="2706" y="2048"/>
                          </a:lnTo>
                          <a:lnTo>
                            <a:pt x="2701" y="2045"/>
                          </a:lnTo>
                          <a:lnTo>
                            <a:pt x="2695" y="2041"/>
                          </a:lnTo>
                          <a:lnTo>
                            <a:pt x="2690" y="2036"/>
                          </a:lnTo>
                          <a:lnTo>
                            <a:pt x="2687" y="2030"/>
                          </a:lnTo>
                          <a:lnTo>
                            <a:pt x="2679" y="2019"/>
                          </a:lnTo>
                          <a:lnTo>
                            <a:pt x="2676" y="2006"/>
                          </a:lnTo>
                          <a:lnTo>
                            <a:pt x="2672" y="1993"/>
                          </a:lnTo>
                          <a:lnTo>
                            <a:pt x="2672" y="1980"/>
                          </a:lnTo>
                          <a:lnTo>
                            <a:pt x="2672" y="1861"/>
                          </a:lnTo>
                          <a:lnTo>
                            <a:pt x="2634" y="1861"/>
                          </a:lnTo>
                          <a:lnTo>
                            <a:pt x="2634" y="1805"/>
                          </a:lnTo>
                          <a:lnTo>
                            <a:pt x="2672" y="1805"/>
                          </a:lnTo>
                          <a:lnTo>
                            <a:pt x="2672" y="1742"/>
                          </a:lnTo>
                          <a:lnTo>
                            <a:pt x="2733" y="1711"/>
                          </a:lnTo>
                          <a:lnTo>
                            <a:pt x="2733" y="1805"/>
                          </a:lnTo>
                          <a:lnTo>
                            <a:pt x="2784" y="1805"/>
                          </a:lnTo>
                          <a:lnTo>
                            <a:pt x="2784" y="1861"/>
                          </a:lnTo>
                          <a:lnTo>
                            <a:pt x="2733" y="1861"/>
                          </a:lnTo>
                          <a:lnTo>
                            <a:pt x="2733" y="1964"/>
                          </a:lnTo>
                          <a:lnTo>
                            <a:pt x="2733" y="1964"/>
                          </a:lnTo>
                          <a:lnTo>
                            <a:pt x="2733" y="1973"/>
                          </a:lnTo>
                          <a:lnTo>
                            <a:pt x="2734" y="1979"/>
                          </a:lnTo>
                          <a:lnTo>
                            <a:pt x="2737" y="1985"/>
                          </a:lnTo>
                          <a:lnTo>
                            <a:pt x="2739" y="1990"/>
                          </a:lnTo>
                          <a:lnTo>
                            <a:pt x="2743" y="1993"/>
                          </a:lnTo>
                          <a:lnTo>
                            <a:pt x="2747" y="1996"/>
                          </a:lnTo>
                          <a:lnTo>
                            <a:pt x="2752" y="1997"/>
                          </a:lnTo>
                          <a:lnTo>
                            <a:pt x="2758" y="1997"/>
                          </a:lnTo>
                          <a:lnTo>
                            <a:pt x="2758" y="1997"/>
                          </a:lnTo>
                          <a:lnTo>
                            <a:pt x="2768" y="1997"/>
                          </a:lnTo>
                          <a:lnTo>
                            <a:pt x="2778" y="1995"/>
                          </a:lnTo>
                          <a:lnTo>
                            <a:pt x="2786" y="1991"/>
                          </a:lnTo>
                          <a:lnTo>
                            <a:pt x="2795" y="1986"/>
                          </a:lnTo>
                          <a:lnTo>
                            <a:pt x="2788" y="2043"/>
                          </a:lnTo>
                          <a:close/>
                          <a:moveTo>
                            <a:pt x="3384" y="1873"/>
                          </a:moveTo>
                          <a:lnTo>
                            <a:pt x="3384" y="1873"/>
                          </a:lnTo>
                          <a:lnTo>
                            <a:pt x="3376" y="1867"/>
                          </a:lnTo>
                          <a:lnTo>
                            <a:pt x="3366" y="1863"/>
                          </a:lnTo>
                          <a:lnTo>
                            <a:pt x="3355" y="1861"/>
                          </a:lnTo>
                          <a:lnTo>
                            <a:pt x="3344" y="1860"/>
                          </a:lnTo>
                          <a:lnTo>
                            <a:pt x="3344" y="1860"/>
                          </a:lnTo>
                          <a:lnTo>
                            <a:pt x="3334" y="1861"/>
                          </a:lnTo>
                          <a:lnTo>
                            <a:pt x="3325" y="1863"/>
                          </a:lnTo>
                          <a:lnTo>
                            <a:pt x="3317" y="1868"/>
                          </a:lnTo>
                          <a:lnTo>
                            <a:pt x="3311" y="1874"/>
                          </a:lnTo>
                          <a:lnTo>
                            <a:pt x="3306" y="1882"/>
                          </a:lnTo>
                          <a:lnTo>
                            <a:pt x="3304" y="1891"/>
                          </a:lnTo>
                          <a:lnTo>
                            <a:pt x="3302" y="1904"/>
                          </a:lnTo>
                          <a:lnTo>
                            <a:pt x="3300" y="1917"/>
                          </a:lnTo>
                          <a:lnTo>
                            <a:pt x="3300" y="2049"/>
                          </a:lnTo>
                          <a:lnTo>
                            <a:pt x="3241" y="2049"/>
                          </a:lnTo>
                          <a:lnTo>
                            <a:pt x="3241" y="1805"/>
                          </a:lnTo>
                          <a:lnTo>
                            <a:pt x="3300" y="1805"/>
                          </a:lnTo>
                          <a:lnTo>
                            <a:pt x="3300" y="1826"/>
                          </a:lnTo>
                          <a:lnTo>
                            <a:pt x="3300" y="1826"/>
                          </a:lnTo>
                          <a:lnTo>
                            <a:pt x="3306" y="1820"/>
                          </a:lnTo>
                          <a:lnTo>
                            <a:pt x="3313" y="1814"/>
                          </a:lnTo>
                          <a:lnTo>
                            <a:pt x="3319" y="1810"/>
                          </a:lnTo>
                          <a:lnTo>
                            <a:pt x="3326" y="1806"/>
                          </a:lnTo>
                          <a:lnTo>
                            <a:pt x="3332" y="1803"/>
                          </a:lnTo>
                          <a:lnTo>
                            <a:pt x="3339" y="1801"/>
                          </a:lnTo>
                          <a:lnTo>
                            <a:pt x="3347" y="1800"/>
                          </a:lnTo>
                          <a:lnTo>
                            <a:pt x="3355" y="1799"/>
                          </a:lnTo>
                          <a:lnTo>
                            <a:pt x="3355" y="1799"/>
                          </a:lnTo>
                          <a:lnTo>
                            <a:pt x="3367" y="1800"/>
                          </a:lnTo>
                          <a:lnTo>
                            <a:pt x="3379" y="1804"/>
                          </a:lnTo>
                          <a:lnTo>
                            <a:pt x="3390" y="1807"/>
                          </a:lnTo>
                          <a:lnTo>
                            <a:pt x="3400" y="1814"/>
                          </a:lnTo>
                          <a:lnTo>
                            <a:pt x="3384" y="1873"/>
                          </a:lnTo>
                          <a:close/>
                          <a:moveTo>
                            <a:pt x="653" y="1747"/>
                          </a:moveTo>
                          <a:lnTo>
                            <a:pt x="653" y="1770"/>
                          </a:lnTo>
                          <a:lnTo>
                            <a:pt x="592" y="1770"/>
                          </a:lnTo>
                          <a:lnTo>
                            <a:pt x="592" y="1709"/>
                          </a:lnTo>
                          <a:lnTo>
                            <a:pt x="653" y="1709"/>
                          </a:lnTo>
                          <a:lnTo>
                            <a:pt x="653" y="1747"/>
                          </a:lnTo>
                          <a:close/>
                          <a:moveTo>
                            <a:pt x="1073" y="1805"/>
                          </a:moveTo>
                          <a:lnTo>
                            <a:pt x="1134" y="1805"/>
                          </a:lnTo>
                          <a:lnTo>
                            <a:pt x="1134" y="1930"/>
                          </a:lnTo>
                          <a:lnTo>
                            <a:pt x="1134" y="2049"/>
                          </a:lnTo>
                          <a:lnTo>
                            <a:pt x="1073" y="2049"/>
                          </a:lnTo>
                          <a:lnTo>
                            <a:pt x="1073" y="1805"/>
                          </a:lnTo>
                          <a:close/>
                          <a:moveTo>
                            <a:pt x="1134" y="1739"/>
                          </a:moveTo>
                          <a:lnTo>
                            <a:pt x="1134" y="1770"/>
                          </a:lnTo>
                          <a:lnTo>
                            <a:pt x="1073" y="1770"/>
                          </a:lnTo>
                          <a:lnTo>
                            <a:pt x="1073" y="1709"/>
                          </a:lnTo>
                          <a:lnTo>
                            <a:pt x="1134" y="1709"/>
                          </a:lnTo>
                          <a:lnTo>
                            <a:pt x="1134" y="1739"/>
                          </a:lnTo>
                          <a:close/>
                          <a:moveTo>
                            <a:pt x="2796" y="2250"/>
                          </a:moveTo>
                          <a:lnTo>
                            <a:pt x="2796" y="2250"/>
                          </a:lnTo>
                          <a:lnTo>
                            <a:pt x="2790" y="2245"/>
                          </a:lnTo>
                          <a:lnTo>
                            <a:pt x="2784" y="2240"/>
                          </a:lnTo>
                          <a:lnTo>
                            <a:pt x="2778" y="2237"/>
                          </a:lnTo>
                          <a:lnTo>
                            <a:pt x="2771" y="2233"/>
                          </a:lnTo>
                          <a:lnTo>
                            <a:pt x="2764" y="2231"/>
                          </a:lnTo>
                          <a:lnTo>
                            <a:pt x="2757" y="2229"/>
                          </a:lnTo>
                          <a:lnTo>
                            <a:pt x="2741" y="2227"/>
                          </a:lnTo>
                          <a:lnTo>
                            <a:pt x="2741" y="2227"/>
                          </a:lnTo>
                          <a:lnTo>
                            <a:pt x="2730" y="2228"/>
                          </a:lnTo>
                          <a:lnTo>
                            <a:pt x="2721" y="2229"/>
                          </a:lnTo>
                          <a:lnTo>
                            <a:pt x="2711" y="2233"/>
                          </a:lnTo>
                          <a:lnTo>
                            <a:pt x="2701" y="2237"/>
                          </a:lnTo>
                          <a:lnTo>
                            <a:pt x="2693" y="2241"/>
                          </a:lnTo>
                          <a:lnTo>
                            <a:pt x="2685" y="2246"/>
                          </a:lnTo>
                          <a:lnTo>
                            <a:pt x="2678" y="2254"/>
                          </a:lnTo>
                          <a:lnTo>
                            <a:pt x="2671" y="2261"/>
                          </a:lnTo>
                          <a:lnTo>
                            <a:pt x="2666" y="2269"/>
                          </a:lnTo>
                          <a:lnTo>
                            <a:pt x="2660" y="2279"/>
                          </a:lnTo>
                          <a:lnTo>
                            <a:pt x="2656" y="2289"/>
                          </a:lnTo>
                          <a:lnTo>
                            <a:pt x="2653" y="2301"/>
                          </a:lnTo>
                          <a:lnTo>
                            <a:pt x="2649" y="2312"/>
                          </a:lnTo>
                          <a:lnTo>
                            <a:pt x="2648" y="2325"/>
                          </a:lnTo>
                          <a:lnTo>
                            <a:pt x="2647" y="2339"/>
                          </a:lnTo>
                          <a:lnTo>
                            <a:pt x="2645" y="2353"/>
                          </a:lnTo>
                          <a:lnTo>
                            <a:pt x="2645" y="2353"/>
                          </a:lnTo>
                          <a:lnTo>
                            <a:pt x="2647" y="2368"/>
                          </a:lnTo>
                          <a:lnTo>
                            <a:pt x="2648" y="2381"/>
                          </a:lnTo>
                          <a:lnTo>
                            <a:pt x="2649" y="2395"/>
                          </a:lnTo>
                          <a:lnTo>
                            <a:pt x="2653" y="2408"/>
                          </a:lnTo>
                          <a:lnTo>
                            <a:pt x="2655" y="2419"/>
                          </a:lnTo>
                          <a:lnTo>
                            <a:pt x="2660" y="2430"/>
                          </a:lnTo>
                          <a:lnTo>
                            <a:pt x="2665" y="2440"/>
                          </a:lnTo>
                          <a:lnTo>
                            <a:pt x="2671" y="2448"/>
                          </a:lnTo>
                          <a:lnTo>
                            <a:pt x="2677" y="2457"/>
                          </a:lnTo>
                          <a:lnTo>
                            <a:pt x="2684" y="2463"/>
                          </a:lnTo>
                          <a:lnTo>
                            <a:pt x="2692" y="2469"/>
                          </a:lnTo>
                          <a:lnTo>
                            <a:pt x="2700" y="2474"/>
                          </a:lnTo>
                          <a:lnTo>
                            <a:pt x="2710" y="2479"/>
                          </a:lnTo>
                          <a:lnTo>
                            <a:pt x="2720" y="2481"/>
                          </a:lnTo>
                          <a:lnTo>
                            <a:pt x="2729" y="2482"/>
                          </a:lnTo>
                          <a:lnTo>
                            <a:pt x="2740" y="2483"/>
                          </a:lnTo>
                          <a:lnTo>
                            <a:pt x="2740" y="2483"/>
                          </a:lnTo>
                          <a:lnTo>
                            <a:pt x="2747" y="2482"/>
                          </a:lnTo>
                          <a:lnTo>
                            <a:pt x="2756" y="2481"/>
                          </a:lnTo>
                          <a:lnTo>
                            <a:pt x="2763" y="2480"/>
                          </a:lnTo>
                          <a:lnTo>
                            <a:pt x="2769" y="2477"/>
                          </a:lnTo>
                          <a:lnTo>
                            <a:pt x="2777" y="2474"/>
                          </a:lnTo>
                          <a:lnTo>
                            <a:pt x="2784" y="2470"/>
                          </a:lnTo>
                          <a:lnTo>
                            <a:pt x="2790" y="2465"/>
                          </a:lnTo>
                          <a:lnTo>
                            <a:pt x="2796" y="2459"/>
                          </a:lnTo>
                          <a:lnTo>
                            <a:pt x="2796" y="2477"/>
                          </a:lnTo>
                          <a:lnTo>
                            <a:pt x="2857" y="2477"/>
                          </a:lnTo>
                          <a:lnTo>
                            <a:pt x="2857" y="2131"/>
                          </a:lnTo>
                          <a:lnTo>
                            <a:pt x="2796" y="2161"/>
                          </a:lnTo>
                          <a:lnTo>
                            <a:pt x="2796" y="2250"/>
                          </a:lnTo>
                          <a:close/>
                          <a:moveTo>
                            <a:pt x="2754" y="2427"/>
                          </a:moveTo>
                          <a:lnTo>
                            <a:pt x="2754" y="2427"/>
                          </a:lnTo>
                          <a:lnTo>
                            <a:pt x="2745" y="2426"/>
                          </a:lnTo>
                          <a:lnTo>
                            <a:pt x="2738" y="2424"/>
                          </a:lnTo>
                          <a:lnTo>
                            <a:pt x="2729" y="2420"/>
                          </a:lnTo>
                          <a:lnTo>
                            <a:pt x="2722" y="2413"/>
                          </a:lnTo>
                          <a:lnTo>
                            <a:pt x="2716" y="2403"/>
                          </a:lnTo>
                          <a:lnTo>
                            <a:pt x="2711" y="2390"/>
                          </a:lnTo>
                          <a:lnTo>
                            <a:pt x="2709" y="2373"/>
                          </a:lnTo>
                          <a:lnTo>
                            <a:pt x="2707" y="2351"/>
                          </a:lnTo>
                          <a:lnTo>
                            <a:pt x="2707" y="2351"/>
                          </a:lnTo>
                          <a:lnTo>
                            <a:pt x="2709" y="2333"/>
                          </a:lnTo>
                          <a:lnTo>
                            <a:pt x="2711" y="2317"/>
                          </a:lnTo>
                          <a:lnTo>
                            <a:pt x="2716" y="2305"/>
                          </a:lnTo>
                          <a:lnTo>
                            <a:pt x="2722" y="2296"/>
                          </a:lnTo>
                          <a:lnTo>
                            <a:pt x="2729" y="2290"/>
                          </a:lnTo>
                          <a:lnTo>
                            <a:pt x="2737" y="2285"/>
                          </a:lnTo>
                          <a:lnTo>
                            <a:pt x="2745" y="2284"/>
                          </a:lnTo>
                          <a:lnTo>
                            <a:pt x="2752" y="2283"/>
                          </a:lnTo>
                          <a:lnTo>
                            <a:pt x="2752" y="2283"/>
                          </a:lnTo>
                          <a:lnTo>
                            <a:pt x="2761" y="2284"/>
                          </a:lnTo>
                          <a:lnTo>
                            <a:pt x="2768" y="2285"/>
                          </a:lnTo>
                          <a:lnTo>
                            <a:pt x="2774" y="2288"/>
                          </a:lnTo>
                          <a:lnTo>
                            <a:pt x="2780" y="2291"/>
                          </a:lnTo>
                          <a:lnTo>
                            <a:pt x="2785" y="2295"/>
                          </a:lnTo>
                          <a:lnTo>
                            <a:pt x="2790" y="2299"/>
                          </a:lnTo>
                          <a:lnTo>
                            <a:pt x="2796" y="2307"/>
                          </a:lnTo>
                          <a:lnTo>
                            <a:pt x="2796" y="2403"/>
                          </a:lnTo>
                          <a:lnTo>
                            <a:pt x="2796" y="2403"/>
                          </a:lnTo>
                          <a:lnTo>
                            <a:pt x="2789" y="2412"/>
                          </a:lnTo>
                          <a:lnTo>
                            <a:pt x="2780" y="2419"/>
                          </a:lnTo>
                          <a:lnTo>
                            <a:pt x="2774" y="2423"/>
                          </a:lnTo>
                          <a:lnTo>
                            <a:pt x="2768" y="2425"/>
                          </a:lnTo>
                          <a:lnTo>
                            <a:pt x="2761" y="2426"/>
                          </a:lnTo>
                          <a:lnTo>
                            <a:pt x="2754" y="2427"/>
                          </a:lnTo>
                          <a:lnTo>
                            <a:pt x="2754" y="2427"/>
                          </a:lnTo>
                          <a:close/>
                          <a:moveTo>
                            <a:pt x="740" y="2301"/>
                          </a:moveTo>
                          <a:lnTo>
                            <a:pt x="740" y="2301"/>
                          </a:lnTo>
                          <a:lnTo>
                            <a:pt x="732" y="2296"/>
                          </a:lnTo>
                          <a:lnTo>
                            <a:pt x="722" y="2291"/>
                          </a:lnTo>
                          <a:lnTo>
                            <a:pt x="711" y="2289"/>
                          </a:lnTo>
                          <a:lnTo>
                            <a:pt x="700" y="2288"/>
                          </a:lnTo>
                          <a:lnTo>
                            <a:pt x="700" y="2288"/>
                          </a:lnTo>
                          <a:lnTo>
                            <a:pt x="690" y="2289"/>
                          </a:lnTo>
                          <a:lnTo>
                            <a:pt x="680" y="2291"/>
                          </a:lnTo>
                          <a:lnTo>
                            <a:pt x="673" y="2296"/>
                          </a:lnTo>
                          <a:lnTo>
                            <a:pt x="667" y="2302"/>
                          </a:lnTo>
                          <a:lnTo>
                            <a:pt x="662" y="2310"/>
                          </a:lnTo>
                          <a:lnTo>
                            <a:pt x="660" y="2319"/>
                          </a:lnTo>
                          <a:lnTo>
                            <a:pt x="657" y="2331"/>
                          </a:lnTo>
                          <a:lnTo>
                            <a:pt x="656" y="2345"/>
                          </a:lnTo>
                          <a:lnTo>
                            <a:pt x="656" y="2477"/>
                          </a:lnTo>
                          <a:lnTo>
                            <a:pt x="597" y="2477"/>
                          </a:lnTo>
                          <a:lnTo>
                            <a:pt x="597" y="2233"/>
                          </a:lnTo>
                          <a:lnTo>
                            <a:pt x="656" y="2233"/>
                          </a:lnTo>
                          <a:lnTo>
                            <a:pt x="656" y="2254"/>
                          </a:lnTo>
                          <a:lnTo>
                            <a:pt x="656" y="2254"/>
                          </a:lnTo>
                          <a:lnTo>
                            <a:pt x="662" y="2248"/>
                          </a:lnTo>
                          <a:lnTo>
                            <a:pt x="668" y="2241"/>
                          </a:lnTo>
                          <a:lnTo>
                            <a:pt x="674" y="2238"/>
                          </a:lnTo>
                          <a:lnTo>
                            <a:pt x="682" y="2234"/>
                          </a:lnTo>
                          <a:lnTo>
                            <a:pt x="688" y="2231"/>
                          </a:lnTo>
                          <a:lnTo>
                            <a:pt x="695" y="2229"/>
                          </a:lnTo>
                          <a:lnTo>
                            <a:pt x="704" y="2228"/>
                          </a:lnTo>
                          <a:lnTo>
                            <a:pt x="711" y="2227"/>
                          </a:lnTo>
                          <a:lnTo>
                            <a:pt x="711" y="2227"/>
                          </a:lnTo>
                          <a:lnTo>
                            <a:pt x="723" y="2228"/>
                          </a:lnTo>
                          <a:lnTo>
                            <a:pt x="735" y="2232"/>
                          </a:lnTo>
                          <a:lnTo>
                            <a:pt x="747" y="2237"/>
                          </a:lnTo>
                          <a:lnTo>
                            <a:pt x="757" y="2243"/>
                          </a:lnTo>
                          <a:lnTo>
                            <a:pt x="740" y="2301"/>
                          </a:lnTo>
                          <a:close/>
                          <a:moveTo>
                            <a:pt x="265" y="2233"/>
                          </a:moveTo>
                          <a:lnTo>
                            <a:pt x="324" y="2233"/>
                          </a:lnTo>
                          <a:lnTo>
                            <a:pt x="255" y="2477"/>
                          </a:lnTo>
                          <a:lnTo>
                            <a:pt x="203" y="2477"/>
                          </a:lnTo>
                          <a:lnTo>
                            <a:pt x="176" y="2376"/>
                          </a:lnTo>
                          <a:lnTo>
                            <a:pt x="176" y="2376"/>
                          </a:lnTo>
                          <a:lnTo>
                            <a:pt x="163" y="2323"/>
                          </a:lnTo>
                          <a:lnTo>
                            <a:pt x="163" y="2323"/>
                          </a:lnTo>
                          <a:lnTo>
                            <a:pt x="157" y="2348"/>
                          </a:lnTo>
                          <a:lnTo>
                            <a:pt x="149" y="2378"/>
                          </a:lnTo>
                          <a:lnTo>
                            <a:pt x="122" y="2477"/>
                          </a:lnTo>
                          <a:lnTo>
                            <a:pt x="69" y="2477"/>
                          </a:lnTo>
                          <a:lnTo>
                            <a:pt x="69" y="2476"/>
                          </a:lnTo>
                          <a:lnTo>
                            <a:pt x="0" y="2233"/>
                          </a:lnTo>
                          <a:lnTo>
                            <a:pt x="63" y="2233"/>
                          </a:lnTo>
                          <a:lnTo>
                            <a:pt x="85" y="2324"/>
                          </a:lnTo>
                          <a:lnTo>
                            <a:pt x="85" y="2324"/>
                          </a:lnTo>
                          <a:lnTo>
                            <a:pt x="91" y="2353"/>
                          </a:lnTo>
                          <a:lnTo>
                            <a:pt x="97" y="2384"/>
                          </a:lnTo>
                          <a:lnTo>
                            <a:pt x="97" y="2384"/>
                          </a:lnTo>
                          <a:lnTo>
                            <a:pt x="105" y="2353"/>
                          </a:lnTo>
                          <a:lnTo>
                            <a:pt x="112" y="2323"/>
                          </a:lnTo>
                          <a:lnTo>
                            <a:pt x="137" y="2233"/>
                          </a:lnTo>
                          <a:lnTo>
                            <a:pt x="190" y="2233"/>
                          </a:lnTo>
                          <a:lnTo>
                            <a:pt x="215" y="2323"/>
                          </a:lnTo>
                          <a:lnTo>
                            <a:pt x="215" y="2323"/>
                          </a:lnTo>
                          <a:lnTo>
                            <a:pt x="222" y="2352"/>
                          </a:lnTo>
                          <a:lnTo>
                            <a:pt x="230" y="2385"/>
                          </a:lnTo>
                          <a:lnTo>
                            <a:pt x="230" y="2385"/>
                          </a:lnTo>
                          <a:lnTo>
                            <a:pt x="235" y="2357"/>
                          </a:lnTo>
                          <a:lnTo>
                            <a:pt x="242" y="2323"/>
                          </a:lnTo>
                          <a:lnTo>
                            <a:pt x="265" y="2233"/>
                          </a:lnTo>
                          <a:close/>
                          <a:moveTo>
                            <a:pt x="447" y="2227"/>
                          </a:moveTo>
                          <a:lnTo>
                            <a:pt x="447" y="2227"/>
                          </a:lnTo>
                          <a:lnTo>
                            <a:pt x="436" y="2228"/>
                          </a:lnTo>
                          <a:lnTo>
                            <a:pt x="424" y="2229"/>
                          </a:lnTo>
                          <a:lnTo>
                            <a:pt x="413" y="2233"/>
                          </a:lnTo>
                          <a:lnTo>
                            <a:pt x="403" y="2237"/>
                          </a:lnTo>
                          <a:lnTo>
                            <a:pt x="394" y="2241"/>
                          </a:lnTo>
                          <a:lnTo>
                            <a:pt x="384" y="2248"/>
                          </a:lnTo>
                          <a:lnTo>
                            <a:pt x="375" y="2255"/>
                          </a:lnTo>
                          <a:lnTo>
                            <a:pt x="368" y="2263"/>
                          </a:lnTo>
                          <a:lnTo>
                            <a:pt x="361" y="2272"/>
                          </a:lnTo>
                          <a:lnTo>
                            <a:pt x="355" y="2282"/>
                          </a:lnTo>
                          <a:lnTo>
                            <a:pt x="349" y="2293"/>
                          </a:lnTo>
                          <a:lnTo>
                            <a:pt x="345" y="2303"/>
                          </a:lnTo>
                          <a:lnTo>
                            <a:pt x="341" y="2316"/>
                          </a:lnTo>
                          <a:lnTo>
                            <a:pt x="339" y="2328"/>
                          </a:lnTo>
                          <a:lnTo>
                            <a:pt x="337" y="2341"/>
                          </a:lnTo>
                          <a:lnTo>
                            <a:pt x="337" y="2356"/>
                          </a:lnTo>
                          <a:lnTo>
                            <a:pt x="337" y="2356"/>
                          </a:lnTo>
                          <a:lnTo>
                            <a:pt x="337" y="2369"/>
                          </a:lnTo>
                          <a:lnTo>
                            <a:pt x="339" y="2382"/>
                          </a:lnTo>
                          <a:lnTo>
                            <a:pt x="341" y="2395"/>
                          </a:lnTo>
                          <a:lnTo>
                            <a:pt x="345" y="2407"/>
                          </a:lnTo>
                          <a:lnTo>
                            <a:pt x="349" y="2418"/>
                          </a:lnTo>
                          <a:lnTo>
                            <a:pt x="355" y="2429"/>
                          </a:lnTo>
                          <a:lnTo>
                            <a:pt x="361" y="2438"/>
                          </a:lnTo>
                          <a:lnTo>
                            <a:pt x="368" y="2447"/>
                          </a:lnTo>
                          <a:lnTo>
                            <a:pt x="375" y="2455"/>
                          </a:lnTo>
                          <a:lnTo>
                            <a:pt x="384" y="2463"/>
                          </a:lnTo>
                          <a:lnTo>
                            <a:pt x="394" y="2469"/>
                          </a:lnTo>
                          <a:lnTo>
                            <a:pt x="403" y="2474"/>
                          </a:lnTo>
                          <a:lnTo>
                            <a:pt x="413" y="2477"/>
                          </a:lnTo>
                          <a:lnTo>
                            <a:pt x="424" y="2481"/>
                          </a:lnTo>
                          <a:lnTo>
                            <a:pt x="436" y="2482"/>
                          </a:lnTo>
                          <a:lnTo>
                            <a:pt x="447" y="2483"/>
                          </a:lnTo>
                          <a:lnTo>
                            <a:pt x="447" y="2483"/>
                          </a:lnTo>
                          <a:lnTo>
                            <a:pt x="459" y="2482"/>
                          </a:lnTo>
                          <a:lnTo>
                            <a:pt x="471" y="2481"/>
                          </a:lnTo>
                          <a:lnTo>
                            <a:pt x="482" y="2477"/>
                          </a:lnTo>
                          <a:lnTo>
                            <a:pt x="492" y="2474"/>
                          </a:lnTo>
                          <a:lnTo>
                            <a:pt x="502" y="2469"/>
                          </a:lnTo>
                          <a:lnTo>
                            <a:pt x="512" y="2463"/>
                          </a:lnTo>
                          <a:lnTo>
                            <a:pt x="520" y="2455"/>
                          </a:lnTo>
                          <a:lnTo>
                            <a:pt x="527" y="2447"/>
                          </a:lnTo>
                          <a:lnTo>
                            <a:pt x="535" y="2438"/>
                          </a:lnTo>
                          <a:lnTo>
                            <a:pt x="541" y="2429"/>
                          </a:lnTo>
                          <a:lnTo>
                            <a:pt x="546" y="2418"/>
                          </a:lnTo>
                          <a:lnTo>
                            <a:pt x="550" y="2407"/>
                          </a:lnTo>
                          <a:lnTo>
                            <a:pt x="554" y="2395"/>
                          </a:lnTo>
                          <a:lnTo>
                            <a:pt x="557" y="2382"/>
                          </a:lnTo>
                          <a:lnTo>
                            <a:pt x="559" y="2369"/>
                          </a:lnTo>
                          <a:lnTo>
                            <a:pt x="559" y="2356"/>
                          </a:lnTo>
                          <a:lnTo>
                            <a:pt x="559" y="2356"/>
                          </a:lnTo>
                          <a:lnTo>
                            <a:pt x="559" y="2341"/>
                          </a:lnTo>
                          <a:lnTo>
                            <a:pt x="557" y="2328"/>
                          </a:lnTo>
                          <a:lnTo>
                            <a:pt x="554" y="2316"/>
                          </a:lnTo>
                          <a:lnTo>
                            <a:pt x="550" y="2303"/>
                          </a:lnTo>
                          <a:lnTo>
                            <a:pt x="546" y="2293"/>
                          </a:lnTo>
                          <a:lnTo>
                            <a:pt x="541" y="2282"/>
                          </a:lnTo>
                          <a:lnTo>
                            <a:pt x="535" y="2272"/>
                          </a:lnTo>
                          <a:lnTo>
                            <a:pt x="527" y="2263"/>
                          </a:lnTo>
                          <a:lnTo>
                            <a:pt x="520" y="2255"/>
                          </a:lnTo>
                          <a:lnTo>
                            <a:pt x="512" y="2248"/>
                          </a:lnTo>
                          <a:lnTo>
                            <a:pt x="502" y="2241"/>
                          </a:lnTo>
                          <a:lnTo>
                            <a:pt x="492" y="2237"/>
                          </a:lnTo>
                          <a:lnTo>
                            <a:pt x="482" y="2233"/>
                          </a:lnTo>
                          <a:lnTo>
                            <a:pt x="471" y="2229"/>
                          </a:lnTo>
                          <a:lnTo>
                            <a:pt x="459" y="2228"/>
                          </a:lnTo>
                          <a:lnTo>
                            <a:pt x="447" y="2227"/>
                          </a:lnTo>
                          <a:lnTo>
                            <a:pt x="447" y="2227"/>
                          </a:lnTo>
                          <a:close/>
                          <a:moveTo>
                            <a:pt x="447" y="2426"/>
                          </a:moveTo>
                          <a:lnTo>
                            <a:pt x="447" y="2426"/>
                          </a:lnTo>
                          <a:lnTo>
                            <a:pt x="436" y="2425"/>
                          </a:lnTo>
                          <a:lnTo>
                            <a:pt x="427" y="2421"/>
                          </a:lnTo>
                          <a:lnTo>
                            <a:pt x="419" y="2415"/>
                          </a:lnTo>
                          <a:lnTo>
                            <a:pt x="412" y="2407"/>
                          </a:lnTo>
                          <a:lnTo>
                            <a:pt x="406" y="2397"/>
                          </a:lnTo>
                          <a:lnTo>
                            <a:pt x="401" y="2385"/>
                          </a:lnTo>
                          <a:lnTo>
                            <a:pt x="399" y="2370"/>
                          </a:lnTo>
                          <a:lnTo>
                            <a:pt x="399" y="2356"/>
                          </a:lnTo>
                          <a:lnTo>
                            <a:pt x="399" y="2356"/>
                          </a:lnTo>
                          <a:lnTo>
                            <a:pt x="399" y="2340"/>
                          </a:lnTo>
                          <a:lnTo>
                            <a:pt x="401" y="2325"/>
                          </a:lnTo>
                          <a:lnTo>
                            <a:pt x="406" y="2314"/>
                          </a:lnTo>
                          <a:lnTo>
                            <a:pt x="412" y="2303"/>
                          </a:lnTo>
                          <a:lnTo>
                            <a:pt x="419" y="2295"/>
                          </a:lnTo>
                          <a:lnTo>
                            <a:pt x="427" y="2289"/>
                          </a:lnTo>
                          <a:lnTo>
                            <a:pt x="436" y="2285"/>
                          </a:lnTo>
                          <a:lnTo>
                            <a:pt x="447" y="2284"/>
                          </a:lnTo>
                          <a:lnTo>
                            <a:pt x="447" y="2284"/>
                          </a:lnTo>
                          <a:lnTo>
                            <a:pt x="458" y="2285"/>
                          </a:lnTo>
                          <a:lnTo>
                            <a:pt x="468" y="2289"/>
                          </a:lnTo>
                          <a:lnTo>
                            <a:pt x="476" y="2295"/>
                          </a:lnTo>
                          <a:lnTo>
                            <a:pt x="484" y="2303"/>
                          </a:lnTo>
                          <a:lnTo>
                            <a:pt x="490" y="2314"/>
                          </a:lnTo>
                          <a:lnTo>
                            <a:pt x="493" y="2325"/>
                          </a:lnTo>
                          <a:lnTo>
                            <a:pt x="496" y="2340"/>
                          </a:lnTo>
                          <a:lnTo>
                            <a:pt x="497" y="2356"/>
                          </a:lnTo>
                          <a:lnTo>
                            <a:pt x="497" y="2356"/>
                          </a:lnTo>
                          <a:lnTo>
                            <a:pt x="496" y="2370"/>
                          </a:lnTo>
                          <a:lnTo>
                            <a:pt x="493" y="2385"/>
                          </a:lnTo>
                          <a:lnTo>
                            <a:pt x="490" y="2397"/>
                          </a:lnTo>
                          <a:lnTo>
                            <a:pt x="484" y="2407"/>
                          </a:lnTo>
                          <a:lnTo>
                            <a:pt x="476" y="2415"/>
                          </a:lnTo>
                          <a:lnTo>
                            <a:pt x="468" y="2421"/>
                          </a:lnTo>
                          <a:lnTo>
                            <a:pt x="458" y="2425"/>
                          </a:lnTo>
                          <a:lnTo>
                            <a:pt x="447" y="2426"/>
                          </a:lnTo>
                          <a:lnTo>
                            <a:pt x="447" y="2426"/>
                          </a:lnTo>
                          <a:close/>
                          <a:moveTo>
                            <a:pt x="2498" y="2301"/>
                          </a:moveTo>
                          <a:lnTo>
                            <a:pt x="2498" y="2301"/>
                          </a:lnTo>
                          <a:lnTo>
                            <a:pt x="2489" y="2296"/>
                          </a:lnTo>
                          <a:lnTo>
                            <a:pt x="2479" y="2291"/>
                          </a:lnTo>
                          <a:lnTo>
                            <a:pt x="2468" y="2289"/>
                          </a:lnTo>
                          <a:lnTo>
                            <a:pt x="2458" y="2288"/>
                          </a:lnTo>
                          <a:lnTo>
                            <a:pt x="2458" y="2288"/>
                          </a:lnTo>
                          <a:lnTo>
                            <a:pt x="2447" y="2289"/>
                          </a:lnTo>
                          <a:lnTo>
                            <a:pt x="2439" y="2291"/>
                          </a:lnTo>
                          <a:lnTo>
                            <a:pt x="2432" y="2296"/>
                          </a:lnTo>
                          <a:lnTo>
                            <a:pt x="2425" y="2302"/>
                          </a:lnTo>
                          <a:lnTo>
                            <a:pt x="2421" y="2310"/>
                          </a:lnTo>
                          <a:lnTo>
                            <a:pt x="2417" y="2319"/>
                          </a:lnTo>
                          <a:lnTo>
                            <a:pt x="2415" y="2331"/>
                          </a:lnTo>
                          <a:lnTo>
                            <a:pt x="2415" y="2345"/>
                          </a:lnTo>
                          <a:lnTo>
                            <a:pt x="2415" y="2477"/>
                          </a:lnTo>
                          <a:lnTo>
                            <a:pt x="2354" y="2477"/>
                          </a:lnTo>
                          <a:lnTo>
                            <a:pt x="2354" y="2233"/>
                          </a:lnTo>
                          <a:lnTo>
                            <a:pt x="2415" y="2233"/>
                          </a:lnTo>
                          <a:lnTo>
                            <a:pt x="2415" y="2254"/>
                          </a:lnTo>
                          <a:lnTo>
                            <a:pt x="2415" y="2254"/>
                          </a:lnTo>
                          <a:lnTo>
                            <a:pt x="2419" y="2248"/>
                          </a:lnTo>
                          <a:lnTo>
                            <a:pt x="2425" y="2241"/>
                          </a:lnTo>
                          <a:lnTo>
                            <a:pt x="2432" y="2238"/>
                          </a:lnTo>
                          <a:lnTo>
                            <a:pt x="2439" y="2234"/>
                          </a:lnTo>
                          <a:lnTo>
                            <a:pt x="2446" y="2231"/>
                          </a:lnTo>
                          <a:lnTo>
                            <a:pt x="2453" y="2229"/>
                          </a:lnTo>
                          <a:lnTo>
                            <a:pt x="2461" y="2228"/>
                          </a:lnTo>
                          <a:lnTo>
                            <a:pt x="2468" y="2227"/>
                          </a:lnTo>
                          <a:lnTo>
                            <a:pt x="2468" y="2227"/>
                          </a:lnTo>
                          <a:lnTo>
                            <a:pt x="2480" y="2228"/>
                          </a:lnTo>
                          <a:lnTo>
                            <a:pt x="2492" y="2232"/>
                          </a:lnTo>
                          <a:lnTo>
                            <a:pt x="2504" y="2237"/>
                          </a:lnTo>
                          <a:lnTo>
                            <a:pt x="2514" y="2243"/>
                          </a:lnTo>
                          <a:lnTo>
                            <a:pt x="2498" y="2301"/>
                          </a:lnTo>
                          <a:close/>
                          <a:moveTo>
                            <a:pt x="2022" y="2233"/>
                          </a:moveTo>
                          <a:lnTo>
                            <a:pt x="2082" y="2233"/>
                          </a:lnTo>
                          <a:lnTo>
                            <a:pt x="2012" y="2477"/>
                          </a:lnTo>
                          <a:lnTo>
                            <a:pt x="1960" y="2477"/>
                          </a:lnTo>
                          <a:lnTo>
                            <a:pt x="1933" y="2376"/>
                          </a:lnTo>
                          <a:lnTo>
                            <a:pt x="1933" y="2376"/>
                          </a:lnTo>
                          <a:lnTo>
                            <a:pt x="1920" y="2323"/>
                          </a:lnTo>
                          <a:lnTo>
                            <a:pt x="1920" y="2323"/>
                          </a:lnTo>
                          <a:lnTo>
                            <a:pt x="1914" y="2348"/>
                          </a:lnTo>
                          <a:lnTo>
                            <a:pt x="1907" y="2378"/>
                          </a:lnTo>
                          <a:lnTo>
                            <a:pt x="1880" y="2477"/>
                          </a:lnTo>
                          <a:lnTo>
                            <a:pt x="1828" y="2477"/>
                          </a:lnTo>
                          <a:lnTo>
                            <a:pt x="1826" y="2476"/>
                          </a:lnTo>
                          <a:lnTo>
                            <a:pt x="1758" y="2233"/>
                          </a:lnTo>
                          <a:lnTo>
                            <a:pt x="1820" y="2233"/>
                          </a:lnTo>
                          <a:lnTo>
                            <a:pt x="1843" y="2324"/>
                          </a:lnTo>
                          <a:lnTo>
                            <a:pt x="1843" y="2324"/>
                          </a:lnTo>
                          <a:lnTo>
                            <a:pt x="1849" y="2353"/>
                          </a:lnTo>
                          <a:lnTo>
                            <a:pt x="1856" y="2384"/>
                          </a:lnTo>
                          <a:lnTo>
                            <a:pt x="1856" y="2384"/>
                          </a:lnTo>
                          <a:lnTo>
                            <a:pt x="1862" y="2353"/>
                          </a:lnTo>
                          <a:lnTo>
                            <a:pt x="1870" y="2323"/>
                          </a:lnTo>
                          <a:lnTo>
                            <a:pt x="1896" y="2233"/>
                          </a:lnTo>
                          <a:lnTo>
                            <a:pt x="1947" y="2233"/>
                          </a:lnTo>
                          <a:lnTo>
                            <a:pt x="1972" y="2323"/>
                          </a:lnTo>
                          <a:lnTo>
                            <a:pt x="1972" y="2323"/>
                          </a:lnTo>
                          <a:lnTo>
                            <a:pt x="1979" y="2352"/>
                          </a:lnTo>
                          <a:lnTo>
                            <a:pt x="1987" y="2385"/>
                          </a:lnTo>
                          <a:lnTo>
                            <a:pt x="1987" y="2385"/>
                          </a:lnTo>
                          <a:lnTo>
                            <a:pt x="1993" y="2357"/>
                          </a:lnTo>
                          <a:lnTo>
                            <a:pt x="2000" y="2323"/>
                          </a:lnTo>
                          <a:lnTo>
                            <a:pt x="2022" y="2233"/>
                          </a:lnTo>
                          <a:close/>
                          <a:moveTo>
                            <a:pt x="2204" y="2227"/>
                          </a:moveTo>
                          <a:lnTo>
                            <a:pt x="2204" y="2227"/>
                          </a:lnTo>
                          <a:lnTo>
                            <a:pt x="2193" y="2228"/>
                          </a:lnTo>
                          <a:lnTo>
                            <a:pt x="2181" y="2229"/>
                          </a:lnTo>
                          <a:lnTo>
                            <a:pt x="2170" y="2233"/>
                          </a:lnTo>
                          <a:lnTo>
                            <a:pt x="2161" y="2237"/>
                          </a:lnTo>
                          <a:lnTo>
                            <a:pt x="2151" y="2241"/>
                          </a:lnTo>
                          <a:lnTo>
                            <a:pt x="2141" y="2249"/>
                          </a:lnTo>
                          <a:lnTo>
                            <a:pt x="2133" y="2255"/>
                          </a:lnTo>
                          <a:lnTo>
                            <a:pt x="2125" y="2263"/>
                          </a:lnTo>
                          <a:lnTo>
                            <a:pt x="2118" y="2272"/>
                          </a:lnTo>
                          <a:lnTo>
                            <a:pt x="2112" y="2282"/>
                          </a:lnTo>
                          <a:lnTo>
                            <a:pt x="2106" y="2293"/>
                          </a:lnTo>
                          <a:lnTo>
                            <a:pt x="2102" y="2303"/>
                          </a:lnTo>
                          <a:lnTo>
                            <a:pt x="2099" y="2316"/>
                          </a:lnTo>
                          <a:lnTo>
                            <a:pt x="2095" y="2329"/>
                          </a:lnTo>
                          <a:lnTo>
                            <a:pt x="2094" y="2341"/>
                          </a:lnTo>
                          <a:lnTo>
                            <a:pt x="2094" y="2356"/>
                          </a:lnTo>
                          <a:lnTo>
                            <a:pt x="2094" y="2356"/>
                          </a:lnTo>
                          <a:lnTo>
                            <a:pt x="2094" y="2369"/>
                          </a:lnTo>
                          <a:lnTo>
                            <a:pt x="2095" y="2382"/>
                          </a:lnTo>
                          <a:lnTo>
                            <a:pt x="2099" y="2395"/>
                          </a:lnTo>
                          <a:lnTo>
                            <a:pt x="2102" y="2407"/>
                          </a:lnTo>
                          <a:lnTo>
                            <a:pt x="2106" y="2418"/>
                          </a:lnTo>
                          <a:lnTo>
                            <a:pt x="2112" y="2429"/>
                          </a:lnTo>
                          <a:lnTo>
                            <a:pt x="2118" y="2438"/>
                          </a:lnTo>
                          <a:lnTo>
                            <a:pt x="2125" y="2447"/>
                          </a:lnTo>
                          <a:lnTo>
                            <a:pt x="2133" y="2455"/>
                          </a:lnTo>
                          <a:lnTo>
                            <a:pt x="2141" y="2463"/>
                          </a:lnTo>
                          <a:lnTo>
                            <a:pt x="2151" y="2469"/>
                          </a:lnTo>
                          <a:lnTo>
                            <a:pt x="2161" y="2474"/>
                          </a:lnTo>
                          <a:lnTo>
                            <a:pt x="2170" y="2477"/>
                          </a:lnTo>
                          <a:lnTo>
                            <a:pt x="2181" y="2481"/>
                          </a:lnTo>
                          <a:lnTo>
                            <a:pt x="2193" y="2482"/>
                          </a:lnTo>
                          <a:lnTo>
                            <a:pt x="2204" y="2483"/>
                          </a:lnTo>
                          <a:lnTo>
                            <a:pt x="2204" y="2483"/>
                          </a:lnTo>
                          <a:lnTo>
                            <a:pt x="2216" y="2482"/>
                          </a:lnTo>
                          <a:lnTo>
                            <a:pt x="2229" y="2481"/>
                          </a:lnTo>
                          <a:lnTo>
                            <a:pt x="2240" y="2477"/>
                          </a:lnTo>
                          <a:lnTo>
                            <a:pt x="2249" y="2474"/>
                          </a:lnTo>
                          <a:lnTo>
                            <a:pt x="2259" y="2469"/>
                          </a:lnTo>
                          <a:lnTo>
                            <a:pt x="2269" y="2463"/>
                          </a:lnTo>
                          <a:lnTo>
                            <a:pt x="2277" y="2455"/>
                          </a:lnTo>
                          <a:lnTo>
                            <a:pt x="2284" y="2447"/>
                          </a:lnTo>
                          <a:lnTo>
                            <a:pt x="2292" y="2438"/>
                          </a:lnTo>
                          <a:lnTo>
                            <a:pt x="2298" y="2429"/>
                          </a:lnTo>
                          <a:lnTo>
                            <a:pt x="2303" y="2418"/>
                          </a:lnTo>
                          <a:lnTo>
                            <a:pt x="2308" y="2407"/>
                          </a:lnTo>
                          <a:lnTo>
                            <a:pt x="2311" y="2395"/>
                          </a:lnTo>
                          <a:lnTo>
                            <a:pt x="2314" y="2382"/>
                          </a:lnTo>
                          <a:lnTo>
                            <a:pt x="2316" y="2369"/>
                          </a:lnTo>
                          <a:lnTo>
                            <a:pt x="2316" y="2356"/>
                          </a:lnTo>
                          <a:lnTo>
                            <a:pt x="2316" y="2356"/>
                          </a:lnTo>
                          <a:lnTo>
                            <a:pt x="2316" y="2341"/>
                          </a:lnTo>
                          <a:lnTo>
                            <a:pt x="2314" y="2329"/>
                          </a:lnTo>
                          <a:lnTo>
                            <a:pt x="2311" y="2316"/>
                          </a:lnTo>
                          <a:lnTo>
                            <a:pt x="2308" y="2303"/>
                          </a:lnTo>
                          <a:lnTo>
                            <a:pt x="2303" y="2293"/>
                          </a:lnTo>
                          <a:lnTo>
                            <a:pt x="2298" y="2282"/>
                          </a:lnTo>
                          <a:lnTo>
                            <a:pt x="2292" y="2272"/>
                          </a:lnTo>
                          <a:lnTo>
                            <a:pt x="2284" y="2263"/>
                          </a:lnTo>
                          <a:lnTo>
                            <a:pt x="2277" y="2255"/>
                          </a:lnTo>
                          <a:lnTo>
                            <a:pt x="2269" y="2249"/>
                          </a:lnTo>
                          <a:lnTo>
                            <a:pt x="2259" y="2241"/>
                          </a:lnTo>
                          <a:lnTo>
                            <a:pt x="2249" y="2237"/>
                          </a:lnTo>
                          <a:lnTo>
                            <a:pt x="2240" y="2233"/>
                          </a:lnTo>
                          <a:lnTo>
                            <a:pt x="2229" y="2229"/>
                          </a:lnTo>
                          <a:lnTo>
                            <a:pt x="2216" y="2228"/>
                          </a:lnTo>
                          <a:lnTo>
                            <a:pt x="2204" y="2227"/>
                          </a:lnTo>
                          <a:lnTo>
                            <a:pt x="2204" y="2227"/>
                          </a:lnTo>
                          <a:close/>
                          <a:moveTo>
                            <a:pt x="2204" y="2426"/>
                          </a:moveTo>
                          <a:lnTo>
                            <a:pt x="2204" y="2426"/>
                          </a:lnTo>
                          <a:lnTo>
                            <a:pt x="2193" y="2425"/>
                          </a:lnTo>
                          <a:lnTo>
                            <a:pt x="2185" y="2421"/>
                          </a:lnTo>
                          <a:lnTo>
                            <a:pt x="2176" y="2415"/>
                          </a:lnTo>
                          <a:lnTo>
                            <a:pt x="2169" y="2407"/>
                          </a:lnTo>
                          <a:lnTo>
                            <a:pt x="2163" y="2397"/>
                          </a:lnTo>
                          <a:lnTo>
                            <a:pt x="2158" y="2385"/>
                          </a:lnTo>
                          <a:lnTo>
                            <a:pt x="2156" y="2370"/>
                          </a:lnTo>
                          <a:lnTo>
                            <a:pt x="2156" y="2356"/>
                          </a:lnTo>
                          <a:lnTo>
                            <a:pt x="2156" y="2356"/>
                          </a:lnTo>
                          <a:lnTo>
                            <a:pt x="2156" y="2340"/>
                          </a:lnTo>
                          <a:lnTo>
                            <a:pt x="2158" y="2327"/>
                          </a:lnTo>
                          <a:lnTo>
                            <a:pt x="2163" y="2314"/>
                          </a:lnTo>
                          <a:lnTo>
                            <a:pt x="2169" y="2303"/>
                          </a:lnTo>
                          <a:lnTo>
                            <a:pt x="2176" y="2295"/>
                          </a:lnTo>
                          <a:lnTo>
                            <a:pt x="2185" y="2289"/>
                          </a:lnTo>
                          <a:lnTo>
                            <a:pt x="2193" y="2285"/>
                          </a:lnTo>
                          <a:lnTo>
                            <a:pt x="2204" y="2284"/>
                          </a:lnTo>
                          <a:lnTo>
                            <a:pt x="2204" y="2284"/>
                          </a:lnTo>
                          <a:lnTo>
                            <a:pt x="2215" y="2285"/>
                          </a:lnTo>
                          <a:lnTo>
                            <a:pt x="2225" y="2289"/>
                          </a:lnTo>
                          <a:lnTo>
                            <a:pt x="2233" y="2295"/>
                          </a:lnTo>
                          <a:lnTo>
                            <a:pt x="2241" y="2303"/>
                          </a:lnTo>
                          <a:lnTo>
                            <a:pt x="2247" y="2314"/>
                          </a:lnTo>
                          <a:lnTo>
                            <a:pt x="2250" y="2327"/>
                          </a:lnTo>
                          <a:lnTo>
                            <a:pt x="2253" y="2340"/>
                          </a:lnTo>
                          <a:lnTo>
                            <a:pt x="2254" y="2356"/>
                          </a:lnTo>
                          <a:lnTo>
                            <a:pt x="2254" y="2356"/>
                          </a:lnTo>
                          <a:lnTo>
                            <a:pt x="2253" y="2370"/>
                          </a:lnTo>
                          <a:lnTo>
                            <a:pt x="2250" y="2385"/>
                          </a:lnTo>
                          <a:lnTo>
                            <a:pt x="2247" y="2397"/>
                          </a:lnTo>
                          <a:lnTo>
                            <a:pt x="2241" y="2407"/>
                          </a:lnTo>
                          <a:lnTo>
                            <a:pt x="2233" y="2415"/>
                          </a:lnTo>
                          <a:lnTo>
                            <a:pt x="2225" y="2421"/>
                          </a:lnTo>
                          <a:lnTo>
                            <a:pt x="2215" y="2425"/>
                          </a:lnTo>
                          <a:lnTo>
                            <a:pt x="2204" y="2426"/>
                          </a:lnTo>
                          <a:lnTo>
                            <a:pt x="2204" y="2426"/>
                          </a:lnTo>
                          <a:close/>
                          <a:moveTo>
                            <a:pt x="921" y="2313"/>
                          </a:moveTo>
                          <a:lnTo>
                            <a:pt x="995" y="2477"/>
                          </a:lnTo>
                          <a:lnTo>
                            <a:pt x="928" y="2477"/>
                          </a:lnTo>
                          <a:lnTo>
                            <a:pt x="877" y="2364"/>
                          </a:lnTo>
                          <a:lnTo>
                            <a:pt x="845" y="2404"/>
                          </a:lnTo>
                          <a:lnTo>
                            <a:pt x="845" y="2477"/>
                          </a:lnTo>
                          <a:lnTo>
                            <a:pt x="785" y="2477"/>
                          </a:lnTo>
                          <a:lnTo>
                            <a:pt x="785" y="2161"/>
                          </a:lnTo>
                          <a:lnTo>
                            <a:pt x="845" y="2131"/>
                          </a:lnTo>
                          <a:lnTo>
                            <a:pt x="845" y="2327"/>
                          </a:lnTo>
                          <a:lnTo>
                            <a:pt x="845" y="2327"/>
                          </a:lnTo>
                          <a:lnTo>
                            <a:pt x="868" y="2295"/>
                          </a:lnTo>
                          <a:lnTo>
                            <a:pt x="916" y="2233"/>
                          </a:lnTo>
                          <a:lnTo>
                            <a:pt x="987" y="2233"/>
                          </a:lnTo>
                          <a:lnTo>
                            <a:pt x="921" y="2313"/>
                          </a:lnTo>
                          <a:close/>
                          <a:moveTo>
                            <a:pt x="1208" y="2477"/>
                          </a:moveTo>
                          <a:lnTo>
                            <a:pt x="1147" y="2477"/>
                          </a:lnTo>
                          <a:lnTo>
                            <a:pt x="1147" y="2233"/>
                          </a:lnTo>
                          <a:lnTo>
                            <a:pt x="1208" y="2233"/>
                          </a:lnTo>
                          <a:lnTo>
                            <a:pt x="1208" y="2254"/>
                          </a:lnTo>
                          <a:lnTo>
                            <a:pt x="1208" y="2254"/>
                          </a:lnTo>
                          <a:lnTo>
                            <a:pt x="1214" y="2248"/>
                          </a:lnTo>
                          <a:lnTo>
                            <a:pt x="1220" y="2243"/>
                          </a:lnTo>
                          <a:lnTo>
                            <a:pt x="1227" y="2238"/>
                          </a:lnTo>
                          <a:lnTo>
                            <a:pt x="1235" y="2234"/>
                          </a:lnTo>
                          <a:lnTo>
                            <a:pt x="1243" y="2232"/>
                          </a:lnTo>
                          <a:lnTo>
                            <a:pt x="1252" y="2229"/>
                          </a:lnTo>
                          <a:lnTo>
                            <a:pt x="1260" y="2228"/>
                          </a:lnTo>
                          <a:lnTo>
                            <a:pt x="1270" y="2227"/>
                          </a:lnTo>
                          <a:lnTo>
                            <a:pt x="1270" y="2227"/>
                          </a:lnTo>
                          <a:lnTo>
                            <a:pt x="1281" y="2228"/>
                          </a:lnTo>
                          <a:lnTo>
                            <a:pt x="1290" y="2229"/>
                          </a:lnTo>
                          <a:lnTo>
                            <a:pt x="1299" y="2232"/>
                          </a:lnTo>
                          <a:lnTo>
                            <a:pt x="1309" y="2234"/>
                          </a:lnTo>
                          <a:lnTo>
                            <a:pt x="1316" y="2239"/>
                          </a:lnTo>
                          <a:lnTo>
                            <a:pt x="1323" y="2244"/>
                          </a:lnTo>
                          <a:lnTo>
                            <a:pt x="1331" y="2249"/>
                          </a:lnTo>
                          <a:lnTo>
                            <a:pt x="1337" y="2256"/>
                          </a:lnTo>
                          <a:lnTo>
                            <a:pt x="1342" y="2263"/>
                          </a:lnTo>
                          <a:lnTo>
                            <a:pt x="1346" y="2272"/>
                          </a:lnTo>
                          <a:lnTo>
                            <a:pt x="1350" y="2280"/>
                          </a:lnTo>
                          <a:lnTo>
                            <a:pt x="1354" y="2291"/>
                          </a:lnTo>
                          <a:lnTo>
                            <a:pt x="1356" y="2302"/>
                          </a:lnTo>
                          <a:lnTo>
                            <a:pt x="1357" y="2313"/>
                          </a:lnTo>
                          <a:lnTo>
                            <a:pt x="1359" y="2325"/>
                          </a:lnTo>
                          <a:lnTo>
                            <a:pt x="1360" y="2339"/>
                          </a:lnTo>
                          <a:lnTo>
                            <a:pt x="1360" y="2477"/>
                          </a:lnTo>
                          <a:lnTo>
                            <a:pt x="1299" y="2477"/>
                          </a:lnTo>
                          <a:lnTo>
                            <a:pt x="1299" y="2342"/>
                          </a:lnTo>
                          <a:lnTo>
                            <a:pt x="1299" y="2342"/>
                          </a:lnTo>
                          <a:lnTo>
                            <a:pt x="1298" y="2329"/>
                          </a:lnTo>
                          <a:lnTo>
                            <a:pt x="1297" y="2316"/>
                          </a:lnTo>
                          <a:lnTo>
                            <a:pt x="1293" y="2306"/>
                          </a:lnTo>
                          <a:lnTo>
                            <a:pt x="1288" y="2297"/>
                          </a:lnTo>
                          <a:lnTo>
                            <a:pt x="1282" y="2291"/>
                          </a:lnTo>
                          <a:lnTo>
                            <a:pt x="1275" y="2286"/>
                          </a:lnTo>
                          <a:lnTo>
                            <a:pt x="1265" y="2284"/>
                          </a:lnTo>
                          <a:lnTo>
                            <a:pt x="1254" y="2283"/>
                          </a:lnTo>
                          <a:lnTo>
                            <a:pt x="1254" y="2283"/>
                          </a:lnTo>
                          <a:lnTo>
                            <a:pt x="1244" y="2284"/>
                          </a:lnTo>
                          <a:lnTo>
                            <a:pt x="1235" y="2286"/>
                          </a:lnTo>
                          <a:lnTo>
                            <a:pt x="1226" y="2291"/>
                          </a:lnTo>
                          <a:lnTo>
                            <a:pt x="1220" y="2299"/>
                          </a:lnTo>
                          <a:lnTo>
                            <a:pt x="1215" y="2306"/>
                          </a:lnTo>
                          <a:lnTo>
                            <a:pt x="1212" y="2317"/>
                          </a:lnTo>
                          <a:lnTo>
                            <a:pt x="1209" y="2329"/>
                          </a:lnTo>
                          <a:lnTo>
                            <a:pt x="1208" y="2342"/>
                          </a:lnTo>
                          <a:lnTo>
                            <a:pt x="1208" y="2477"/>
                          </a:lnTo>
                          <a:close/>
                          <a:moveTo>
                            <a:pt x="1551" y="2250"/>
                          </a:moveTo>
                          <a:lnTo>
                            <a:pt x="1551" y="2250"/>
                          </a:lnTo>
                          <a:lnTo>
                            <a:pt x="1544" y="2245"/>
                          </a:lnTo>
                          <a:lnTo>
                            <a:pt x="1538" y="2240"/>
                          </a:lnTo>
                          <a:lnTo>
                            <a:pt x="1532" y="2237"/>
                          </a:lnTo>
                          <a:lnTo>
                            <a:pt x="1525" y="2233"/>
                          </a:lnTo>
                          <a:lnTo>
                            <a:pt x="1518" y="2231"/>
                          </a:lnTo>
                          <a:lnTo>
                            <a:pt x="1510" y="2229"/>
                          </a:lnTo>
                          <a:lnTo>
                            <a:pt x="1503" y="2228"/>
                          </a:lnTo>
                          <a:lnTo>
                            <a:pt x="1496" y="2227"/>
                          </a:lnTo>
                          <a:lnTo>
                            <a:pt x="1496" y="2227"/>
                          </a:lnTo>
                          <a:lnTo>
                            <a:pt x="1485" y="2228"/>
                          </a:lnTo>
                          <a:lnTo>
                            <a:pt x="1475" y="2229"/>
                          </a:lnTo>
                          <a:lnTo>
                            <a:pt x="1465" y="2232"/>
                          </a:lnTo>
                          <a:lnTo>
                            <a:pt x="1456" y="2237"/>
                          </a:lnTo>
                          <a:lnTo>
                            <a:pt x="1447" y="2240"/>
                          </a:lnTo>
                          <a:lnTo>
                            <a:pt x="1440" y="2246"/>
                          </a:lnTo>
                          <a:lnTo>
                            <a:pt x="1433" y="2254"/>
                          </a:lnTo>
                          <a:lnTo>
                            <a:pt x="1425" y="2261"/>
                          </a:lnTo>
                          <a:lnTo>
                            <a:pt x="1419" y="2269"/>
                          </a:lnTo>
                          <a:lnTo>
                            <a:pt x="1414" y="2279"/>
                          </a:lnTo>
                          <a:lnTo>
                            <a:pt x="1410" y="2289"/>
                          </a:lnTo>
                          <a:lnTo>
                            <a:pt x="1406" y="2301"/>
                          </a:lnTo>
                          <a:lnTo>
                            <a:pt x="1404" y="2312"/>
                          </a:lnTo>
                          <a:lnTo>
                            <a:pt x="1401" y="2325"/>
                          </a:lnTo>
                          <a:lnTo>
                            <a:pt x="1400" y="2339"/>
                          </a:lnTo>
                          <a:lnTo>
                            <a:pt x="1400" y="2352"/>
                          </a:lnTo>
                          <a:lnTo>
                            <a:pt x="1400" y="2352"/>
                          </a:lnTo>
                          <a:lnTo>
                            <a:pt x="1400" y="2368"/>
                          </a:lnTo>
                          <a:lnTo>
                            <a:pt x="1401" y="2381"/>
                          </a:lnTo>
                          <a:lnTo>
                            <a:pt x="1404" y="2395"/>
                          </a:lnTo>
                          <a:lnTo>
                            <a:pt x="1406" y="2408"/>
                          </a:lnTo>
                          <a:lnTo>
                            <a:pt x="1410" y="2419"/>
                          </a:lnTo>
                          <a:lnTo>
                            <a:pt x="1414" y="2430"/>
                          </a:lnTo>
                          <a:lnTo>
                            <a:pt x="1419" y="2440"/>
                          </a:lnTo>
                          <a:lnTo>
                            <a:pt x="1425" y="2448"/>
                          </a:lnTo>
                          <a:lnTo>
                            <a:pt x="1431" y="2457"/>
                          </a:lnTo>
                          <a:lnTo>
                            <a:pt x="1439" y="2463"/>
                          </a:lnTo>
                          <a:lnTo>
                            <a:pt x="1446" y="2469"/>
                          </a:lnTo>
                          <a:lnTo>
                            <a:pt x="1455" y="2474"/>
                          </a:lnTo>
                          <a:lnTo>
                            <a:pt x="1464" y="2477"/>
                          </a:lnTo>
                          <a:lnTo>
                            <a:pt x="1474" y="2481"/>
                          </a:lnTo>
                          <a:lnTo>
                            <a:pt x="1484" y="2482"/>
                          </a:lnTo>
                          <a:lnTo>
                            <a:pt x="1495" y="2483"/>
                          </a:lnTo>
                          <a:lnTo>
                            <a:pt x="1495" y="2483"/>
                          </a:lnTo>
                          <a:lnTo>
                            <a:pt x="1502" y="2482"/>
                          </a:lnTo>
                          <a:lnTo>
                            <a:pt x="1510" y="2481"/>
                          </a:lnTo>
                          <a:lnTo>
                            <a:pt x="1518" y="2480"/>
                          </a:lnTo>
                          <a:lnTo>
                            <a:pt x="1525" y="2477"/>
                          </a:lnTo>
                          <a:lnTo>
                            <a:pt x="1531" y="2474"/>
                          </a:lnTo>
                          <a:lnTo>
                            <a:pt x="1538" y="2470"/>
                          </a:lnTo>
                          <a:lnTo>
                            <a:pt x="1544" y="2465"/>
                          </a:lnTo>
                          <a:lnTo>
                            <a:pt x="1551" y="2459"/>
                          </a:lnTo>
                          <a:lnTo>
                            <a:pt x="1551" y="2465"/>
                          </a:lnTo>
                          <a:lnTo>
                            <a:pt x="1551" y="2465"/>
                          </a:lnTo>
                          <a:lnTo>
                            <a:pt x="1551" y="2475"/>
                          </a:lnTo>
                          <a:lnTo>
                            <a:pt x="1549" y="2486"/>
                          </a:lnTo>
                          <a:lnTo>
                            <a:pt x="1546" y="2497"/>
                          </a:lnTo>
                          <a:lnTo>
                            <a:pt x="1543" y="2502"/>
                          </a:lnTo>
                          <a:lnTo>
                            <a:pt x="1541" y="2506"/>
                          </a:lnTo>
                          <a:lnTo>
                            <a:pt x="1536" y="2511"/>
                          </a:lnTo>
                          <a:lnTo>
                            <a:pt x="1531" y="2516"/>
                          </a:lnTo>
                          <a:lnTo>
                            <a:pt x="1525" y="2520"/>
                          </a:lnTo>
                          <a:lnTo>
                            <a:pt x="1518" y="2524"/>
                          </a:lnTo>
                          <a:lnTo>
                            <a:pt x="1508" y="2526"/>
                          </a:lnTo>
                          <a:lnTo>
                            <a:pt x="1498" y="2528"/>
                          </a:lnTo>
                          <a:lnTo>
                            <a:pt x="1486" y="2530"/>
                          </a:lnTo>
                          <a:lnTo>
                            <a:pt x="1472" y="2530"/>
                          </a:lnTo>
                          <a:lnTo>
                            <a:pt x="1469" y="2530"/>
                          </a:lnTo>
                          <a:lnTo>
                            <a:pt x="1491" y="2577"/>
                          </a:lnTo>
                          <a:lnTo>
                            <a:pt x="1492" y="2577"/>
                          </a:lnTo>
                          <a:lnTo>
                            <a:pt x="1492" y="2577"/>
                          </a:lnTo>
                          <a:lnTo>
                            <a:pt x="1507" y="2577"/>
                          </a:lnTo>
                          <a:lnTo>
                            <a:pt x="1520" y="2576"/>
                          </a:lnTo>
                          <a:lnTo>
                            <a:pt x="1532" y="2572"/>
                          </a:lnTo>
                          <a:lnTo>
                            <a:pt x="1544" y="2570"/>
                          </a:lnTo>
                          <a:lnTo>
                            <a:pt x="1555" y="2565"/>
                          </a:lnTo>
                          <a:lnTo>
                            <a:pt x="1565" y="2560"/>
                          </a:lnTo>
                          <a:lnTo>
                            <a:pt x="1574" y="2554"/>
                          </a:lnTo>
                          <a:lnTo>
                            <a:pt x="1581" y="2547"/>
                          </a:lnTo>
                          <a:lnTo>
                            <a:pt x="1588" y="2538"/>
                          </a:lnTo>
                          <a:lnTo>
                            <a:pt x="1594" y="2530"/>
                          </a:lnTo>
                          <a:lnTo>
                            <a:pt x="1599" y="2519"/>
                          </a:lnTo>
                          <a:lnTo>
                            <a:pt x="1603" y="2508"/>
                          </a:lnTo>
                          <a:lnTo>
                            <a:pt x="1606" y="2497"/>
                          </a:lnTo>
                          <a:lnTo>
                            <a:pt x="1609" y="2483"/>
                          </a:lnTo>
                          <a:lnTo>
                            <a:pt x="1610" y="2470"/>
                          </a:lnTo>
                          <a:lnTo>
                            <a:pt x="1610" y="2455"/>
                          </a:lnTo>
                          <a:lnTo>
                            <a:pt x="1610" y="2233"/>
                          </a:lnTo>
                          <a:lnTo>
                            <a:pt x="1551" y="2233"/>
                          </a:lnTo>
                          <a:lnTo>
                            <a:pt x="1551" y="2250"/>
                          </a:lnTo>
                          <a:close/>
                          <a:moveTo>
                            <a:pt x="1551" y="2307"/>
                          </a:moveTo>
                          <a:lnTo>
                            <a:pt x="1551" y="2403"/>
                          </a:lnTo>
                          <a:lnTo>
                            <a:pt x="1551" y="2403"/>
                          </a:lnTo>
                          <a:lnTo>
                            <a:pt x="1542" y="2412"/>
                          </a:lnTo>
                          <a:lnTo>
                            <a:pt x="1534" y="2420"/>
                          </a:lnTo>
                          <a:lnTo>
                            <a:pt x="1527" y="2423"/>
                          </a:lnTo>
                          <a:lnTo>
                            <a:pt x="1521" y="2425"/>
                          </a:lnTo>
                          <a:lnTo>
                            <a:pt x="1515" y="2426"/>
                          </a:lnTo>
                          <a:lnTo>
                            <a:pt x="1507" y="2427"/>
                          </a:lnTo>
                          <a:lnTo>
                            <a:pt x="1507" y="2427"/>
                          </a:lnTo>
                          <a:lnTo>
                            <a:pt x="1499" y="2426"/>
                          </a:lnTo>
                          <a:lnTo>
                            <a:pt x="1491" y="2424"/>
                          </a:lnTo>
                          <a:lnTo>
                            <a:pt x="1484" y="2420"/>
                          </a:lnTo>
                          <a:lnTo>
                            <a:pt x="1476" y="2413"/>
                          </a:lnTo>
                          <a:lnTo>
                            <a:pt x="1470" y="2403"/>
                          </a:lnTo>
                          <a:lnTo>
                            <a:pt x="1465" y="2390"/>
                          </a:lnTo>
                          <a:lnTo>
                            <a:pt x="1463" y="2373"/>
                          </a:lnTo>
                          <a:lnTo>
                            <a:pt x="1462" y="2351"/>
                          </a:lnTo>
                          <a:lnTo>
                            <a:pt x="1462" y="2351"/>
                          </a:lnTo>
                          <a:lnTo>
                            <a:pt x="1463" y="2333"/>
                          </a:lnTo>
                          <a:lnTo>
                            <a:pt x="1465" y="2317"/>
                          </a:lnTo>
                          <a:lnTo>
                            <a:pt x="1470" y="2305"/>
                          </a:lnTo>
                          <a:lnTo>
                            <a:pt x="1476" y="2296"/>
                          </a:lnTo>
                          <a:lnTo>
                            <a:pt x="1484" y="2290"/>
                          </a:lnTo>
                          <a:lnTo>
                            <a:pt x="1491" y="2285"/>
                          </a:lnTo>
                          <a:lnTo>
                            <a:pt x="1499" y="2284"/>
                          </a:lnTo>
                          <a:lnTo>
                            <a:pt x="1507" y="2283"/>
                          </a:lnTo>
                          <a:lnTo>
                            <a:pt x="1507" y="2283"/>
                          </a:lnTo>
                          <a:lnTo>
                            <a:pt x="1515" y="2284"/>
                          </a:lnTo>
                          <a:lnTo>
                            <a:pt x="1523" y="2285"/>
                          </a:lnTo>
                          <a:lnTo>
                            <a:pt x="1529" y="2288"/>
                          </a:lnTo>
                          <a:lnTo>
                            <a:pt x="1535" y="2291"/>
                          </a:lnTo>
                          <a:lnTo>
                            <a:pt x="1540" y="2295"/>
                          </a:lnTo>
                          <a:lnTo>
                            <a:pt x="1543" y="2299"/>
                          </a:lnTo>
                          <a:lnTo>
                            <a:pt x="1551" y="2307"/>
                          </a:lnTo>
                          <a:lnTo>
                            <a:pt x="1551" y="2307"/>
                          </a:lnTo>
                          <a:close/>
                          <a:moveTo>
                            <a:pt x="1033" y="2233"/>
                          </a:moveTo>
                          <a:lnTo>
                            <a:pt x="1094" y="2233"/>
                          </a:lnTo>
                          <a:lnTo>
                            <a:pt x="1094" y="2341"/>
                          </a:lnTo>
                          <a:lnTo>
                            <a:pt x="1094" y="2477"/>
                          </a:lnTo>
                          <a:lnTo>
                            <a:pt x="1033" y="2477"/>
                          </a:lnTo>
                          <a:lnTo>
                            <a:pt x="1033" y="2233"/>
                          </a:lnTo>
                          <a:close/>
                          <a:moveTo>
                            <a:pt x="1094" y="2167"/>
                          </a:moveTo>
                          <a:lnTo>
                            <a:pt x="1094" y="2198"/>
                          </a:lnTo>
                          <a:lnTo>
                            <a:pt x="1033" y="2198"/>
                          </a:lnTo>
                          <a:lnTo>
                            <a:pt x="1033" y="2137"/>
                          </a:lnTo>
                          <a:lnTo>
                            <a:pt x="1094" y="2137"/>
                          </a:lnTo>
                          <a:lnTo>
                            <a:pt x="1094" y="2167"/>
                          </a:lnTo>
                          <a:close/>
                          <a:moveTo>
                            <a:pt x="2542" y="2161"/>
                          </a:moveTo>
                          <a:lnTo>
                            <a:pt x="2603" y="2131"/>
                          </a:lnTo>
                          <a:lnTo>
                            <a:pt x="2603" y="2352"/>
                          </a:lnTo>
                          <a:lnTo>
                            <a:pt x="2603" y="2477"/>
                          </a:lnTo>
                          <a:lnTo>
                            <a:pt x="2542" y="2477"/>
                          </a:lnTo>
                          <a:lnTo>
                            <a:pt x="2542" y="2161"/>
                          </a:lnTo>
                          <a:close/>
                          <a:moveTo>
                            <a:pt x="437" y="834"/>
                          </a:moveTo>
                          <a:lnTo>
                            <a:pt x="936" y="834"/>
                          </a:lnTo>
                          <a:lnTo>
                            <a:pt x="936" y="544"/>
                          </a:lnTo>
                          <a:lnTo>
                            <a:pt x="437" y="544"/>
                          </a:lnTo>
                          <a:lnTo>
                            <a:pt x="437" y="317"/>
                          </a:lnTo>
                          <a:lnTo>
                            <a:pt x="989" y="317"/>
                          </a:lnTo>
                          <a:lnTo>
                            <a:pt x="806" y="0"/>
                          </a:lnTo>
                          <a:lnTo>
                            <a:pt x="24" y="0"/>
                          </a:lnTo>
                          <a:lnTo>
                            <a:pt x="24" y="1378"/>
                          </a:lnTo>
                          <a:lnTo>
                            <a:pt x="1126" y="1378"/>
                          </a:lnTo>
                          <a:lnTo>
                            <a:pt x="1126" y="1061"/>
                          </a:lnTo>
                          <a:lnTo>
                            <a:pt x="437" y="1061"/>
                          </a:lnTo>
                          <a:lnTo>
                            <a:pt x="437" y="834"/>
                          </a:lnTo>
                          <a:close/>
                          <a:moveTo>
                            <a:pt x="1860" y="0"/>
                          </a:moveTo>
                          <a:lnTo>
                            <a:pt x="1626" y="450"/>
                          </a:lnTo>
                          <a:lnTo>
                            <a:pt x="1393" y="0"/>
                          </a:lnTo>
                          <a:lnTo>
                            <a:pt x="936" y="0"/>
                          </a:lnTo>
                          <a:lnTo>
                            <a:pt x="1417" y="834"/>
                          </a:lnTo>
                          <a:lnTo>
                            <a:pt x="1417" y="1378"/>
                          </a:lnTo>
                          <a:lnTo>
                            <a:pt x="1829" y="1378"/>
                          </a:lnTo>
                          <a:lnTo>
                            <a:pt x="1829" y="834"/>
                          </a:lnTo>
                          <a:lnTo>
                            <a:pt x="2311" y="0"/>
                          </a:lnTo>
                          <a:lnTo>
                            <a:pt x="186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</p:grpSp>
              <p:sp>
                <p:nvSpPr>
                  <p:cNvPr id="57" name="Content Placeholder 5">
                    <a:extLst>
                      <a:ext uri="{FF2B5EF4-FFF2-40B4-BE49-F238E27FC236}">
                        <a16:creationId xmlns:a16="http://schemas.microsoft.com/office/drawing/2014/main" id="{8AB25B86-494C-4710-8378-23503129BB97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4368" y="75105"/>
                    <a:ext cx="1458345" cy="152383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b="1" kern="0">
                        <a:solidFill>
                          <a:srgbClr val="FFE600"/>
                        </a:solidFill>
                        <a:latin typeface="EYInterstate Bold" panose="02000803030000020004" pitchFamily="2" charset="0"/>
                        <a:ea typeface="+mn-ea"/>
                        <a:cs typeface="+mn-cs"/>
                      </a:rPr>
                      <a:t>Context, Scope and Objectives</a:t>
                    </a:r>
                  </a:p>
                </p:txBody>
              </p:sp>
              <p:sp>
                <p:nvSpPr>
                  <p:cNvPr id="58" name="Content Placeholder 5">
                    <a:extLst>
                      <a:ext uri="{FF2B5EF4-FFF2-40B4-BE49-F238E27FC236}">
                        <a16:creationId xmlns:a16="http://schemas.microsoft.com/office/drawing/2014/main" id="{0CFD23C5-2E09-4288-A9A5-BDA1D8AE0806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11986" y="51130"/>
                    <a:ext cx="1206296" cy="200331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+mj-lt"/>
                      <a:buNone/>
                      <a:tabLst>
                        <a:tab pos="4876815" algn="r"/>
                      </a:tabLst>
                    </a:pPr>
                    <a:r>
                      <a:rPr lang="en-US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Key Success Factors &amp; Challenges </a:t>
                    </a:r>
                  </a:p>
                </p:txBody>
              </p:sp>
              <p:sp>
                <p:nvSpPr>
                  <p:cNvPr id="59" name="Content Placeholder 5">
                    <a:extLst>
                      <a:ext uri="{FF2B5EF4-FFF2-40B4-BE49-F238E27FC236}">
                        <a16:creationId xmlns:a16="http://schemas.microsoft.com/office/drawing/2014/main" id="{5848D1A5-F422-45E4-81B3-A71B833C61D2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11169709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Appendices</a:t>
                    </a:r>
                  </a:p>
                </p:txBody>
              </p:sp>
              <p:sp>
                <p:nvSpPr>
                  <p:cNvPr id="60" name="Content Placeholder 5">
                    <a:extLst>
                      <a:ext uri="{FF2B5EF4-FFF2-40B4-BE49-F238E27FC236}">
                        <a16:creationId xmlns:a16="http://schemas.microsoft.com/office/drawing/2014/main" id="{6454BCCA-D2C0-4B38-AAF8-74EA63B726D5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5947426" y="83518"/>
                    <a:ext cx="1023162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Proposed</a:t>
                    </a: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 Approach</a:t>
                    </a:r>
                  </a:p>
                </p:txBody>
              </p:sp>
              <p:sp>
                <p:nvSpPr>
                  <p:cNvPr id="61" name="Content Placeholder 5">
                    <a:extLst>
                      <a:ext uri="{FF2B5EF4-FFF2-40B4-BE49-F238E27FC236}">
                        <a16:creationId xmlns:a16="http://schemas.microsoft.com/office/drawing/2014/main" id="{68650469-2B6A-4762-ABEE-A3063CAA9F19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7262461" y="75105"/>
                    <a:ext cx="1138227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Team &amp; </a:t>
                    </a: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Goverance</a:t>
                    </a:r>
                    <a:endParaRPr lang="fr-FR" sz="800" kern="0">
                      <a:solidFill>
                        <a:schemeClr val="bg2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Content Placeholder 5">
                    <a:extLst>
                      <a:ext uri="{FF2B5EF4-FFF2-40B4-BE49-F238E27FC236}">
                        <a16:creationId xmlns:a16="http://schemas.microsoft.com/office/drawing/2014/main" id="{69E0BAC8-B7DC-42F6-BE9A-F63995EA497A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4484077" y="75105"/>
                    <a:ext cx="1097554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Scope &amp; Assumptions</a:t>
                    </a:r>
                  </a:p>
                </p:txBody>
              </p:sp>
              <p:sp>
                <p:nvSpPr>
                  <p:cNvPr id="63" name="Content Placeholder 5">
                    <a:extLst>
                      <a:ext uri="{FF2B5EF4-FFF2-40B4-BE49-F238E27FC236}">
                        <a16:creationId xmlns:a16="http://schemas.microsoft.com/office/drawing/2014/main" id="{D0E73590-854A-4FC5-9ACA-58D8B97742BC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8757114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Teams Profiles</a:t>
                    </a:r>
                  </a:p>
                </p:txBody>
              </p:sp>
              <p:sp>
                <p:nvSpPr>
                  <p:cNvPr id="64" name="Content Placeholder 5">
                    <a:extLst>
                      <a:ext uri="{FF2B5EF4-FFF2-40B4-BE49-F238E27FC236}">
                        <a16:creationId xmlns:a16="http://schemas.microsoft.com/office/drawing/2014/main" id="{AF18334A-55E3-4C7F-B0AC-DFE5CDD5E036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9963409" y="75105"/>
                    <a:ext cx="866515" cy="176356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Key Credentials</a:t>
                    </a:r>
                  </a:p>
                </p:txBody>
              </p:sp>
            </p:grpSp>
          </p:grpSp>
          <p:sp>
            <p:nvSpPr>
              <p:cNvPr id="53" name="Content Placeholder 5">
                <a:extLst>
                  <a:ext uri="{FF2B5EF4-FFF2-40B4-BE49-F238E27FC236}">
                    <a16:creationId xmlns:a16="http://schemas.microsoft.com/office/drawing/2014/main" id="{60BDB2BC-5566-4CF2-8BF4-E01F5C98DBCA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1608265" y="75105"/>
                <a:ext cx="1097554" cy="135989"/>
              </a:xfrm>
              <a:prstGeom prst="rect">
                <a:avLst/>
              </a:prstGeom>
            </p:spPr>
            <p:txBody>
              <a:bodyPr anchor="ctr"/>
              <a:lstStyle>
                <a:lvl1pPr algn="l" defTabSz="995363" rtl="0" fontAlgn="base">
                  <a:lnSpc>
                    <a:spcPts val="2100"/>
                  </a:lnSpc>
                  <a:spcBef>
                    <a:spcPct val="0"/>
                  </a:spcBef>
                  <a:spcAft>
                    <a:spcPct val="40000"/>
                  </a:spcAft>
                  <a:defRPr sz="1400" b="0">
                    <a:solidFill>
                      <a:srgbClr val="646464"/>
                    </a:solidFill>
                    <a:latin typeface="+mj-lt"/>
                    <a:ea typeface="+mn-ea"/>
                    <a:cs typeface="+mn-cs"/>
                  </a:defRPr>
                </a:lvl1pPr>
                <a:lvl2pPr marL="1588" algn="l" defTabSz="995363" rtl="0"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lang="en-US" sz="1200" b="1" dirty="0" smtClean="0">
                    <a:solidFill>
                      <a:srgbClr val="646464"/>
                    </a:solidFill>
                    <a:latin typeface="+mn-lt"/>
                  </a:defRPr>
                </a:lvl2pPr>
                <a:lvl3pPr marL="3175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sz="1000">
                    <a:solidFill>
                      <a:srgbClr val="000000"/>
                    </a:solidFill>
                    <a:latin typeface="+mn-lt"/>
                  </a:defRPr>
                </a:lvl3pPr>
                <a:lvl4pPr marL="152400" indent="-147638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FFD200"/>
                  </a:buClr>
                  <a:buSzPct val="75000"/>
                  <a:buFont typeface="Arial" charset="0"/>
                  <a:buChar char="►"/>
                  <a:defRPr sz="1000">
                    <a:solidFill>
                      <a:srgbClr val="000000"/>
                    </a:solidFill>
                    <a:latin typeface="+mn-lt"/>
                  </a:defRPr>
                </a:lvl4pPr>
                <a:lvl5pPr marL="2968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5pPr>
                <a:lvl6pPr marL="7540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6pPr>
                <a:lvl7pPr marL="12112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7pPr>
                <a:lvl8pPr marL="16684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8pPr>
                <a:lvl9pPr marL="21256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lvl="2" indent="0" algn="ctr" defTabSz="8293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140000"/>
                  <a:buFont typeface="Arial" charset="0"/>
                  <a:buNone/>
                  <a:tabLst>
                    <a:tab pos="4876815" algn="r"/>
                  </a:tabLst>
                </a:pPr>
                <a:r>
                  <a:rPr lang="fr-FR" sz="800" kern="0">
                    <a:solidFill>
                      <a:schemeClr val="bg2"/>
                    </a:solidFill>
                    <a:latin typeface="EYInterstate Light" panose="02000506000000020004" pitchFamily="2" charset="0"/>
                    <a:ea typeface="+mn-ea"/>
                    <a:cs typeface="+mn-cs"/>
                  </a:rPr>
                  <a:t>Scope &amp; Assumptions</a:t>
                </a:r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8A7553B-6C30-4ED0-8C98-7EC987EF1D87}"/>
                </a:ext>
              </a:extLst>
            </p:cNvPr>
            <p:cNvSpPr/>
            <p:nvPr userDrawn="1"/>
          </p:nvSpPr>
          <p:spPr>
            <a:xfrm>
              <a:off x="0" y="0"/>
              <a:ext cx="12192000" cy="350540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>
                <a:solidFill>
                  <a:schemeClr val="tx1"/>
                </a:solidFill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6FDC18EF-BAF0-4268-8322-7E2754AD7F00}"/>
                </a:ext>
              </a:extLst>
            </p:cNvPr>
            <p:cNvGrpSpPr/>
            <p:nvPr userDrawn="1"/>
          </p:nvGrpSpPr>
          <p:grpSpPr>
            <a:xfrm>
              <a:off x="81557" y="51129"/>
              <a:ext cx="167539" cy="200331"/>
              <a:chOff x="784680" y="68072"/>
              <a:chExt cx="167539" cy="200331"/>
            </a:xfrm>
          </p:grpSpPr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CCEA0B7F-82BB-4916-9436-1E97D3AFA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680" y="68072"/>
                <a:ext cx="134278" cy="50020"/>
              </a:xfrm>
              <a:custGeom>
                <a:avLst/>
                <a:gdLst>
                  <a:gd name="T0" fmla="*/ 2723 w 2723"/>
                  <a:gd name="T1" fmla="*/ 0 h 994"/>
                  <a:gd name="T2" fmla="*/ 0 w 2723"/>
                  <a:gd name="T3" fmla="*/ 994 h 994"/>
                  <a:gd name="T4" fmla="*/ 2723 w 2723"/>
                  <a:gd name="T5" fmla="*/ 513 h 994"/>
                  <a:gd name="T6" fmla="*/ 2723 w 2723"/>
                  <a:gd name="T7" fmla="*/ 0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23" h="994">
                    <a:moveTo>
                      <a:pt x="2723" y="0"/>
                    </a:moveTo>
                    <a:lnTo>
                      <a:pt x="0" y="994"/>
                    </a:lnTo>
                    <a:lnTo>
                      <a:pt x="2723" y="513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rgbClr val="F7D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A5525807-9C45-4B64-A6E3-5EA7B4AB97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680" y="138954"/>
                <a:ext cx="167539" cy="129449"/>
              </a:xfrm>
              <a:custGeom>
                <a:avLst/>
                <a:gdLst>
                  <a:gd name="T0" fmla="*/ 256 w 3400"/>
                  <a:gd name="T1" fmla="*/ 1749 h 2577"/>
                  <a:gd name="T2" fmla="*/ 278 w 3400"/>
                  <a:gd name="T3" fmla="*/ 1978 h 2577"/>
                  <a:gd name="T4" fmla="*/ 166 w 3400"/>
                  <a:gd name="T5" fmla="*/ 1993 h 2577"/>
                  <a:gd name="T6" fmla="*/ 386 w 3400"/>
                  <a:gd name="T7" fmla="*/ 1940 h 2577"/>
                  <a:gd name="T8" fmla="*/ 458 w 3400"/>
                  <a:gd name="T9" fmla="*/ 2046 h 2577"/>
                  <a:gd name="T10" fmla="*/ 1255 w 3400"/>
                  <a:gd name="T11" fmla="*/ 1820 h 2577"/>
                  <a:gd name="T12" fmla="*/ 1339 w 3400"/>
                  <a:gd name="T13" fmla="*/ 1914 h 2577"/>
                  <a:gd name="T14" fmla="*/ 767 w 3400"/>
                  <a:gd name="T15" fmla="*/ 1703 h 2577"/>
                  <a:gd name="T16" fmla="*/ 813 w 3400"/>
                  <a:gd name="T17" fmla="*/ 1884 h 2577"/>
                  <a:gd name="T18" fmla="*/ 947 w 3400"/>
                  <a:gd name="T19" fmla="*/ 2042 h 2577"/>
                  <a:gd name="T20" fmla="*/ 916 w 3400"/>
                  <a:gd name="T21" fmla="*/ 1855 h 2577"/>
                  <a:gd name="T22" fmla="*/ 2225 w 3400"/>
                  <a:gd name="T23" fmla="*/ 2049 h 2577"/>
                  <a:gd name="T24" fmla="*/ 2376 w 3400"/>
                  <a:gd name="T25" fmla="*/ 1924 h 2577"/>
                  <a:gd name="T26" fmla="*/ 2312 w 3400"/>
                  <a:gd name="T27" fmla="*/ 1906 h 2577"/>
                  <a:gd name="T28" fmla="*/ 2267 w 3400"/>
                  <a:gd name="T29" fmla="*/ 1855 h 2577"/>
                  <a:gd name="T30" fmla="*/ 1441 w 3400"/>
                  <a:gd name="T31" fmla="*/ 1911 h 2577"/>
                  <a:gd name="T32" fmla="*/ 1591 w 3400"/>
                  <a:gd name="T33" fmla="*/ 2031 h 2577"/>
                  <a:gd name="T34" fmla="*/ 1622 w 3400"/>
                  <a:gd name="T35" fmla="*/ 2119 h 2577"/>
                  <a:gd name="T36" fmla="*/ 1507 w 3400"/>
                  <a:gd name="T37" fmla="*/ 1962 h 2577"/>
                  <a:gd name="T38" fmla="*/ 1902 w 3400"/>
                  <a:gd name="T39" fmla="*/ 1848 h 2577"/>
                  <a:gd name="T40" fmla="*/ 1797 w 3400"/>
                  <a:gd name="T41" fmla="*/ 1958 h 2577"/>
                  <a:gd name="T42" fmla="*/ 2006 w 3400"/>
                  <a:gd name="T43" fmla="*/ 1884 h 2577"/>
                  <a:gd name="T44" fmla="*/ 1857 w 3400"/>
                  <a:gd name="T45" fmla="*/ 1968 h 2577"/>
                  <a:gd name="T46" fmla="*/ 1881 w 3400"/>
                  <a:gd name="T47" fmla="*/ 2002 h 2577"/>
                  <a:gd name="T48" fmla="*/ 2467 w 3400"/>
                  <a:gd name="T49" fmla="*/ 1946 h 2577"/>
                  <a:gd name="T50" fmla="*/ 2452 w 3400"/>
                  <a:gd name="T51" fmla="*/ 1821 h 2577"/>
                  <a:gd name="T52" fmla="*/ 2521 w 3400"/>
                  <a:gd name="T53" fmla="*/ 2055 h 2577"/>
                  <a:gd name="T54" fmla="*/ 2555 w 3400"/>
                  <a:gd name="T55" fmla="*/ 1883 h 2577"/>
                  <a:gd name="T56" fmla="*/ 3202 w 3400"/>
                  <a:gd name="T57" fmla="*/ 1928 h 2577"/>
                  <a:gd name="T58" fmla="*/ 3006 w 3400"/>
                  <a:gd name="T59" fmla="*/ 1854 h 2577"/>
                  <a:gd name="T60" fmla="*/ 3140 w 3400"/>
                  <a:gd name="T61" fmla="*/ 2049 h 2577"/>
                  <a:gd name="T62" fmla="*/ 2905 w 3400"/>
                  <a:gd name="T63" fmla="*/ 1964 h 2577"/>
                  <a:gd name="T64" fmla="*/ 2868 w 3400"/>
                  <a:gd name="T65" fmla="*/ 2041 h 2577"/>
                  <a:gd name="T66" fmla="*/ 2713 w 3400"/>
                  <a:gd name="T67" fmla="*/ 2051 h 2577"/>
                  <a:gd name="T68" fmla="*/ 2747 w 3400"/>
                  <a:gd name="T69" fmla="*/ 1996 h 2577"/>
                  <a:gd name="T70" fmla="*/ 3300 w 3400"/>
                  <a:gd name="T71" fmla="*/ 1805 h 2577"/>
                  <a:gd name="T72" fmla="*/ 1073 w 3400"/>
                  <a:gd name="T73" fmla="*/ 2049 h 2577"/>
                  <a:gd name="T74" fmla="*/ 2660 w 3400"/>
                  <a:gd name="T75" fmla="*/ 2279 h 2577"/>
                  <a:gd name="T76" fmla="*/ 2763 w 3400"/>
                  <a:gd name="T77" fmla="*/ 2480 h 2577"/>
                  <a:gd name="T78" fmla="*/ 2737 w 3400"/>
                  <a:gd name="T79" fmla="*/ 2285 h 2577"/>
                  <a:gd name="T80" fmla="*/ 690 w 3400"/>
                  <a:gd name="T81" fmla="*/ 2289 h 2577"/>
                  <a:gd name="T82" fmla="*/ 740 w 3400"/>
                  <a:gd name="T83" fmla="*/ 2301 h 2577"/>
                  <a:gd name="T84" fmla="*/ 222 w 3400"/>
                  <a:gd name="T85" fmla="*/ 2352 h 2577"/>
                  <a:gd name="T86" fmla="*/ 341 w 3400"/>
                  <a:gd name="T87" fmla="*/ 2395 h 2577"/>
                  <a:gd name="T88" fmla="*/ 554 w 3400"/>
                  <a:gd name="T89" fmla="*/ 2395 h 2577"/>
                  <a:gd name="T90" fmla="*/ 412 w 3400"/>
                  <a:gd name="T91" fmla="*/ 2407 h 2577"/>
                  <a:gd name="T92" fmla="*/ 484 w 3400"/>
                  <a:gd name="T93" fmla="*/ 2407 h 2577"/>
                  <a:gd name="T94" fmla="*/ 2419 w 3400"/>
                  <a:gd name="T95" fmla="*/ 2248 h 2577"/>
                  <a:gd name="T96" fmla="*/ 1758 w 3400"/>
                  <a:gd name="T97" fmla="*/ 2233 h 2577"/>
                  <a:gd name="T98" fmla="*/ 2133 w 3400"/>
                  <a:gd name="T99" fmla="*/ 2255 h 2577"/>
                  <a:gd name="T100" fmla="*/ 2204 w 3400"/>
                  <a:gd name="T101" fmla="*/ 2483 h 2577"/>
                  <a:gd name="T102" fmla="*/ 2269 w 3400"/>
                  <a:gd name="T103" fmla="*/ 2249 h 2577"/>
                  <a:gd name="T104" fmla="*/ 2204 w 3400"/>
                  <a:gd name="T105" fmla="*/ 2284 h 2577"/>
                  <a:gd name="T106" fmla="*/ 845 w 3400"/>
                  <a:gd name="T107" fmla="*/ 2131 h 2577"/>
                  <a:gd name="T108" fmla="*/ 1323 w 3400"/>
                  <a:gd name="T109" fmla="*/ 2244 h 2577"/>
                  <a:gd name="T110" fmla="*/ 1220 w 3400"/>
                  <a:gd name="T111" fmla="*/ 2299 h 2577"/>
                  <a:gd name="T112" fmla="*/ 1410 w 3400"/>
                  <a:gd name="T113" fmla="*/ 2289 h 2577"/>
                  <a:gd name="T114" fmla="*/ 1525 w 3400"/>
                  <a:gd name="T115" fmla="*/ 2477 h 2577"/>
                  <a:gd name="T116" fmla="*/ 1544 w 3400"/>
                  <a:gd name="T117" fmla="*/ 2570 h 2577"/>
                  <a:gd name="T118" fmla="*/ 1491 w 3400"/>
                  <a:gd name="T119" fmla="*/ 2424 h 2577"/>
                  <a:gd name="T120" fmla="*/ 1094 w 3400"/>
                  <a:gd name="T121" fmla="*/ 2341 h 2577"/>
                  <a:gd name="T122" fmla="*/ 437 w 3400"/>
                  <a:gd name="T123" fmla="*/ 1061 h 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00" h="2577">
                    <a:moveTo>
                      <a:pt x="283" y="1942"/>
                    </a:moveTo>
                    <a:lnTo>
                      <a:pt x="283" y="1942"/>
                    </a:lnTo>
                    <a:lnTo>
                      <a:pt x="283" y="1934"/>
                    </a:lnTo>
                    <a:lnTo>
                      <a:pt x="282" y="1927"/>
                    </a:lnTo>
                    <a:lnTo>
                      <a:pt x="278" y="1912"/>
                    </a:lnTo>
                    <a:lnTo>
                      <a:pt x="272" y="1900"/>
                    </a:lnTo>
                    <a:lnTo>
                      <a:pt x="265" y="1890"/>
                    </a:lnTo>
                    <a:lnTo>
                      <a:pt x="256" y="1883"/>
                    </a:lnTo>
                    <a:lnTo>
                      <a:pt x="248" y="1877"/>
                    </a:lnTo>
                    <a:lnTo>
                      <a:pt x="241" y="1872"/>
                    </a:lnTo>
                    <a:lnTo>
                      <a:pt x="233" y="1868"/>
                    </a:lnTo>
                    <a:lnTo>
                      <a:pt x="233" y="1868"/>
                    </a:lnTo>
                    <a:lnTo>
                      <a:pt x="242" y="1862"/>
                    </a:lnTo>
                    <a:lnTo>
                      <a:pt x="249" y="1856"/>
                    </a:lnTo>
                    <a:lnTo>
                      <a:pt x="255" y="1849"/>
                    </a:lnTo>
                    <a:lnTo>
                      <a:pt x="261" y="1840"/>
                    </a:lnTo>
                    <a:lnTo>
                      <a:pt x="266" y="1832"/>
                    </a:lnTo>
                    <a:lnTo>
                      <a:pt x="269" y="1822"/>
                    </a:lnTo>
                    <a:lnTo>
                      <a:pt x="271" y="1812"/>
                    </a:lnTo>
                    <a:lnTo>
                      <a:pt x="271" y="1801"/>
                    </a:lnTo>
                    <a:lnTo>
                      <a:pt x="271" y="1801"/>
                    </a:lnTo>
                    <a:lnTo>
                      <a:pt x="271" y="1792"/>
                    </a:lnTo>
                    <a:lnTo>
                      <a:pt x="270" y="1782"/>
                    </a:lnTo>
                    <a:lnTo>
                      <a:pt x="267" y="1773"/>
                    </a:lnTo>
                    <a:lnTo>
                      <a:pt x="265" y="1765"/>
                    </a:lnTo>
                    <a:lnTo>
                      <a:pt x="261" y="1756"/>
                    </a:lnTo>
                    <a:lnTo>
                      <a:pt x="256" y="1749"/>
                    </a:lnTo>
                    <a:lnTo>
                      <a:pt x="250" y="1743"/>
                    </a:lnTo>
                    <a:lnTo>
                      <a:pt x="244" y="1737"/>
                    </a:lnTo>
                    <a:lnTo>
                      <a:pt x="237" y="1732"/>
                    </a:lnTo>
                    <a:lnTo>
                      <a:pt x="230" y="1727"/>
                    </a:lnTo>
                    <a:lnTo>
                      <a:pt x="221" y="1724"/>
                    </a:lnTo>
                    <a:lnTo>
                      <a:pt x="211" y="1720"/>
                    </a:lnTo>
                    <a:lnTo>
                      <a:pt x="202" y="1718"/>
                    </a:lnTo>
                    <a:lnTo>
                      <a:pt x="191" y="1715"/>
                    </a:lnTo>
                    <a:lnTo>
                      <a:pt x="180" y="1715"/>
                    </a:lnTo>
                    <a:lnTo>
                      <a:pt x="168" y="1714"/>
                    </a:lnTo>
                    <a:lnTo>
                      <a:pt x="24" y="1714"/>
                    </a:lnTo>
                    <a:lnTo>
                      <a:pt x="24" y="2049"/>
                    </a:lnTo>
                    <a:lnTo>
                      <a:pt x="166" y="2049"/>
                    </a:lnTo>
                    <a:lnTo>
                      <a:pt x="166" y="2049"/>
                    </a:lnTo>
                    <a:lnTo>
                      <a:pt x="180" y="2049"/>
                    </a:lnTo>
                    <a:lnTo>
                      <a:pt x="192" y="2048"/>
                    </a:lnTo>
                    <a:lnTo>
                      <a:pt x="204" y="2046"/>
                    </a:lnTo>
                    <a:lnTo>
                      <a:pt x="215" y="2042"/>
                    </a:lnTo>
                    <a:lnTo>
                      <a:pt x="226" y="2038"/>
                    </a:lnTo>
                    <a:lnTo>
                      <a:pt x="236" y="2034"/>
                    </a:lnTo>
                    <a:lnTo>
                      <a:pt x="244" y="2028"/>
                    </a:lnTo>
                    <a:lnTo>
                      <a:pt x="252" y="2021"/>
                    </a:lnTo>
                    <a:lnTo>
                      <a:pt x="259" y="2014"/>
                    </a:lnTo>
                    <a:lnTo>
                      <a:pt x="265" y="2006"/>
                    </a:lnTo>
                    <a:lnTo>
                      <a:pt x="271" y="1997"/>
                    </a:lnTo>
                    <a:lnTo>
                      <a:pt x="275" y="1987"/>
                    </a:lnTo>
                    <a:lnTo>
                      <a:pt x="278" y="1978"/>
                    </a:lnTo>
                    <a:lnTo>
                      <a:pt x="281" y="1967"/>
                    </a:lnTo>
                    <a:lnTo>
                      <a:pt x="282" y="1955"/>
                    </a:lnTo>
                    <a:lnTo>
                      <a:pt x="283" y="1942"/>
                    </a:lnTo>
                    <a:lnTo>
                      <a:pt x="283" y="1942"/>
                    </a:lnTo>
                    <a:close/>
                    <a:moveTo>
                      <a:pt x="166" y="1993"/>
                    </a:moveTo>
                    <a:lnTo>
                      <a:pt x="86" y="1993"/>
                    </a:lnTo>
                    <a:lnTo>
                      <a:pt x="86" y="1897"/>
                    </a:lnTo>
                    <a:lnTo>
                      <a:pt x="166" y="1897"/>
                    </a:lnTo>
                    <a:lnTo>
                      <a:pt x="166" y="1897"/>
                    </a:lnTo>
                    <a:lnTo>
                      <a:pt x="179" y="1899"/>
                    </a:lnTo>
                    <a:lnTo>
                      <a:pt x="188" y="1900"/>
                    </a:lnTo>
                    <a:lnTo>
                      <a:pt x="197" y="1904"/>
                    </a:lnTo>
                    <a:lnTo>
                      <a:pt x="204" y="1910"/>
                    </a:lnTo>
                    <a:lnTo>
                      <a:pt x="210" y="1916"/>
                    </a:lnTo>
                    <a:lnTo>
                      <a:pt x="214" y="1924"/>
                    </a:lnTo>
                    <a:lnTo>
                      <a:pt x="216" y="1934"/>
                    </a:lnTo>
                    <a:lnTo>
                      <a:pt x="218" y="1945"/>
                    </a:lnTo>
                    <a:lnTo>
                      <a:pt x="218" y="1945"/>
                    </a:lnTo>
                    <a:lnTo>
                      <a:pt x="216" y="1956"/>
                    </a:lnTo>
                    <a:lnTo>
                      <a:pt x="214" y="1966"/>
                    </a:lnTo>
                    <a:lnTo>
                      <a:pt x="209" y="1974"/>
                    </a:lnTo>
                    <a:lnTo>
                      <a:pt x="204" y="1980"/>
                    </a:lnTo>
                    <a:lnTo>
                      <a:pt x="197" y="1986"/>
                    </a:lnTo>
                    <a:lnTo>
                      <a:pt x="188" y="1990"/>
                    </a:lnTo>
                    <a:lnTo>
                      <a:pt x="177" y="1992"/>
                    </a:lnTo>
                    <a:lnTo>
                      <a:pt x="166" y="1993"/>
                    </a:lnTo>
                    <a:lnTo>
                      <a:pt x="166" y="1993"/>
                    </a:lnTo>
                    <a:close/>
                    <a:moveTo>
                      <a:pt x="165" y="1843"/>
                    </a:moveTo>
                    <a:lnTo>
                      <a:pt x="86" y="1843"/>
                    </a:lnTo>
                    <a:lnTo>
                      <a:pt x="86" y="1771"/>
                    </a:lnTo>
                    <a:lnTo>
                      <a:pt x="163" y="1771"/>
                    </a:lnTo>
                    <a:lnTo>
                      <a:pt x="163" y="1771"/>
                    </a:lnTo>
                    <a:lnTo>
                      <a:pt x="173" y="1772"/>
                    </a:lnTo>
                    <a:lnTo>
                      <a:pt x="182" y="1773"/>
                    </a:lnTo>
                    <a:lnTo>
                      <a:pt x="190" y="1776"/>
                    </a:lnTo>
                    <a:lnTo>
                      <a:pt x="196" y="1780"/>
                    </a:lnTo>
                    <a:lnTo>
                      <a:pt x="201" y="1786"/>
                    </a:lnTo>
                    <a:lnTo>
                      <a:pt x="204" y="1792"/>
                    </a:lnTo>
                    <a:lnTo>
                      <a:pt x="205" y="1799"/>
                    </a:lnTo>
                    <a:lnTo>
                      <a:pt x="207" y="1807"/>
                    </a:lnTo>
                    <a:lnTo>
                      <a:pt x="207" y="1807"/>
                    </a:lnTo>
                    <a:lnTo>
                      <a:pt x="207" y="1814"/>
                    </a:lnTo>
                    <a:lnTo>
                      <a:pt x="205" y="1820"/>
                    </a:lnTo>
                    <a:lnTo>
                      <a:pt x="203" y="1826"/>
                    </a:lnTo>
                    <a:lnTo>
                      <a:pt x="199" y="1831"/>
                    </a:lnTo>
                    <a:lnTo>
                      <a:pt x="193" y="1835"/>
                    </a:lnTo>
                    <a:lnTo>
                      <a:pt x="186" y="1839"/>
                    </a:lnTo>
                    <a:lnTo>
                      <a:pt x="177" y="1842"/>
                    </a:lnTo>
                    <a:lnTo>
                      <a:pt x="165" y="1843"/>
                    </a:lnTo>
                    <a:lnTo>
                      <a:pt x="165" y="1843"/>
                    </a:lnTo>
                    <a:close/>
                    <a:moveTo>
                      <a:pt x="326" y="1944"/>
                    </a:moveTo>
                    <a:lnTo>
                      <a:pt x="326" y="1805"/>
                    </a:lnTo>
                    <a:lnTo>
                      <a:pt x="386" y="1805"/>
                    </a:lnTo>
                    <a:lnTo>
                      <a:pt x="386" y="1940"/>
                    </a:lnTo>
                    <a:lnTo>
                      <a:pt x="386" y="1940"/>
                    </a:lnTo>
                    <a:lnTo>
                      <a:pt x="386" y="1953"/>
                    </a:lnTo>
                    <a:lnTo>
                      <a:pt x="389" y="1967"/>
                    </a:lnTo>
                    <a:lnTo>
                      <a:pt x="392" y="1976"/>
                    </a:lnTo>
                    <a:lnTo>
                      <a:pt x="397" y="1985"/>
                    </a:lnTo>
                    <a:lnTo>
                      <a:pt x="403" y="1991"/>
                    </a:lnTo>
                    <a:lnTo>
                      <a:pt x="411" y="1996"/>
                    </a:lnTo>
                    <a:lnTo>
                      <a:pt x="420" y="1998"/>
                    </a:lnTo>
                    <a:lnTo>
                      <a:pt x="431" y="2000"/>
                    </a:lnTo>
                    <a:lnTo>
                      <a:pt x="431" y="2000"/>
                    </a:lnTo>
                    <a:lnTo>
                      <a:pt x="442" y="1998"/>
                    </a:lnTo>
                    <a:lnTo>
                      <a:pt x="451" y="1996"/>
                    </a:lnTo>
                    <a:lnTo>
                      <a:pt x="459" y="1991"/>
                    </a:lnTo>
                    <a:lnTo>
                      <a:pt x="465" y="1985"/>
                    </a:lnTo>
                    <a:lnTo>
                      <a:pt x="470" y="1976"/>
                    </a:lnTo>
                    <a:lnTo>
                      <a:pt x="474" y="1966"/>
                    </a:lnTo>
                    <a:lnTo>
                      <a:pt x="476" y="1953"/>
                    </a:lnTo>
                    <a:lnTo>
                      <a:pt x="476" y="1940"/>
                    </a:lnTo>
                    <a:lnTo>
                      <a:pt x="476" y="1805"/>
                    </a:lnTo>
                    <a:lnTo>
                      <a:pt x="537" y="1805"/>
                    </a:lnTo>
                    <a:lnTo>
                      <a:pt x="537" y="2049"/>
                    </a:lnTo>
                    <a:lnTo>
                      <a:pt x="476" y="2049"/>
                    </a:lnTo>
                    <a:lnTo>
                      <a:pt x="476" y="2030"/>
                    </a:lnTo>
                    <a:lnTo>
                      <a:pt x="476" y="2030"/>
                    </a:lnTo>
                    <a:lnTo>
                      <a:pt x="471" y="2036"/>
                    </a:lnTo>
                    <a:lnTo>
                      <a:pt x="464" y="2041"/>
                    </a:lnTo>
                    <a:lnTo>
                      <a:pt x="458" y="2046"/>
                    </a:lnTo>
                    <a:lnTo>
                      <a:pt x="451" y="2048"/>
                    </a:lnTo>
                    <a:lnTo>
                      <a:pt x="444" y="2052"/>
                    </a:lnTo>
                    <a:lnTo>
                      <a:pt x="435" y="2053"/>
                    </a:lnTo>
                    <a:lnTo>
                      <a:pt x="427" y="2054"/>
                    </a:lnTo>
                    <a:lnTo>
                      <a:pt x="418" y="2055"/>
                    </a:lnTo>
                    <a:lnTo>
                      <a:pt x="418" y="2055"/>
                    </a:lnTo>
                    <a:lnTo>
                      <a:pt x="403" y="2054"/>
                    </a:lnTo>
                    <a:lnTo>
                      <a:pt x="391" y="2052"/>
                    </a:lnTo>
                    <a:lnTo>
                      <a:pt x="380" y="2048"/>
                    </a:lnTo>
                    <a:lnTo>
                      <a:pt x="369" y="2043"/>
                    </a:lnTo>
                    <a:lnTo>
                      <a:pt x="361" y="2037"/>
                    </a:lnTo>
                    <a:lnTo>
                      <a:pt x="354" y="2031"/>
                    </a:lnTo>
                    <a:lnTo>
                      <a:pt x="348" y="2023"/>
                    </a:lnTo>
                    <a:lnTo>
                      <a:pt x="341" y="2014"/>
                    </a:lnTo>
                    <a:lnTo>
                      <a:pt x="338" y="2006"/>
                    </a:lnTo>
                    <a:lnTo>
                      <a:pt x="334" y="1997"/>
                    </a:lnTo>
                    <a:lnTo>
                      <a:pt x="329" y="1978"/>
                    </a:lnTo>
                    <a:lnTo>
                      <a:pt x="327" y="1959"/>
                    </a:lnTo>
                    <a:lnTo>
                      <a:pt x="326" y="1944"/>
                    </a:lnTo>
                    <a:lnTo>
                      <a:pt x="326" y="1944"/>
                    </a:lnTo>
                    <a:close/>
                    <a:moveTo>
                      <a:pt x="1249" y="2049"/>
                    </a:moveTo>
                    <a:lnTo>
                      <a:pt x="1188" y="2049"/>
                    </a:lnTo>
                    <a:lnTo>
                      <a:pt x="1188" y="1805"/>
                    </a:lnTo>
                    <a:lnTo>
                      <a:pt x="1249" y="1805"/>
                    </a:lnTo>
                    <a:lnTo>
                      <a:pt x="1249" y="1826"/>
                    </a:lnTo>
                    <a:lnTo>
                      <a:pt x="1249" y="1826"/>
                    </a:lnTo>
                    <a:lnTo>
                      <a:pt x="1255" y="1820"/>
                    </a:lnTo>
                    <a:lnTo>
                      <a:pt x="1261" y="1814"/>
                    </a:lnTo>
                    <a:lnTo>
                      <a:pt x="1269" y="1810"/>
                    </a:lnTo>
                    <a:lnTo>
                      <a:pt x="1276" y="1806"/>
                    </a:lnTo>
                    <a:lnTo>
                      <a:pt x="1284" y="1803"/>
                    </a:lnTo>
                    <a:lnTo>
                      <a:pt x="1292" y="1801"/>
                    </a:lnTo>
                    <a:lnTo>
                      <a:pt x="1301" y="1800"/>
                    </a:lnTo>
                    <a:lnTo>
                      <a:pt x="1310" y="1799"/>
                    </a:lnTo>
                    <a:lnTo>
                      <a:pt x="1310" y="1799"/>
                    </a:lnTo>
                    <a:lnTo>
                      <a:pt x="1321" y="1800"/>
                    </a:lnTo>
                    <a:lnTo>
                      <a:pt x="1331" y="1801"/>
                    </a:lnTo>
                    <a:lnTo>
                      <a:pt x="1340" y="1804"/>
                    </a:lnTo>
                    <a:lnTo>
                      <a:pt x="1349" y="1806"/>
                    </a:lnTo>
                    <a:lnTo>
                      <a:pt x="1357" y="1810"/>
                    </a:lnTo>
                    <a:lnTo>
                      <a:pt x="1365" y="1816"/>
                    </a:lnTo>
                    <a:lnTo>
                      <a:pt x="1371" y="1821"/>
                    </a:lnTo>
                    <a:lnTo>
                      <a:pt x="1377" y="1828"/>
                    </a:lnTo>
                    <a:lnTo>
                      <a:pt x="1383" y="1835"/>
                    </a:lnTo>
                    <a:lnTo>
                      <a:pt x="1386" y="1844"/>
                    </a:lnTo>
                    <a:lnTo>
                      <a:pt x="1391" y="1852"/>
                    </a:lnTo>
                    <a:lnTo>
                      <a:pt x="1394" y="1862"/>
                    </a:lnTo>
                    <a:lnTo>
                      <a:pt x="1396" y="1873"/>
                    </a:lnTo>
                    <a:lnTo>
                      <a:pt x="1399" y="1885"/>
                    </a:lnTo>
                    <a:lnTo>
                      <a:pt x="1400" y="1897"/>
                    </a:lnTo>
                    <a:lnTo>
                      <a:pt x="1400" y="1911"/>
                    </a:lnTo>
                    <a:lnTo>
                      <a:pt x="1400" y="2049"/>
                    </a:lnTo>
                    <a:lnTo>
                      <a:pt x="1339" y="2049"/>
                    </a:lnTo>
                    <a:lnTo>
                      <a:pt x="1339" y="1914"/>
                    </a:lnTo>
                    <a:lnTo>
                      <a:pt x="1339" y="1914"/>
                    </a:lnTo>
                    <a:lnTo>
                      <a:pt x="1339" y="1900"/>
                    </a:lnTo>
                    <a:lnTo>
                      <a:pt x="1337" y="1888"/>
                    </a:lnTo>
                    <a:lnTo>
                      <a:pt x="1333" y="1878"/>
                    </a:lnTo>
                    <a:lnTo>
                      <a:pt x="1328" y="1869"/>
                    </a:lnTo>
                    <a:lnTo>
                      <a:pt x="1322" y="1863"/>
                    </a:lnTo>
                    <a:lnTo>
                      <a:pt x="1315" y="1859"/>
                    </a:lnTo>
                    <a:lnTo>
                      <a:pt x="1306" y="1856"/>
                    </a:lnTo>
                    <a:lnTo>
                      <a:pt x="1295" y="1855"/>
                    </a:lnTo>
                    <a:lnTo>
                      <a:pt x="1295" y="1855"/>
                    </a:lnTo>
                    <a:lnTo>
                      <a:pt x="1284" y="1856"/>
                    </a:lnTo>
                    <a:lnTo>
                      <a:pt x="1275" y="1859"/>
                    </a:lnTo>
                    <a:lnTo>
                      <a:pt x="1267" y="1863"/>
                    </a:lnTo>
                    <a:lnTo>
                      <a:pt x="1261" y="1869"/>
                    </a:lnTo>
                    <a:lnTo>
                      <a:pt x="1255" y="1878"/>
                    </a:lnTo>
                    <a:lnTo>
                      <a:pt x="1252" y="1889"/>
                    </a:lnTo>
                    <a:lnTo>
                      <a:pt x="1249" y="1901"/>
                    </a:lnTo>
                    <a:lnTo>
                      <a:pt x="1249" y="1914"/>
                    </a:lnTo>
                    <a:lnTo>
                      <a:pt x="1249" y="2049"/>
                    </a:lnTo>
                    <a:close/>
                    <a:moveTo>
                      <a:pt x="653" y="1927"/>
                    </a:moveTo>
                    <a:lnTo>
                      <a:pt x="653" y="2049"/>
                    </a:lnTo>
                    <a:lnTo>
                      <a:pt x="592" y="2049"/>
                    </a:lnTo>
                    <a:lnTo>
                      <a:pt x="592" y="1805"/>
                    </a:lnTo>
                    <a:lnTo>
                      <a:pt x="653" y="1805"/>
                    </a:lnTo>
                    <a:lnTo>
                      <a:pt x="653" y="1927"/>
                    </a:lnTo>
                    <a:close/>
                    <a:moveTo>
                      <a:pt x="706" y="1733"/>
                    </a:moveTo>
                    <a:lnTo>
                      <a:pt x="767" y="1703"/>
                    </a:lnTo>
                    <a:lnTo>
                      <a:pt x="767" y="1924"/>
                    </a:lnTo>
                    <a:lnTo>
                      <a:pt x="767" y="2049"/>
                    </a:lnTo>
                    <a:lnTo>
                      <a:pt x="706" y="2049"/>
                    </a:lnTo>
                    <a:lnTo>
                      <a:pt x="706" y="1733"/>
                    </a:lnTo>
                    <a:close/>
                    <a:moveTo>
                      <a:pt x="959" y="1822"/>
                    </a:moveTo>
                    <a:lnTo>
                      <a:pt x="959" y="1822"/>
                    </a:lnTo>
                    <a:lnTo>
                      <a:pt x="954" y="1816"/>
                    </a:lnTo>
                    <a:lnTo>
                      <a:pt x="948" y="1812"/>
                    </a:lnTo>
                    <a:lnTo>
                      <a:pt x="941" y="1807"/>
                    </a:lnTo>
                    <a:lnTo>
                      <a:pt x="934" y="1805"/>
                    </a:lnTo>
                    <a:lnTo>
                      <a:pt x="927" y="1803"/>
                    </a:lnTo>
                    <a:lnTo>
                      <a:pt x="920" y="1800"/>
                    </a:lnTo>
                    <a:lnTo>
                      <a:pt x="905" y="1799"/>
                    </a:lnTo>
                    <a:lnTo>
                      <a:pt x="905" y="1799"/>
                    </a:lnTo>
                    <a:lnTo>
                      <a:pt x="894" y="1800"/>
                    </a:lnTo>
                    <a:lnTo>
                      <a:pt x="883" y="1801"/>
                    </a:lnTo>
                    <a:lnTo>
                      <a:pt x="874" y="1804"/>
                    </a:lnTo>
                    <a:lnTo>
                      <a:pt x="865" y="1807"/>
                    </a:lnTo>
                    <a:lnTo>
                      <a:pt x="857" y="1812"/>
                    </a:lnTo>
                    <a:lnTo>
                      <a:pt x="848" y="1818"/>
                    </a:lnTo>
                    <a:lnTo>
                      <a:pt x="841" y="1826"/>
                    </a:lnTo>
                    <a:lnTo>
                      <a:pt x="835" y="1833"/>
                    </a:lnTo>
                    <a:lnTo>
                      <a:pt x="829" y="1842"/>
                    </a:lnTo>
                    <a:lnTo>
                      <a:pt x="824" y="1851"/>
                    </a:lnTo>
                    <a:lnTo>
                      <a:pt x="819" y="1861"/>
                    </a:lnTo>
                    <a:lnTo>
                      <a:pt x="815" y="1872"/>
                    </a:lnTo>
                    <a:lnTo>
                      <a:pt x="813" y="1884"/>
                    </a:lnTo>
                    <a:lnTo>
                      <a:pt x="811" y="1897"/>
                    </a:lnTo>
                    <a:lnTo>
                      <a:pt x="809" y="1911"/>
                    </a:lnTo>
                    <a:lnTo>
                      <a:pt x="809" y="1924"/>
                    </a:lnTo>
                    <a:lnTo>
                      <a:pt x="809" y="1924"/>
                    </a:lnTo>
                    <a:lnTo>
                      <a:pt x="809" y="1940"/>
                    </a:lnTo>
                    <a:lnTo>
                      <a:pt x="811" y="1953"/>
                    </a:lnTo>
                    <a:lnTo>
                      <a:pt x="813" y="1967"/>
                    </a:lnTo>
                    <a:lnTo>
                      <a:pt x="815" y="1979"/>
                    </a:lnTo>
                    <a:lnTo>
                      <a:pt x="819" y="1991"/>
                    </a:lnTo>
                    <a:lnTo>
                      <a:pt x="823" y="2002"/>
                    </a:lnTo>
                    <a:lnTo>
                      <a:pt x="828" y="2012"/>
                    </a:lnTo>
                    <a:lnTo>
                      <a:pt x="834" y="2020"/>
                    </a:lnTo>
                    <a:lnTo>
                      <a:pt x="841" y="2029"/>
                    </a:lnTo>
                    <a:lnTo>
                      <a:pt x="847" y="2035"/>
                    </a:lnTo>
                    <a:lnTo>
                      <a:pt x="855" y="2041"/>
                    </a:lnTo>
                    <a:lnTo>
                      <a:pt x="864" y="2046"/>
                    </a:lnTo>
                    <a:lnTo>
                      <a:pt x="872" y="2049"/>
                    </a:lnTo>
                    <a:lnTo>
                      <a:pt x="882" y="2053"/>
                    </a:lnTo>
                    <a:lnTo>
                      <a:pt x="893" y="2054"/>
                    </a:lnTo>
                    <a:lnTo>
                      <a:pt x="904" y="2055"/>
                    </a:lnTo>
                    <a:lnTo>
                      <a:pt x="904" y="2055"/>
                    </a:lnTo>
                    <a:lnTo>
                      <a:pt x="911" y="2054"/>
                    </a:lnTo>
                    <a:lnTo>
                      <a:pt x="919" y="2053"/>
                    </a:lnTo>
                    <a:lnTo>
                      <a:pt x="926" y="2052"/>
                    </a:lnTo>
                    <a:lnTo>
                      <a:pt x="933" y="2049"/>
                    </a:lnTo>
                    <a:lnTo>
                      <a:pt x="939" y="2046"/>
                    </a:lnTo>
                    <a:lnTo>
                      <a:pt x="947" y="2042"/>
                    </a:lnTo>
                    <a:lnTo>
                      <a:pt x="953" y="2037"/>
                    </a:lnTo>
                    <a:lnTo>
                      <a:pt x="959" y="2031"/>
                    </a:lnTo>
                    <a:lnTo>
                      <a:pt x="959" y="2049"/>
                    </a:lnTo>
                    <a:lnTo>
                      <a:pt x="1020" y="2049"/>
                    </a:lnTo>
                    <a:lnTo>
                      <a:pt x="1020" y="1703"/>
                    </a:lnTo>
                    <a:lnTo>
                      <a:pt x="959" y="1733"/>
                    </a:lnTo>
                    <a:lnTo>
                      <a:pt x="959" y="1822"/>
                    </a:lnTo>
                    <a:close/>
                    <a:moveTo>
                      <a:pt x="916" y="2000"/>
                    </a:moveTo>
                    <a:lnTo>
                      <a:pt x="916" y="2000"/>
                    </a:lnTo>
                    <a:lnTo>
                      <a:pt x="909" y="1998"/>
                    </a:lnTo>
                    <a:lnTo>
                      <a:pt x="900" y="1996"/>
                    </a:lnTo>
                    <a:lnTo>
                      <a:pt x="893" y="1992"/>
                    </a:lnTo>
                    <a:lnTo>
                      <a:pt x="886" y="1985"/>
                    </a:lnTo>
                    <a:lnTo>
                      <a:pt x="880" y="1975"/>
                    </a:lnTo>
                    <a:lnTo>
                      <a:pt x="875" y="1962"/>
                    </a:lnTo>
                    <a:lnTo>
                      <a:pt x="871" y="1945"/>
                    </a:lnTo>
                    <a:lnTo>
                      <a:pt x="870" y="1923"/>
                    </a:lnTo>
                    <a:lnTo>
                      <a:pt x="870" y="1923"/>
                    </a:lnTo>
                    <a:lnTo>
                      <a:pt x="871" y="1904"/>
                    </a:lnTo>
                    <a:lnTo>
                      <a:pt x="875" y="1889"/>
                    </a:lnTo>
                    <a:lnTo>
                      <a:pt x="880" y="1877"/>
                    </a:lnTo>
                    <a:lnTo>
                      <a:pt x="886" y="1868"/>
                    </a:lnTo>
                    <a:lnTo>
                      <a:pt x="892" y="1861"/>
                    </a:lnTo>
                    <a:lnTo>
                      <a:pt x="900" y="1857"/>
                    </a:lnTo>
                    <a:lnTo>
                      <a:pt x="908" y="1855"/>
                    </a:lnTo>
                    <a:lnTo>
                      <a:pt x="916" y="1855"/>
                    </a:lnTo>
                    <a:lnTo>
                      <a:pt x="916" y="1855"/>
                    </a:lnTo>
                    <a:lnTo>
                      <a:pt x="924" y="1855"/>
                    </a:lnTo>
                    <a:lnTo>
                      <a:pt x="931" y="1857"/>
                    </a:lnTo>
                    <a:lnTo>
                      <a:pt x="938" y="1860"/>
                    </a:lnTo>
                    <a:lnTo>
                      <a:pt x="943" y="1863"/>
                    </a:lnTo>
                    <a:lnTo>
                      <a:pt x="948" y="1867"/>
                    </a:lnTo>
                    <a:lnTo>
                      <a:pt x="953" y="1871"/>
                    </a:lnTo>
                    <a:lnTo>
                      <a:pt x="959" y="1879"/>
                    </a:lnTo>
                    <a:lnTo>
                      <a:pt x="959" y="1975"/>
                    </a:lnTo>
                    <a:lnTo>
                      <a:pt x="959" y="1975"/>
                    </a:lnTo>
                    <a:lnTo>
                      <a:pt x="951" y="1984"/>
                    </a:lnTo>
                    <a:lnTo>
                      <a:pt x="943" y="1991"/>
                    </a:lnTo>
                    <a:lnTo>
                      <a:pt x="938" y="1995"/>
                    </a:lnTo>
                    <a:lnTo>
                      <a:pt x="931" y="1997"/>
                    </a:lnTo>
                    <a:lnTo>
                      <a:pt x="925" y="1998"/>
                    </a:lnTo>
                    <a:lnTo>
                      <a:pt x="916" y="2000"/>
                    </a:lnTo>
                    <a:lnTo>
                      <a:pt x="916" y="2000"/>
                    </a:lnTo>
                    <a:close/>
                    <a:moveTo>
                      <a:pt x="2278" y="1799"/>
                    </a:moveTo>
                    <a:lnTo>
                      <a:pt x="2278" y="1799"/>
                    </a:lnTo>
                    <a:lnTo>
                      <a:pt x="2272" y="1800"/>
                    </a:lnTo>
                    <a:lnTo>
                      <a:pt x="2265" y="1801"/>
                    </a:lnTo>
                    <a:lnTo>
                      <a:pt x="2250" y="1805"/>
                    </a:lnTo>
                    <a:lnTo>
                      <a:pt x="2237" y="1812"/>
                    </a:lnTo>
                    <a:lnTo>
                      <a:pt x="2225" y="1822"/>
                    </a:lnTo>
                    <a:lnTo>
                      <a:pt x="2225" y="1709"/>
                    </a:lnTo>
                    <a:lnTo>
                      <a:pt x="2164" y="1739"/>
                    </a:lnTo>
                    <a:lnTo>
                      <a:pt x="2164" y="2049"/>
                    </a:lnTo>
                    <a:lnTo>
                      <a:pt x="2225" y="2049"/>
                    </a:lnTo>
                    <a:lnTo>
                      <a:pt x="2225" y="2031"/>
                    </a:lnTo>
                    <a:lnTo>
                      <a:pt x="2225" y="2031"/>
                    </a:lnTo>
                    <a:lnTo>
                      <a:pt x="2230" y="2037"/>
                    </a:lnTo>
                    <a:lnTo>
                      <a:pt x="2237" y="2042"/>
                    </a:lnTo>
                    <a:lnTo>
                      <a:pt x="2243" y="2046"/>
                    </a:lnTo>
                    <a:lnTo>
                      <a:pt x="2250" y="2049"/>
                    </a:lnTo>
                    <a:lnTo>
                      <a:pt x="2257" y="2052"/>
                    </a:lnTo>
                    <a:lnTo>
                      <a:pt x="2265" y="2053"/>
                    </a:lnTo>
                    <a:lnTo>
                      <a:pt x="2272" y="2054"/>
                    </a:lnTo>
                    <a:lnTo>
                      <a:pt x="2280" y="2055"/>
                    </a:lnTo>
                    <a:lnTo>
                      <a:pt x="2280" y="2055"/>
                    </a:lnTo>
                    <a:lnTo>
                      <a:pt x="2291" y="2054"/>
                    </a:lnTo>
                    <a:lnTo>
                      <a:pt x="2302" y="2053"/>
                    </a:lnTo>
                    <a:lnTo>
                      <a:pt x="2311" y="2051"/>
                    </a:lnTo>
                    <a:lnTo>
                      <a:pt x="2321" y="2046"/>
                    </a:lnTo>
                    <a:lnTo>
                      <a:pt x="2329" y="2041"/>
                    </a:lnTo>
                    <a:lnTo>
                      <a:pt x="2337" y="2036"/>
                    </a:lnTo>
                    <a:lnTo>
                      <a:pt x="2344" y="2029"/>
                    </a:lnTo>
                    <a:lnTo>
                      <a:pt x="2350" y="2021"/>
                    </a:lnTo>
                    <a:lnTo>
                      <a:pt x="2356" y="2012"/>
                    </a:lnTo>
                    <a:lnTo>
                      <a:pt x="2361" y="2002"/>
                    </a:lnTo>
                    <a:lnTo>
                      <a:pt x="2365" y="1991"/>
                    </a:lnTo>
                    <a:lnTo>
                      <a:pt x="2368" y="1980"/>
                    </a:lnTo>
                    <a:lnTo>
                      <a:pt x="2372" y="1968"/>
                    </a:lnTo>
                    <a:lnTo>
                      <a:pt x="2373" y="1955"/>
                    </a:lnTo>
                    <a:lnTo>
                      <a:pt x="2374" y="1940"/>
                    </a:lnTo>
                    <a:lnTo>
                      <a:pt x="2376" y="1924"/>
                    </a:lnTo>
                    <a:lnTo>
                      <a:pt x="2376" y="1924"/>
                    </a:lnTo>
                    <a:lnTo>
                      <a:pt x="2374" y="1911"/>
                    </a:lnTo>
                    <a:lnTo>
                      <a:pt x="2373" y="1897"/>
                    </a:lnTo>
                    <a:lnTo>
                      <a:pt x="2371" y="1884"/>
                    </a:lnTo>
                    <a:lnTo>
                      <a:pt x="2368" y="1872"/>
                    </a:lnTo>
                    <a:lnTo>
                      <a:pt x="2365" y="1861"/>
                    </a:lnTo>
                    <a:lnTo>
                      <a:pt x="2360" y="1851"/>
                    </a:lnTo>
                    <a:lnTo>
                      <a:pt x="2355" y="1842"/>
                    </a:lnTo>
                    <a:lnTo>
                      <a:pt x="2349" y="1833"/>
                    </a:lnTo>
                    <a:lnTo>
                      <a:pt x="2343" y="1826"/>
                    </a:lnTo>
                    <a:lnTo>
                      <a:pt x="2336" y="1818"/>
                    </a:lnTo>
                    <a:lnTo>
                      <a:pt x="2327" y="1812"/>
                    </a:lnTo>
                    <a:lnTo>
                      <a:pt x="2319" y="1807"/>
                    </a:lnTo>
                    <a:lnTo>
                      <a:pt x="2310" y="1804"/>
                    </a:lnTo>
                    <a:lnTo>
                      <a:pt x="2300" y="1801"/>
                    </a:lnTo>
                    <a:lnTo>
                      <a:pt x="2289" y="1800"/>
                    </a:lnTo>
                    <a:lnTo>
                      <a:pt x="2278" y="1799"/>
                    </a:lnTo>
                    <a:lnTo>
                      <a:pt x="2278" y="1799"/>
                    </a:lnTo>
                    <a:close/>
                    <a:moveTo>
                      <a:pt x="2267" y="1855"/>
                    </a:moveTo>
                    <a:lnTo>
                      <a:pt x="2267" y="1855"/>
                    </a:lnTo>
                    <a:lnTo>
                      <a:pt x="2276" y="1856"/>
                    </a:lnTo>
                    <a:lnTo>
                      <a:pt x="2284" y="1859"/>
                    </a:lnTo>
                    <a:lnTo>
                      <a:pt x="2292" y="1863"/>
                    </a:lnTo>
                    <a:lnTo>
                      <a:pt x="2299" y="1871"/>
                    </a:lnTo>
                    <a:lnTo>
                      <a:pt x="2305" y="1879"/>
                    </a:lnTo>
                    <a:lnTo>
                      <a:pt x="2309" y="1891"/>
                    </a:lnTo>
                    <a:lnTo>
                      <a:pt x="2312" y="1906"/>
                    </a:lnTo>
                    <a:lnTo>
                      <a:pt x="2314" y="1923"/>
                    </a:lnTo>
                    <a:lnTo>
                      <a:pt x="2314" y="1923"/>
                    </a:lnTo>
                    <a:lnTo>
                      <a:pt x="2312" y="1941"/>
                    </a:lnTo>
                    <a:lnTo>
                      <a:pt x="2310" y="1957"/>
                    </a:lnTo>
                    <a:lnTo>
                      <a:pt x="2308" y="1969"/>
                    </a:lnTo>
                    <a:lnTo>
                      <a:pt x="2303" y="1980"/>
                    </a:lnTo>
                    <a:lnTo>
                      <a:pt x="2295" y="1989"/>
                    </a:lnTo>
                    <a:lnTo>
                      <a:pt x="2288" y="1995"/>
                    </a:lnTo>
                    <a:lnTo>
                      <a:pt x="2280" y="1998"/>
                    </a:lnTo>
                    <a:lnTo>
                      <a:pt x="2269" y="2000"/>
                    </a:lnTo>
                    <a:lnTo>
                      <a:pt x="2269" y="2000"/>
                    </a:lnTo>
                    <a:lnTo>
                      <a:pt x="2260" y="1998"/>
                    </a:lnTo>
                    <a:lnTo>
                      <a:pt x="2253" y="1997"/>
                    </a:lnTo>
                    <a:lnTo>
                      <a:pt x="2247" y="1993"/>
                    </a:lnTo>
                    <a:lnTo>
                      <a:pt x="2241" y="1991"/>
                    </a:lnTo>
                    <a:lnTo>
                      <a:pt x="2231" y="1983"/>
                    </a:lnTo>
                    <a:lnTo>
                      <a:pt x="2225" y="1976"/>
                    </a:lnTo>
                    <a:lnTo>
                      <a:pt x="2225" y="1879"/>
                    </a:lnTo>
                    <a:lnTo>
                      <a:pt x="2225" y="1879"/>
                    </a:lnTo>
                    <a:lnTo>
                      <a:pt x="2229" y="1874"/>
                    </a:lnTo>
                    <a:lnTo>
                      <a:pt x="2233" y="1869"/>
                    </a:lnTo>
                    <a:lnTo>
                      <a:pt x="2238" y="1865"/>
                    </a:lnTo>
                    <a:lnTo>
                      <a:pt x="2243" y="1861"/>
                    </a:lnTo>
                    <a:lnTo>
                      <a:pt x="2249" y="1859"/>
                    </a:lnTo>
                    <a:lnTo>
                      <a:pt x="2255" y="1856"/>
                    </a:lnTo>
                    <a:lnTo>
                      <a:pt x="2261" y="1855"/>
                    </a:lnTo>
                    <a:lnTo>
                      <a:pt x="2267" y="1855"/>
                    </a:lnTo>
                    <a:lnTo>
                      <a:pt x="2267" y="1855"/>
                    </a:lnTo>
                    <a:close/>
                    <a:moveTo>
                      <a:pt x="1591" y="1822"/>
                    </a:moveTo>
                    <a:lnTo>
                      <a:pt x="1591" y="1822"/>
                    </a:lnTo>
                    <a:lnTo>
                      <a:pt x="1586" y="1817"/>
                    </a:lnTo>
                    <a:lnTo>
                      <a:pt x="1580" y="1812"/>
                    </a:lnTo>
                    <a:lnTo>
                      <a:pt x="1572" y="1809"/>
                    </a:lnTo>
                    <a:lnTo>
                      <a:pt x="1566" y="1805"/>
                    </a:lnTo>
                    <a:lnTo>
                      <a:pt x="1559" y="1803"/>
                    </a:lnTo>
                    <a:lnTo>
                      <a:pt x="1552" y="1800"/>
                    </a:lnTo>
                    <a:lnTo>
                      <a:pt x="1544" y="1800"/>
                    </a:lnTo>
                    <a:lnTo>
                      <a:pt x="1537" y="1799"/>
                    </a:lnTo>
                    <a:lnTo>
                      <a:pt x="1537" y="1799"/>
                    </a:lnTo>
                    <a:lnTo>
                      <a:pt x="1526" y="1800"/>
                    </a:lnTo>
                    <a:lnTo>
                      <a:pt x="1515" y="1801"/>
                    </a:lnTo>
                    <a:lnTo>
                      <a:pt x="1506" y="1804"/>
                    </a:lnTo>
                    <a:lnTo>
                      <a:pt x="1497" y="1807"/>
                    </a:lnTo>
                    <a:lnTo>
                      <a:pt x="1489" y="1812"/>
                    </a:lnTo>
                    <a:lnTo>
                      <a:pt x="1480" y="1818"/>
                    </a:lnTo>
                    <a:lnTo>
                      <a:pt x="1473" y="1826"/>
                    </a:lnTo>
                    <a:lnTo>
                      <a:pt x="1467" y="1833"/>
                    </a:lnTo>
                    <a:lnTo>
                      <a:pt x="1461" y="1842"/>
                    </a:lnTo>
                    <a:lnTo>
                      <a:pt x="1456" y="1851"/>
                    </a:lnTo>
                    <a:lnTo>
                      <a:pt x="1451" y="1861"/>
                    </a:lnTo>
                    <a:lnTo>
                      <a:pt x="1447" y="1872"/>
                    </a:lnTo>
                    <a:lnTo>
                      <a:pt x="1445" y="1884"/>
                    </a:lnTo>
                    <a:lnTo>
                      <a:pt x="1442" y="1897"/>
                    </a:lnTo>
                    <a:lnTo>
                      <a:pt x="1441" y="1911"/>
                    </a:lnTo>
                    <a:lnTo>
                      <a:pt x="1441" y="1924"/>
                    </a:lnTo>
                    <a:lnTo>
                      <a:pt x="1441" y="1924"/>
                    </a:lnTo>
                    <a:lnTo>
                      <a:pt x="1441" y="1940"/>
                    </a:lnTo>
                    <a:lnTo>
                      <a:pt x="1442" y="1953"/>
                    </a:lnTo>
                    <a:lnTo>
                      <a:pt x="1445" y="1967"/>
                    </a:lnTo>
                    <a:lnTo>
                      <a:pt x="1447" y="1979"/>
                    </a:lnTo>
                    <a:lnTo>
                      <a:pt x="1451" y="1991"/>
                    </a:lnTo>
                    <a:lnTo>
                      <a:pt x="1455" y="2002"/>
                    </a:lnTo>
                    <a:lnTo>
                      <a:pt x="1461" y="2012"/>
                    </a:lnTo>
                    <a:lnTo>
                      <a:pt x="1465" y="2020"/>
                    </a:lnTo>
                    <a:lnTo>
                      <a:pt x="1473" y="2029"/>
                    </a:lnTo>
                    <a:lnTo>
                      <a:pt x="1479" y="2035"/>
                    </a:lnTo>
                    <a:lnTo>
                      <a:pt x="1487" y="2041"/>
                    </a:lnTo>
                    <a:lnTo>
                      <a:pt x="1496" y="2046"/>
                    </a:lnTo>
                    <a:lnTo>
                      <a:pt x="1504" y="2049"/>
                    </a:lnTo>
                    <a:lnTo>
                      <a:pt x="1514" y="2053"/>
                    </a:lnTo>
                    <a:lnTo>
                      <a:pt x="1525" y="2054"/>
                    </a:lnTo>
                    <a:lnTo>
                      <a:pt x="1536" y="2054"/>
                    </a:lnTo>
                    <a:lnTo>
                      <a:pt x="1536" y="2054"/>
                    </a:lnTo>
                    <a:lnTo>
                      <a:pt x="1543" y="2054"/>
                    </a:lnTo>
                    <a:lnTo>
                      <a:pt x="1551" y="2053"/>
                    </a:lnTo>
                    <a:lnTo>
                      <a:pt x="1558" y="2052"/>
                    </a:lnTo>
                    <a:lnTo>
                      <a:pt x="1565" y="2049"/>
                    </a:lnTo>
                    <a:lnTo>
                      <a:pt x="1572" y="2046"/>
                    </a:lnTo>
                    <a:lnTo>
                      <a:pt x="1578" y="2041"/>
                    </a:lnTo>
                    <a:lnTo>
                      <a:pt x="1585" y="2037"/>
                    </a:lnTo>
                    <a:lnTo>
                      <a:pt x="1591" y="2031"/>
                    </a:lnTo>
                    <a:lnTo>
                      <a:pt x="1591" y="2037"/>
                    </a:lnTo>
                    <a:lnTo>
                      <a:pt x="1591" y="2037"/>
                    </a:lnTo>
                    <a:lnTo>
                      <a:pt x="1591" y="2047"/>
                    </a:lnTo>
                    <a:lnTo>
                      <a:pt x="1589" y="2058"/>
                    </a:lnTo>
                    <a:lnTo>
                      <a:pt x="1587" y="2069"/>
                    </a:lnTo>
                    <a:lnTo>
                      <a:pt x="1585" y="2074"/>
                    </a:lnTo>
                    <a:lnTo>
                      <a:pt x="1581" y="2079"/>
                    </a:lnTo>
                    <a:lnTo>
                      <a:pt x="1577" y="2083"/>
                    </a:lnTo>
                    <a:lnTo>
                      <a:pt x="1572" y="2088"/>
                    </a:lnTo>
                    <a:lnTo>
                      <a:pt x="1565" y="2092"/>
                    </a:lnTo>
                    <a:lnTo>
                      <a:pt x="1558" y="2094"/>
                    </a:lnTo>
                    <a:lnTo>
                      <a:pt x="1549" y="2098"/>
                    </a:lnTo>
                    <a:lnTo>
                      <a:pt x="1538" y="2099"/>
                    </a:lnTo>
                    <a:lnTo>
                      <a:pt x="1526" y="2102"/>
                    </a:lnTo>
                    <a:lnTo>
                      <a:pt x="1513" y="2102"/>
                    </a:lnTo>
                    <a:lnTo>
                      <a:pt x="1510" y="2102"/>
                    </a:lnTo>
                    <a:lnTo>
                      <a:pt x="1531" y="2149"/>
                    </a:lnTo>
                    <a:lnTo>
                      <a:pt x="1532" y="2149"/>
                    </a:lnTo>
                    <a:lnTo>
                      <a:pt x="1532" y="2149"/>
                    </a:lnTo>
                    <a:lnTo>
                      <a:pt x="1547" y="2149"/>
                    </a:lnTo>
                    <a:lnTo>
                      <a:pt x="1560" y="2147"/>
                    </a:lnTo>
                    <a:lnTo>
                      <a:pt x="1574" y="2144"/>
                    </a:lnTo>
                    <a:lnTo>
                      <a:pt x="1585" y="2141"/>
                    </a:lnTo>
                    <a:lnTo>
                      <a:pt x="1595" y="2137"/>
                    </a:lnTo>
                    <a:lnTo>
                      <a:pt x="1605" y="2132"/>
                    </a:lnTo>
                    <a:lnTo>
                      <a:pt x="1614" y="2125"/>
                    </a:lnTo>
                    <a:lnTo>
                      <a:pt x="1622" y="2119"/>
                    </a:lnTo>
                    <a:lnTo>
                      <a:pt x="1630" y="2110"/>
                    </a:lnTo>
                    <a:lnTo>
                      <a:pt x="1634" y="2100"/>
                    </a:lnTo>
                    <a:lnTo>
                      <a:pt x="1640" y="2091"/>
                    </a:lnTo>
                    <a:lnTo>
                      <a:pt x="1644" y="2080"/>
                    </a:lnTo>
                    <a:lnTo>
                      <a:pt x="1648" y="2068"/>
                    </a:lnTo>
                    <a:lnTo>
                      <a:pt x="1650" y="2055"/>
                    </a:lnTo>
                    <a:lnTo>
                      <a:pt x="1651" y="2042"/>
                    </a:lnTo>
                    <a:lnTo>
                      <a:pt x="1651" y="2026"/>
                    </a:lnTo>
                    <a:lnTo>
                      <a:pt x="1651" y="1805"/>
                    </a:lnTo>
                    <a:lnTo>
                      <a:pt x="1591" y="1805"/>
                    </a:lnTo>
                    <a:lnTo>
                      <a:pt x="1591" y="1822"/>
                    </a:lnTo>
                    <a:close/>
                    <a:moveTo>
                      <a:pt x="1591" y="1879"/>
                    </a:moveTo>
                    <a:lnTo>
                      <a:pt x="1591" y="1975"/>
                    </a:lnTo>
                    <a:lnTo>
                      <a:pt x="1591" y="1975"/>
                    </a:lnTo>
                    <a:lnTo>
                      <a:pt x="1583" y="1984"/>
                    </a:lnTo>
                    <a:lnTo>
                      <a:pt x="1574" y="1992"/>
                    </a:lnTo>
                    <a:lnTo>
                      <a:pt x="1569" y="1995"/>
                    </a:lnTo>
                    <a:lnTo>
                      <a:pt x="1563" y="1997"/>
                    </a:lnTo>
                    <a:lnTo>
                      <a:pt x="1555" y="1998"/>
                    </a:lnTo>
                    <a:lnTo>
                      <a:pt x="1548" y="2000"/>
                    </a:lnTo>
                    <a:lnTo>
                      <a:pt x="1548" y="2000"/>
                    </a:lnTo>
                    <a:lnTo>
                      <a:pt x="1540" y="1998"/>
                    </a:lnTo>
                    <a:lnTo>
                      <a:pt x="1532" y="1996"/>
                    </a:lnTo>
                    <a:lnTo>
                      <a:pt x="1524" y="1991"/>
                    </a:lnTo>
                    <a:lnTo>
                      <a:pt x="1518" y="1985"/>
                    </a:lnTo>
                    <a:lnTo>
                      <a:pt x="1512" y="1975"/>
                    </a:lnTo>
                    <a:lnTo>
                      <a:pt x="1507" y="1962"/>
                    </a:lnTo>
                    <a:lnTo>
                      <a:pt x="1503" y="1945"/>
                    </a:lnTo>
                    <a:lnTo>
                      <a:pt x="1502" y="1923"/>
                    </a:lnTo>
                    <a:lnTo>
                      <a:pt x="1502" y="1923"/>
                    </a:lnTo>
                    <a:lnTo>
                      <a:pt x="1503" y="1904"/>
                    </a:lnTo>
                    <a:lnTo>
                      <a:pt x="1507" y="1889"/>
                    </a:lnTo>
                    <a:lnTo>
                      <a:pt x="1512" y="1877"/>
                    </a:lnTo>
                    <a:lnTo>
                      <a:pt x="1518" y="1868"/>
                    </a:lnTo>
                    <a:lnTo>
                      <a:pt x="1524" y="1861"/>
                    </a:lnTo>
                    <a:lnTo>
                      <a:pt x="1532" y="1857"/>
                    </a:lnTo>
                    <a:lnTo>
                      <a:pt x="1540" y="1855"/>
                    </a:lnTo>
                    <a:lnTo>
                      <a:pt x="1548" y="1855"/>
                    </a:lnTo>
                    <a:lnTo>
                      <a:pt x="1548" y="1855"/>
                    </a:lnTo>
                    <a:lnTo>
                      <a:pt x="1555" y="1855"/>
                    </a:lnTo>
                    <a:lnTo>
                      <a:pt x="1563" y="1857"/>
                    </a:lnTo>
                    <a:lnTo>
                      <a:pt x="1570" y="1860"/>
                    </a:lnTo>
                    <a:lnTo>
                      <a:pt x="1575" y="1862"/>
                    </a:lnTo>
                    <a:lnTo>
                      <a:pt x="1580" y="1867"/>
                    </a:lnTo>
                    <a:lnTo>
                      <a:pt x="1585" y="1871"/>
                    </a:lnTo>
                    <a:lnTo>
                      <a:pt x="1591" y="1879"/>
                    </a:lnTo>
                    <a:lnTo>
                      <a:pt x="1591" y="1879"/>
                    </a:lnTo>
                    <a:close/>
                    <a:moveTo>
                      <a:pt x="1840" y="1865"/>
                    </a:moveTo>
                    <a:lnTo>
                      <a:pt x="1840" y="1865"/>
                    </a:lnTo>
                    <a:lnTo>
                      <a:pt x="1854" y="1857"/>
                    </a:lnTo>
                    <a:lnTo>
                      <a:pt x="1869" y="1852"/>
                    </a:lnTo>
                    <a:lnTo>
                      <a:pt x="1885" y="1849"/>
                    </a:lnTo>
                    <a:lnTo>
                      <a:pt x="1902" y="1848"/>
                    </a:lnTo>
                    <a:lnTo>
                      <a:pt x="1902" y="1848"/>
                    </a:lnTo>
                    <a:lnTo>
                      <a:pt x="1913" y="1849"/>
                    </a:lnTo>
                    <a:lnTo>
                      <a:pt x="1921" y="1850"/>
                    </a:lnTo>
                    <a:lnTo>
                      <a:pt x="1928" y="1852"/>
                    </a:lnTo>
                    <a:lnTo>
                      <a:pt x="1935" y="1857"/>
                    </a:lnTo>
                    <a:lnTo>
                      <a:pt x="1939" y="1862"/>
                    </a:lnTo>
                    <a:lnTo>
                      <a:pt x="1943" y="1868"/>
                    </a:lnTo>
                    <a:lnTo>
                      <a:pt x="1945" y="1874"/>
                    </a:lnTo>
                    <a:lnTo>
                      <a:pt x="1945" y="1883"/>
                    </a:lnTo>
                    <a:lnTo>
                      <a:pt x="1945" y="1900"/>
                    </a:lnTo>
                    <a:lnTo>
                      <a:pt x="1945" y="1900"/>
                    </a:lnTo>
                    <a:lnTo>
                      <a:pt x="1935" y="1895"/>
                    </a:lnTo>
                    <a:lnTo>
                      <a:pt x="1921" y="1891"/>
                    </a:lnTo>
                    <a:lnTo>
                      <a:pt x="1908" y="1889"/>
                    </a:lnTo>
                    <a:lnTo>
                      <a:pt x="1893" y="1888"/>
                    </a:lnTo>
                    <a:lnTo>
                      <a:pt x="1893" y="1888"/>
                    </a:lnTo>
                    <a:lnTo>
                      <a:pt x="1876" y="1889"/>
                    </a:lnTo>
                    <a:lnTo>
                      <a:pt x="1859" y="1893"/>
                    </a:lnTo>
                    <a:lnTo>
                      <a:pt x="1843" y="1897"/>
                    </a:lnTo>
                    <a:lnTo>
                      <a:pt x="1835" y="1901"/>
                    </a:lnTo>
                    <a:lnTo>
                      <a:pt x="1828" y="1906"/>
                    </a:lnTo>
                    <a:lnTo>
                      <a:pt x="1822" y="1911"/>
                    </a:lnTo>
                    <a:lnTo>
                      <a:pt x="1815" y="1917"/>
                    </a:lnTo>
                    <a:lnTo>
                      <a:pt x="1809" y="1923"/>
                    </a:lnTo>
                    <a:lnTo>
                      <a:pt x="1805" y="1930"/>
                    </a:lnTo>
                    <a:lnTo>
                      <a:pt x="1801" y="1939"/>
                    </a:lnTo>
                    <a:lnTo>
                      <a:pt x="1798" y="1948"/>
                    </a:lnTo>
                    <a:lnTo>
                      <a:pt x="1797" y="1958"/>
                    </a:lnTo>
                    <a:lnTo>
                      <a:pt x="1796" y="1968"/>
                    </a:lnTo>
                    <a:lnTo>
                      <a:pt x="1796" y="1968"/>
                    </a:lnTo>
                    <a:lnTo>
                      <a:pt x="1797" y="1980"/>
                    </a:lnTo>
                    <a:lnTo>
                      <a:pt x="1798" y="1991"/>
                    </a:lnTo>
                    <a:lnTo>
                      <a:pt x="1801" y="2000"/>
                    </a:lnTo>
                    <a:lnTo>
                      <a:pt x="1805" y="2009"/>
                    </a:lnTo>
                    <a:lnTo>
                      <a:pt x="1808" y="2017"/>
                    </a:lnTo>
                    <a:lnTo>
                      <a:pt x="1814" y="2024"/>
                    </a:lnTo>
                    <a:lnTo>
                      <a:pt x="1819" y="2030"/>
                    </a:lnTo>
                    <a:lnTo>
                      <a:pt x="1826" y="2036"/>
                    </a:lnTo>
                    <a:lnTo>
                      <a:pt x="1832" y="2041"/>
                    </a:lnTo>
                    <a:lnTo>
                      <a:pt x="1840" y="2045"/>
                    </a:lnTo>
                    <a:lnTo>
                      <a:pt x="1856" y="2051"/>
                    </a:lnTo>
                    <a:lnTo>
                      <a:pt x="1871" y="2054"/>
                    </a:lnTo>
                    <a:lnTo>
                      <a:pt x="1887" y="2055"/>
                    </a:lnTo>
                    <a:lnTo>
                      <a:pt x="1887" y="2055"/>
                    </a:lnTo>
                    <a:lnTo>
                      <a:pt x="1901" y="2053"/>
                    </a:lnTo>
                    <a:lnTo>
                      <a:pt x="1909" y="2052"/>
                    </a:lnTo>
                    <a:lnTo>
                      <a:pt x="1916" y="2049"/>
                    </a:lnTo>
                    <a:lnTo>
                      <a:pt x="1925" y="2046"/>
                    </a:lnTo>
                    <a:lnTo>
                      <a:pt x="1932" y="2041"/>
                    </a:lnTo>
                    <a:lnTo>
                      <a:pt x="1939" y="2036"/>
                    </a:lnTo>
                    <a:lnTo>
                      <a:pt x="1945" y="2030"/>
                    </a:lnTo>
                    <a:lnTo>
                      <a:pt x="1945" y="2049"/>
                    </a:lnTo>
                    <a:lnTo>
                      <a:pt x="2006" y="2049"/>
                    </a:lnTo>
                    <a:lnTo>
                      <a:pt x="2006" y="1884"/>
                    </a:lnTo>
                    <a:lnTo>
                      <a:pt x="2006" y="1884"/>
                    </a:lnTo>
                    <a:lnTo>
                      <a:pt x="2006" y="1874"/>
                    </a:lnTo>
                    <a:lnTo>
                      <a:pt x="2005" y="1866"/>
                    </a:lnTo>
                    <a:lnTo>
                      <a:pt x="2003" y="1857"/>
                    </a:lnTo>
                    <a:lnTo>
                      <a:pt x="2000" y="1849"/>
                    </a:lnTo>
                    <a:lnTo>
                      <a:pt x="1995" y="1842"/>
                    </a:lnTo>
                    <a:lnTo>
                      <a:pt x="1992" y="1834"/>
                    </a:lnTo>
                    <a:lnTo>
                      <a:pt x="1986" y="1828"/>
                    </a:lnTo>
                    <a:lnTo>
                      <a:pt x="1979" y="1822"/>
                    </a:lnTo>
                    <a:lnTo>
                      <a:pt x="1973" y="1817"/>
                    </a:lnTo>
                    <a:lnTo>
                      <a:pt x="1966" y="1812"/>
                    </a:lnTo>
                    <a:lnTo>
                      <a:pt x="1958" y="1809"/>
                    </a:lnTo>
                    <a:lnTo>
                      <a:pt x="1949" y="1805"/>
                    </a:lnTo>
                    <a:lnTo>
                      <a:pt x="1939" y="1803"/>
                    </a:lnTo>
                    <a:lnTo>
                      <a:pt x="1930" y="1801"/>
                    </a:lnTo>
                    <a:lnTo>
                      <a:pt x="1919" y="1800"/>
                    </a:lnTo>
                    <a:lnTo>
                      <a:pt x="1908" y="1799"/>
                    </a:lnTo>
                    <a:lnTo>
                      <a:pt x="1908" y="1799"/>
                    </a:lnTo>
                    <a:lnTo>
                      <a:pt x="1894" y="1800"/>
                    </a:lnTo>
                    <a:lnTo>
                      <a:pt x="1883" y="1800"/>
                    </a:lnTo>
                    <a:lnTo>
                      <a:pt x="1871" y="1803"/>
                    </a:lnTo>
                    <a:lnTo>
                      <a:pt x="1859" y="1805"/>
                    </a:lnTo>
                    <a:lnTo>
                      <a:pt x="1848" y="1809"/>
                    </a:lnTo>
                    <a:lnTo>
                      <a:pt x="1837" y="1812"/>
                    </a:lnTo>
                    <a:lnTo>
                      <a:pt x="1826" y="1817"/>
                    </a:lnTo>
                    <a:lnTo>
                      <a:pt x="1815" y="1823"/>
                    </a:lnTo>
                    <a:lnTo>
                      <a:pt x="1840" y="1865"/>
                    </a:lnTo>
                    <a:close/>
                    <a:moveTo>
                      <a:pt x="1857" y="1968"/>
                    </a:moveTo>
                    <a:lnTo>
                      <a:pt x="1857" y="1968"/>
                    </a:lnTo>
                    <a:lnTo>
                      <a:pt x="1857" y="1961"/>
                    </a:lnTo>
                    <a:lnTo>
                      <a:pt x="1859" y="1953"/>
                    </a:lnTo>
                    <a:lnTo>
                      <a:pt x="1863" y="1947"/>
                    </a:lnTo>
                    <a:lnTo>
                      <a:pt x="1868" y="1942"/>
                    </a:lnTo>
                    <a:lnTo>
                      <a:pt x="1874" y="1939"/>
                    </a:lnTo>
                    <a:lnTo>
                      <a:pt x="1881" y="1936"/>
                    </a:lnTo>
                    <a:lnTo>
                      <a:pt x="1890" y="1934"/>
                    </a:lnTo>
                    <a:lnTo>
                      <a:pt x="1898" y="1934"/>
                    </a:lnTo>
                    <a:lnTo>
                      <a:pt x="1898" y="1934"/>
                    </a:lnTo>
                    <a:lnTo>
                      <a:pt x="1911" y="1934"/>
                    </a:lnTo>
                    <a:lnTo>
                      <a:pt x="1924" y="1936"/>
                    </a:lnTo>
                    <a:lnTo>
                      <a:pt x="1935" y="1940"/>
                    </a:lnTo>
                    <a:lnTo>
                      <a:pt x="1945" y="1946"/>
                    </a:lnTo>
                    <a:lnTo>
                      <a:pt x="1945" y="1979"/>
                    </a:lnTo>
                    <a:lnTo>
                      <a:pt x="1945" y="1979"/>
                    </a:lnTo>
                    <a:lnTo>
                      <a:pt x="1943" y="1984"/>
                    </a:lnTo>
                    <a:lnTo>
                      <a:pt x="1938" y="1989"/>
                    </a:lnTo>
                    <a:lnTo>
                      <a:pt x="1933" y="1993"/>
                    </a:lnTo>
                    <a:lnTo>
                      <a:pt x="1927" y="1997"/>
                    </a:lnTo>
                    <a:lnTo>
                      <a:pt x="1921" y="2001"/>
                    </a:lnTo>
                    <a:lnTo>
                      <a:pt x="1914" y="2003"/>
                    </a:lnTo>
                    <a:lnTo>
                      <a:pt x="1907" y="2004"/>
                    </a:lnTo>
                    <a:lnTo>
                      <a:pt x="1898" y="2006"/>
                    </a:lnTo>
                    <a:lnTo>
                      <a:pt x="1898" y="2006"/>
                    </a:lnTo>
                    <a:lnTo>
                      <a:pt x="1890" y="2004"/>
                    </a:lnTo>
                    <a:lnTo>
                      <a:pt x="1881" y="2002"/>
                    </a:lnTo>
                    <a:lnTo>
                      <a:pt x="1874" y="2000"/>
                    </a:lnTo>
                    <a:lnTo>
                      <a:pt x="1868" y="1995"/>
                    </a:lnTo>
                    <a:lnTo>
                      <a:pt x="1863" y="1990"/>
                    </a:lnTo>
                    <a:lnTo>
                      <a:pt x="1859" y="1984"/>
                    </a:lnTo>
                    <a:lnTo>
                      <a:pt x="1858" y="1976"/>
                    </a:lnTo>
                    <a:lnTo>
                      <a:pt x="1857" y="1968"/>
                    </a:lnTo>
                    <a:lnTo>
                      <a:pt x="1857" y="1968"/>
                    </a:lnTo>
                    <a:close/>
                    <a:moveTo>
                      <a:pt x="2569" y="1979"/>
                    </a:moveTo>
                    <a:lnTo>
                      <a:pt x="2569" y="1979"/>
                    </a:lnTo>
                    <a:lnTo>
                      <a:pt x="2560" y="1986"/>
                    </a:lnTo>
                    <a:lnTo>
                      <a:pt x="2549" y="1992"/>
                    </a:lnTo>
                    <a:lnTo>
                      <a:pt x="2543" y="1995"/>
                    </a:lnTo>
                    <a:lnTo>
                      <a:pt x="2536" y="1997"/>
                    </a:lnTo>
                    <a:lnTo>
                      <a:pt x="2529" y="1998"/>
                    </a:lnTo>
                    <a:lnTo>
                      <a:pt x="2521" y="2000"/>
                    </a:lnTo>
                    <a:lnTo>
                      <a:pt x="2521" y="2000"/>
                    </a:lnTo>
                    <a:lnTo>
                      <a:pt x="2515" y="1998"/>
                    </a:lnTo>
                    <a:lnTo>
                      <a:pt x="2508" y="1998"/>
                    </a:lnTo>
                    <a:lnTo>
                      <a:pt x="2500" y="1996"/>
                    </a:lnTo>
                    <a:lnTo>
                      <a:pt x="2490" y="1991"/>
                    </a:lnTo>
                    <a:lnTo>
                      <a:pt x="2481" y="1985"/>
                    </a:lnTo>
                    <a:lnTo>
                      <a:pt x="2478" y="1980"/>
                    </a:lnTo>
                    <a:lnTo>
                      <a:pt x="2474" y="1975"/>
                    </a:lnTo>
                    <a:lnTo>
                      <a:pt x="2472" y="1969"/>
                    </a:lnTo>
                    <a:lnTo>
                      <a:pt x="2469" y="1962"/>
                    </a:lnTo>
                    <a:lnTo>
                      <a:pt x="2468" y="1955"/>
                    </a:lnTo>
                    <a:lnTo>
                      <a:pt x="2467" y="1946"/>
                    </a:lnTo>
                    <a:lnTo>
                      <a:pt x="2616" y="1946"/>
                    </a:lnTo>
                    <a:lnTo>
                      <a:pt x="2616" y="1946"/>
                    </a:lnTo>
                    <a:lnTo>
                      <a:pt x="2617" y="1928"/>
                    </a:lnTo>
                    <a:lnTo>
                      <a:pt x="2617" y="1928"/>
                    </a:lnTo>
                    <a:lnTo>
                      <a:pt x="2617" y="1913"/>
                    </a:lnTo>
                    <a:lnTo>
                      <a:pt x="2615" y="1900"/>
                    </a:lnTo>
                    <a:lnTo>
                      <a:pt x="2614" y="1886"/>
                    </a:lnTo>
                    <a:lnTo>
                      <a:pt x="2610" y="1874"/>
                    </a:lnTo>
                    <a:lnTo>
                      <a:pt x="2607" y="1863"/>
                    </a:lnTo>
                    <a:lnTo>
                      <a:pt x="2602" y="1852"/>
                    </a:lnTo>
                    <a:lnTo>
                      <a:pt x="2596" y="1843"/>
                    </a:lnTo>
                    <a:lnTo>
                      <a:pt x="2589" y="1834"/>
                    </a:lnTo>
                    <a:lnTo>
                      <a:pt x="2582" y="1826"/>
                    </a:lnTo>
                    <a:lnTo>
                      <a:pt x="2575" y="1820"/>
                    </a:lnTo>
                    <a:lnTo>
                      <a:pt x="2566" y="1814"/>
                    </a:lnTo>
                    <a:lnTo>
                      <a:pt x="2557" y="1809"/>
                    </a:lnTo>
                    <a:lnTo>
                      <a:pt x="2547" y="1805"/>
                    </a:lnTo>
                    <a:lnTo>
                      <a:pt x="2537" y="1801"/>
                    </a:lnTo>
                    <a:lnTo>
                      <a:pt x="2526" y="1800"/>
                    </a:lnTo>
                    <a:lnTo>
                      <a:pt x="2514" y="1799"/>
                    </a:lnTo>
                    <a:lnTo>
                      <a:pt x="2514" y="1799"/>
                    </a:lnTo>
                    <a:lnTo>
                      <a:pt x="2503" y="1800"/>
                    </a:lnTo>
                    <a:lnTo>
                      <a:pt x="2492" y="1801"/>
                    </a:lnTo>
                    <a:lnTo>
                      <a:pt x="2481" y="1805"/>
                    </a:lnTo>
                    <a:lnTo>
                      <a:pt x="2470" y="1809"/>
                    </a:lnTo>
                    <a:lnTo>
                      <a:pt x="2461" y="1814"/>
                    </a:lnTo>
                    <a:lnTo>
                      <a:pt x="2452" y="1821"/>
                    </a:lnTo>
                    <a:lnTo>
                      <a:pt x="2444" y="1827"/>
                    </a:lnTo>
                    <a:lnTo>
                      <a:pt x="2436" y="1835"/>
                    </a:lnTo>
                    <a:lnTo>
                      <a:pt x="2429" y="1844"/>
                    </a:lnTo>
                    <a:lnTo>
                      <a:pt x="2423" y="1854"/>
                    </a:lnTo>
                    <a:lnTo>
                      <a:pt x="2418" y="1865"/>
                    </a:lnTo>
                    <a:lnTo>
                      <a:pt x="2413" y="1876"/>
                    </a:lnTo>
                    <a:lnTo>
                      <a:pt x="2410" y="1888"/>
                    </a:lnTo>
                    <a:lnTo>
                      <a:pt x="2407" y="1901"/>
                    </a:lnTo>
                    <a:lnTo>
                      <a:pt x="2406" y="1913"/>
                    </a:lnTo>
                    <a:lnTo>
                      <a:pt x="2405" y="1928"/>
                    </a:lnTo>
                    <a:lnTo>
                      <a:pt x="2405" y="1928"/>
                    </a:lnTo>
                    <a:lnTo>
                      <a:pt x="2406" y="1941"/>
                    </a:lnTo>
                    <a:lnTo>
                      <a:pt x="2407" y="1955"/>
                    </a:lnTo>
                    <a:lnTo>
                      <a:pt x="2410" y="1968"/>
                    </a:lnTo>
                    <a:lnTo>
                      <a:pt x="2413" y="1980"/>
                    </a:lnTo>
                    <a:lnTo>
                      <a:pt x="2418" y="1991"/>
                    </a:lnTo>
                    <a:lnTo>
                      <a:pt x="2423" y="2002"/>
                    </a:lnTo>
                    <a:lnTo>
                      <a:pt x="2429" y="2012"/>
                    </a:lnTo>
                    <a:lnTo>
                      <a:pt x="2436" y="2020"/>
                    </a:lnTo>
                    <a:lnTo>
                      <a:pt x="2445" y="2028"/>
                    </a:lnTo>
                    <a:lnTo>
                      <a:pt x="2453" y="2035"/>
                    </a:lnTo>
                    <a:lnTo>
                      <a:pt x="2463" y="2041"/>
                    </a:lnTo>
                    <a:lnTo>
                      <a:pt x="2473" y="2046"/>
                    </a:lnTo>
                    <a:lnTo>
                      <a:pt x="2484" y="2049"/>
                    </a:lnTo>
                    <a:lnTo>
                      <a:pt x="2496" y="2053"/>
                    </a:lnTo>
                    <a:lnTo>
                      <a:pt x="2508" y="2054"/>
                    </a:lnTo>
                    <a:lnTo>
                      <a:pt x="2521" y="2055"/>
                    </a:lnTo>
                    <a:lnTo>
                      <a:pt x="2521" y="2055"/>
                    </a:lnTo>
                    <a:lnTo>
                      <a:pt x="2534" y="2054"/>
                    </a:lnTo>
                    <a:lnTo>
                      <a:pt x="2545" y="2053"/>
                    </a:lnTo>
                    <a:lnTo>
                      <a:pt x="2557" y="2049"/>
                    </a:lnTo>
                    <a:lnTo>
                      <a:pt x="2568" y="2046"/>
                    </a:lnTo>
                    <a:lnTo>
                      <a:pt x="2579" y="2040"/>
                    </a:lnTo>
                    <a:lnTo>
                      <a:pt x="2588" y="2034"/>
                    </a:lnTo>
                    <a:lnTo>
                      <a:pt x="2598" y="2025"/>
                    </a:lnTo>
                    <a:lnTo>
                      <a:pt x="2608" y="2017"/>
                    </a:lnTo>
                    <a:lnTo>
                      <a:pt x="2569" y="1979"/>
                    </a:lnTo>
                    <a:close/>
                    <a:moveTo>
                      <a:pt x="2468" y="1901"/>
                    </a:moveTo>
                    <a:lnTo>
                      <a:pt x="2468" y="1901"/>
                    </a:lnTo>
                    <a:lnTo>
                      <a:pt x="2469" y="1890"/>
                    </a:lnTo>
                    <a:lnTo>
                      <a:pt x="2472" y="1880"/>
                    </a:lnTo>
                    <a:lnTo>
                      <a:pt x="2475" y="1872"/>
                    </a:lnTo>
                    <a:lnTo>
                      <a:pt x="2481" y="1865"/>
                    </a:lnTo>
                    <a:lnTo>
                      <a:pt x="2487" y="1859"/>
                    </a:lnTo>
                    <a:lnTo>
                      <a:pt x="2495" y="1855"/>
                    </a:lnTo>
                    <a:lnTo>
                      <a:pt x="2503" y="1851"/>
                    </a:lnTo>
                    <a:lnTo>
                      <a:pt x="2513" y="1851"/>
                    </a:lnTo>
                    <a:lnTo>
                      <a:pt x="2513" y="1851"/>
                    </a:lnTo>
                    <a:lnTo>
                      <a:pt x="2524" y="1852"/>
                    </a:lnTo>
                    <a:lnTo>
                      <a:pt x="2534" y="1855"/>
                    </a:lnTo>
                    <a:lnTo>
                      <a:pt x="2541" y="1860"/>
                    </a:lnTo>
                    <a:lnTo>
                      <a:pt x="2547" y="1867"/>
                    </a:lnTo>
                    <a:lnTo>
                      <a:pt x="2552" y="1874"/>
                    </a:lnTo>
                    <a:lnTo>
                      <a:pt x="2555" y="1883"/>
                    </a:lnTo>
                    <a:lnTo>
                      <a:pt x="2558" y="1893"/>
                    </a:lnTo>
                    <a:lnTo>
                      <a:pt x="2559" y="1901"/>
                    </a:lnTo>
                    <a:lnTo>
                      <a:pt x="2468" y="1901"/>
                    </a:lnTo>
                    <a:close/>
                    <a:moveTo>
                      <a:pt x="3153" y="1979"/>
                    </a:moveTo>
                    <a:lnTo>
                      <a:pt x="3153" y="1979"/>
                    </a:lnTo>
                    <a:lnTo>
                      <a:pt x="3144" y="1986"/>
                    </a:lnTo>
                    <a:lnTo>
                      <a:pt x="3134" y="1992"/>
                    </a:lnTo>
                    <a:lnTo>
                      <a:pt x="3127" y="1995"/>
                    </a:lnTo>
                    <a:lnTo>
                      <a:pt x="3121" y="1997"/>
                    </a:lnTo>
                    <a:lnTo>
                      <a:pt x="3113" y="1998"/>
                    </a:lnTo>
                    <a:lnTo>
                      <a:pt x="3105" y="2000"/>
                    </a:lnTo>
                    <a:lnTo>
                      <a:pt x="3105" y="2000"/>
                    </a:lnTo>
                    <a:lnTo>
                      <a:pt x="3099" y="1998"/>
                    </a:lnTo>
                    <a:lnTo>
                      <a:pt x="3091" y="1998"/>
                    </a:lnTo>
                    <a:lnTo>
                      <a:pt x="3083" y="1996"/>
                    </a:lnTo>
                    <a:lnTo>
                      <a:pt x="3074" y="1991"/>
                    </a:lnTo>
                    <a:lnTo>
                      <a:pt x="3066" y="1985"/>
                    </a:lnTo>
                    <a:lnTo>
                      <a:pt x="3062" y="1980"/>
                    </a:lnTo>
                    <a:lnTo>
                      <a:pt x="3059" y="1975"/>
                    </a:lnTo>
                    <a:lnTo>
                      <a:pt x="3056" y="1969"/>
                    </a:lnTo>
                    <a:lnTo>
                      <a:pt x="3054" y="1962"/>
                    </a:lnTo>
                    <a:lnTo>
                      <a:pt x="3051" y="1955"/>
                    </a:lnTo>
                    <a:lnTo>
                      <a:pt x="3050" y="1946"/>
                    </a:lnTo>
                    <a:lnTo>
                      <a:pt x="3201" y="1946"/>
                    </a:lnTo>
                    <a:lnTo>
                      <a:pt x="3201" y="1946"/>
                    </a:lnTo>
                    <a:lnTo>
                      <a:pt x="3202" y="1928"/>
                    </a:lnTo>
                    <a:lnTo>
                      <a:pt x="3202" y="1928"/>
                    </a:lnTo>
                    <a:lnTo>
                      <a:pt x="3201" y="1913"/>
                    </a:lnTo>
                    <a:lnTo>
                      <a:pt x="3199" y="1900"/>
                    </a:lnTo>
                    <a:lnTo>
                      <a:pt x="3197" y="1886"/>
                    </a:lnTo>
                    <a:lnTo>
                      <a:pt x="3195" y="1874"/>
                    </a:lnTo>
                    <a:lnTo>
                      <a:pt x="3190" y="1863"/>
                    </a:lnTo>
                    <a:lnTo>
                      <a:pt x="3185" y="1852"/>
                    </a:lnTo>
                    <a:lnTo>
                      <a:pt x="3180" y="1843"/>
                    </a:lnTo>
                    <a:lnTo>
                      <a:pt x="3174" y="1834"/>
                    </a:lnTo>
                    <a:lnTo>
                      <a:pt x="3167" y="1826"/>
                    </a:lnTo>
                    <a:lnTo>
                      <a:pt x="3158" y="1820"/>
                    </a:lnTo>
                    <a:lnTo>
                      <a:pt x="3150" y="1814"/>
                    </a:lnTo>
                    <a:lnTo>
                      <a:pt x="3141" y="1809"/>
                    </a:lnTo>
                    <a:lnTo>
                      <a:pt x="3131" y="1805"/>
                    </a:lnTo>
                    <a:lnTo>
                      <a:pt x="3121" y="1801"/>
                    </a:lnTo>
                    <a:lnTo>
                      <a:pt x="3110" y="1800"/>
                    </a:lnTo>
                    <a:lnTo>
                      <a:pt x="3099" y="1799"/>
                    </a:lnTo>
                    <a:lnTo>
                      <a:pt x="3099" y="1799"/>
                    </a:lnTo>
                    <a:lnTo>
                      <a:pt x="3086" y="1800"/>
                    </a:lnTo>
                    <a:lnTo>
                      <a:pt x="3076" y="1801"/>
                    </a:lnTo>
                    <a:lnTo>
                      <a:pt x="3065" y="1805"/>
                    </a:lnTo>
                    <a:lnTo>
                      <a:pt x="3055" y="1809"/>
                    </a:lnTo>
                    <a:lnTo>
                      <a:pt x="3045" y="1814"/>
                    </a:lnTo>
                    <a:lnTo>
                      <a:pt x="3035" y="1821"/>
                    </a:lnTo>
                    <a:lnTo>
                      <a:pt x="3028" y="1827"/>
                    </a:lnTo>
                    <a:lnTo>
                      <a:pt x="3020" y="1835"/>
                    </a:lnTo>
                    <a:lnTo>
                      <a:pt x="3012" y="1844"/>
                    </a:lnTo>
                    <a:lnTo>
                      <a:pt x="3006" y="1854"/>
                    </a:lnTo>
                    <a:lnTo>
                      <a:pt x="3001" y="1865"/>
                    </a:lnTo>
                    <a:lnTo>
                      <a:pt x="2997" y="1876"/>
                    </a:lnTo>
                    <a:lnTo>
                      <a:pt x="2994" y="1888"/>
                    </a:lnTo>
                    <a:lnTo>
                      <a:pt x="2990" y="1901"/>
                    </a:lnTo>
                    <a:lnTo>
                      <a:pt x="2989" y="1913"/>
                    </a:lnTo>
                    <a:lnTo>
                      <a:pt x="2989" y="1928"/>
                    </a:lnTo>
                    <a:lnTo>
                      <a:pt x="2989" y="1928"/>
                    </a:lnTo>
                    <a:lnTo>
                      <a:pt x="2989" y="1941"/>
                    </a:lnTo>
                    <a:lnTo>
                      <a:pt x="2990" y="1955"/>
                    </a:lnTo>
                    <a:lnTo>
                      <a:pt x="2993" y="1968"/>
                    </a:lnTo>
                    <a:lnTo>
                      <a:pt x="2997" y="1980"/>
                    </a:lnTo>
                    <a:lnTo>
                      <a:pt x="3001" y="1991"/>
                    </a:lnTo>
                    <a:lnTo>
                      <a:pt x="3008" y="2002"/>
                    </a:lnTo>
                    <a:lnTo>
                      <a:pt x="3014" y="2012"/>
                    </a:lnTo>
                    <a:lnTo>
                      <a:pt x="3021" y="2020"/>
                    </a:lnTo>
                    <a:lnTo>
                      <a:pt x="3028" y="2028"/>
                    </a:lnTo>
                    <a:lnTo>
                      <a:pt x="3037" y="2035"/>
                    </a:lnTo>
                    <a:lnTo>
                      <a:pt x="3046" y="2041"/>
                    </a:lnTo>
                    <a:lnTo>
                      <a:pt x="3057" y="2046"/>
                    </a:lnTo>
                    <a:lnTo>
                      <a:pt x="3068" y="2049"/>
                    </a:lnTo>
                    <a:lnTo>
                      <a:pt x="3079" y="2053"/>
                    </a:lnTo>
                    <a:lnTo>
                      <a:pt x="3093" y="2054"/>
                    </a:lnTo>
                    <a:lnTo>
                      <a:pt x="3105" y="2055"/>
                    </a:lnTo>
                    <a:lnTo>
                      <a:pt x="3105" y="2055"/>
                    </a:lnTo>
                    <a:lnTo>
                      <a:pt x="3117" y="2054"/>
                    </a:lnTo>
                    <a:lnTo>
                      <a:pt x="3129" y="2053"/>
                    </a:lnTo>
                    <a:lnTo>
                      <a:pt x="3140" y="2049"/>
                    </a:lnTo>
                    <a:lnTo>
                      <a:pt x="3151" y="2046"/>
                    </a:lnTo>
                    <a:lnTo>
                      <a:pt x="3162" y="2040"/>
                    </a:lnTo>
                    <a:lnTo>
                      <a:pt x="3173" y="2034"/>
                    </a:lnTo>
                    <a:lnTo>
                      <a:pt x="3182" y="2025"/>
                    </a:lnTo>
                    <a:lnTo>
                      <a:pt x="3191" y="2017"/>
                    </a:lnTo>
                    <a:lnTo>
                      <a:pt x="3153" y="1979"/>
                    </a:lnTo>
                    <a:close/>
                    <a:moveTo>
                      <a:pt x="3051" y="1901"/>
                    </a:moveTo>
                    <a:lnTo>
                      <a:pt x="3051" y="1901"/>
                    </a:lnTo>
                    <a:lnTo>
                      <a:pt x="3052" y="1890"/>
                    </a:lnTo>
                    <a:lnTo>
                      <a:pt x="3056" y="1880"/>
                    </a:lnTo>
                    <a:lnTo>
                      <a:pt x="3060" y="1872"/>
                    </a:lnTo>
                    <a:lnTo>
                      <a:pt x="3065" y="1865"/>
                    </a:lnTo>
                    <a:lnTo>
                      <a:pt x="3072" y="1859"/>
                    </a:lnTo>
                    <a:lnTo>
                      <a:pt x="3079" y="1855"/>
                    </a:lnTo>
                    <a:lnTo>
                      <a:pt x="3088" y="1851"/>
                    </a:lnTo>
                    <a:lnTo>
                      <a:pt x="3097" y="1851"/>
                    </a:lnTo>
                    <a:lnTo>
                      <a:pt x="3097" y="1851"/>
                    </a:lnTo>
                    <a:lnTo>
                      <a:pt x="3108" y="1852"/>
                    </a:lnTo>
                    <a:lnTo>
                      <a:pt x="3117" y="1855"/>
                    </a:lnTo>
                    <a:lnTo>
                      <a:pt x="3125" y="1860"/>
                    </a:lnTo>
                    <a:lnTo>
                      <a:pt x="3131" y="1867"/>
                    </a:lnTo>
                    <a:lnTo>
                      <a:pt x="3136" y="1874"/>
                    </a:lnTo>
                    <a:lnTo>
                      <a:pt x="3140" y="1883"/>
                    </a:lnTo>
                    <a:lnTo>
                      <a:pt x="3142" y="1893"/>
                    </a:lnTo>
                    <a:lnTo>
                      <a:pt x="3144" y="1901"/>
                    </a:lnTo>
                    <a:lnTo>
                      <a:pt x="3051" y="1901"/>
                    </a:lnTo>
                    <a:close/>
                    <a:moveTo>
                      <a:pt x="2905" y="1964"/>
                    </a:moveTo>
                    <a:lnTo>
                      <a:pt x="2905" y="1964"/>
                    </a:lnTo>
                    <a:lnTo>
                      <a:pt x="2905" y="1973"/>
                    </a:lnTo>
                    <a:lnTo>
                      <a:pt x="2907" y="1979"/>
                    </a:lnTo>
                    <a:lnTo>
                      <a:pt x="2909" y="1985"/>
                    </a:lnTo>
                    <a:lnTo>
                      <a:pt x="2912" y="1990"/>
                    </a:lnTo>
                    <a:lnTo>
                      <a:pt x="2915" y="1993"/>
                    </a:lnTo>
                    <a:lnTo>
                      <a:pt x="2920" y="1996"/>
                    </a:lnTo>
                    <a:lnTo>
                      <a:pt x="2925" y="1997"/>
                    </a:lnTo>
                    <a:lnTo>
                      <a:pt x="2932" y="1997"/>
                    </a:lnTo>
                    <a:lnTo>
                      <a:pt x="2932" y="1997"/>
                    </a:lnTo>
                    <a:lnTo>
                      <a:pt x="2941" y="1997"/>
                    </a:lnTo>
                    <a:lnTo>
                      <a:pt x="2950" y="1995"/>
                    </a:lnTo>
                    <a:lnTo>
                      <a:pt x="2960" y="1991"/>
                    </a:lnTo>
                    <a:lnTo>
                      <a:pt x="2969" y="1986"/>
                    </a:lnTo>
                    <a:lnTo>
                      <a:pt x="2961" y="2043"/>
                    </a:lnTo>
                    <a:lnTo>
                      <a:pt x="2961" y="2043"/>
                    </a:lnTo>
                    <a:lnTo>
                      <a:pt x="2950" y="2048"/>
                    </a:lnTo>
                    <a:lnTo>
                      <a:pt x="2937" y="2052"/>
                    </a:lnTo>
                    <a:lnTo>
                      <a:pt x="2924" y="2054"/>
                    </a:lnTo>
                    <a:lnTo>
                      <a:pt x="2910" y="2055"/>
                    </a:lnTo>
                    <a:lnTo>
                      <a:pt x="2910" y="2055"/>
                    </a:lnTo>
                    <a:lnTo>
                      <a:pt x="2902" y="2054"/>
                    </a:lnTo>
                    <a:lnTo>
                      <a:pt x="2893" y="2053"/>
                    </a:lnTo>
                    <a:lnTo>
                      <a:pt x="2886" y="2051"/>
                    </a:lnTo>
                    <a:lnTo>
                      <a:pt x="2880" y="2048"/>
                    </a:lnTo>
                    <a:lnTo>
                      <a:pt x="2874" y="2045"/>
                    </a:lnTo>
                    <a:lnTo>
                      <a:pt x="2868" y="2041"/>
                    </a:lnTo>
                    <a:lnTo>
                      <a:pt x="2864" y="2036"/>
                    </a:lnTo>
                    <a:lnTo>
                      <a:pt x="2859" y="2030"/>
                    </a:lnTo>
                    <a:lnTo>
                      <a:pt x="2853" y="2019"/>
                    </a:lnTo>
                    <a:lnTo>
                      <a:pt x="2848" y="2006"/>
                    </a:lnTo>
                    <a:lnTo>
                      <a:pt x="2846" y="1993"/>
                    </a:lnTo>
                    <a:lnTo>
                      <a:pt x="2845" y="1980"/>
                    </a:lnTo>
                    <a:lnTo>
                      <a:pt x="2845" y="1861"/>
                    </a:lnTo>
                    <a:lnTo>
                      <a:pt x="2807" y="1861"/>
                    </a:lnTo>
                    <a:lnTo>
                      <a:pt x="2807" y="1805"/>
                    </a:lnTo>
                    <a:lnTo>
                      <a:pt x="2845" y="1805"/>
                    </a:lnTo>
                    <a:lnTo>
                      <a:pt x="2845" y="1742"/>
                    </a:lnTo>
                    <a:lnTo>
                      <a:pt x="2905" y="1711"/>
                    </a:lnTo>
                    <a:lnTo>
                      <a:pt x="2905" y="1805"/>
                    </a:lnTo>
                    <a:lnTo>
                      <a:pt x="2960" y="1805"/>
                    </a:lnTo>
                    <a:lnTo>
                      <a:pt x="2960" y="1861"/>
                    </a:lnTo>
                    <a:lnTo>
                      <a:pt x="2905" y="1861"/>
                    </a:lnTo>
                    <a:lnTo>
                      <a:pt x="2905" y="1964"/>
                    </a:lnTo>
                    <a:close/>
                    <a:moveTo>
                      <a:pt x="2788" y="2043"/>
                    </a:moveTo>
                    <a:lnTo>
                      <a:pt x="2788" y="2043"/>
                    </a:lnTo>
                    <a:lnTo>
                      <a:pt x="2777" y="2048"/>
                    </a:lnTo>
                    <a:lnTo>
                      <a:pt x="2764" y="2052"/>
                    </a:lnTo>
                    <a:lnTo>
                      <a:pt x="2751" y="2054"/>
                    </a:lnTo>
                    <a:lnTo>
                      <a:pt x="2738" y="2055"/>
                    </a:lnTo>
                    <a:lnTo>
                      <a:pt x="2738" y="2055"/>
                    </a:lnTo>
                    <a:lnTo>
                      <a:pt x="2728" y="2054"/>
                    </a:lnTo>
                    <a:lnTo>
                      <a:pt x="2721" y="2053"/>
                    </a:lnTo>
                    <a:lnTo>
                      <a:pt x="2713" y="2051"/>
                    </a:lnTo>
                    <a:lnTo>
                      <a:pt x="2706" y="2048"/>
                    </a:lnTo>
                    <a:lnTo>
                      <a:pt x="2701" y="2045"/>
                    </a:lnTo>
                    <a:lnTo>
                      <a:pt x="2695" y="2041"/>
                    </a:lnTo>
                    <a:lnTo>
                      <a:pt x="2690" y="2036"/>
                    </a:lnTo>
                    <a:lnTo>
                      <a:pt x="2687" y="2030"/>
                    </a:lnTo>
                    <a:lnTo>
                      <a:pt x="2679" y="2019"/>
                    </a:lnTo>
                    <a:lnTo>
                      <a:pt x="2676" y="2006"/>
                    </a:lnTo>
                    <a:lnTo>
                      <a:pt x="2672" y="1993"/>
                    </a:lnTo>
                    <a:lnTo>
                      <a:pt x="2672" y="1980"/>
                    </a:lnTo>
                    <a:lnTo>
                      <a:pt x="2672" y="1861"/>
                    </a:lnTo>
                    <a:lnTo>
                      <a:pt x="2634" y="1861"/>
                    </a:lnTo>
                    <a:lnTo>
                      <a:pt x="2634" y="1805"/>
                    </a:lnTo>
                    <a:lnTo>
                      <a:pt x="2672" y="1805"/>
                    </a:lnTo>
                    <a:lnTo>
                      <a:pt x="2672" y="1742"/>
                    </a:lnTo>
                    <a:lnTo>
                      <a:pt x="2733" y="1711"/>
                    </a:lnTo>
                    <a:lnTo>
                      <a:pt x="2733" y="1805"/>
                    </a:lnTo>
                    <a:lnTo>
                      <a:pt x="2784" y="1805"/>
                    </a:lnTo>
                    <a:lnTo>
                      <a:pt x="2784" y="1861"/>
                    </a:lnTo>
                    <a:lnTo>
                      <a:pt x="2733" y="1861"/>
                    </a:lnTo>
                    <a:lnTo>
                      <a:pt x="2733" y="1964"/>
                    </a:lnTo>
                    <a:lnTo>
                      <a:pt x="2733" y="1964"/>
                    </a:lnTo>
                    <a:lnTo>
                      <a:pt x="2733" y="1973"/>
                    </a:lnTo>
                    <a:lnTo>
                      <a:pt x="2734" y="1979"/>
                    </a:lnTo>
                    <a:lnTo>
                      <a:pt x="2737" y="1985"/>
                    </a:lnTo>
                    <a:lnTo>
                      <a:pt x="2739" y="1990"/>
                    </a:lnTo>
                    <a:lnTo>
                      <a:pt x="2743" y="1993"/>
                    </a:lnTo>
                    <a:lnTo>
                      <a:pt x="2747" y="1996"/>
                    </a:lnTo>
                    <a:lnTo>
                      <a:pt x="2752" y="1997"/>
                    </a:lnTo>
                    <a:lnTo>
                      <a:pt x="2758" y="1997"/>
                    </a:lnTo>
                    <a:lnTo>
                      <a:pt x="2758" y="1997"/>
                    </a:lnTo>
                    <a:lnTo>
                      <a:pt x="2768" y="1997"/>
                    </a:lnTo>
                    <a:lnTo>
                      <a:pt x="2778" y="1995"/>
                    </a:lnTo>
                    <a:lnTo>
                      <a:pt x="2786" y="1991"/>
                    </a:lnTo>
                    <a:lnTo>
                      <a:pt x="2795" y="1986"/>
                    </a:lnTo>
                    <a:lnTo>
                      <a:pt x="2788" y="2043"/>
                    </a:lnTo>
                    <a:close/>
                    <a:moveTo>
                      <a:pt x="3384" y="1873"/>
                    </a:moveTo>
                    <a:lnTo>
                      <a:pt x="3384" y="1873"/>
                    </a:lnTo>
                    <a:lnTo>
                      <a:pt x="3376" y="1867"/>
                    </a:lnTo>
                    <a:lnTo>
                      <a:pt x="3366" y="1863"/>
                    </a:lnTo>
                    <a:lnTo>
                      <a:pt x="3355" y="1861"/>
                    </a:lnTo>
                    <a:lnTo>
                      <a:pt x="3344" y="1860"/>
                    </a:lnTo>
                    <a:lnTo>
                      <a:pt x="3344" y="1860"/>
                    </a:lnTo>
                    <a:lnTo>
                      <a:pt x="3334" y="1861"/>
                    </a:lnTo>
                    <a:lnTo>
                      <a:pt x="3325" y="1863"/>
                    </a:lnTo>
                    <a:lnTo>
                      <a:pt x="3317" y="1868"/>
                    </a:lnTo>
                    <a:lnTo>
                      <a:pt x="3311" y="1874"/>
                    </a:lnTo>
                    <a:lnTo>
                      <a:pt x="3306" y="1882"/>
                    </a:lnTo>
                    <a:lnTo>
                      <a:pt x="3304" y="1891"/>
                    </a:lnTo>
                    <a:lnTo>
                      <a:pt x="3302" y="1904"/>
                    </a:lnTo>
                    <a:lnTo>
                      <a:pt x="3300" y="1917"/>
                    </a:lnTo>
                    <a:lnTo>
                      <a:pt x="3300" y="2049"/>
                    </a:lnTo>
                    <a:lnTo>
                      <a:pt x="3241" y="2049"/>
                    </a:lnTo>
                    <a:lnTo>
                      <a:pt x="3241" y="1805"/>
                    </a:lnTo>
                    <a:lnTo>
                      <a:pt x="3300" y="1805"/>
                    </a:lnTo>
                    <a:lnTo>
                      <a:pt x="3300" y="1826"/>
                    </a:lnTo>
                    <a:lnTo>
                      <a:pt x="3300" y="1826"/>
                    </a:lnTo>
                    <a:lnTo>
                      <a:pt x="3306" y="1820"/>
                    </a:lnTo>
                    <a:lnTo>
                      <a:pt x="3313" y="1814"/>
                    </a:lnTo>
                    <a:lnTo>
                      <a:pt x="3319" y="1810"/>
                    </a:lnTo>
                    <a:lnTo>
                      <a:pt x="3326" y="1806"/>
                    </a:lnTo>
                    <a:lnTo>
                      <a:pt x="3332" y="1803"/>
                    </a:lnTo>
                    <a:lnTo>
                      <a:pt x="3339" y="1801"/>
                    </a:lnTo>
                    <a:lnTo>
                      <a:pt x="3347" y="1800"/>
                    </a:lnTo>
                    <a:lnTo>
                      <a:pt x="3355" y="1799"/>
                    </a:lnTo>
                    <a:lnTo>
                      <a:pt x="3355" y="1799"/>
                    </a:lnTo>
                    <a:lnTo>
                      <a:pt x="3367" y="1800"/>
                    </a:lnTo>
                    <a:lnTo>
                      <a:pt x="3379" y="1804"/>
                    </a:lnTo>
                    <a:lnTo>
                      <a:pt x="3390" y="1807"/>
                    </a:lnTo>
                    <a:lnTo>
                      <a:pt x="3400" y="1814"/>
                    </a:lnTo>
                    <a:lnTo>
                      <a:pt x="3384" y="1873"/>
                    </a:lnTo>
                    <a:close/>
                    <a:moveTo>
                      <a:pt x="653" y="1747"/>
                    </a:moveTo>
                    <a:lnTo>
                      <a:pt x="653" y="1770"/>
                    </a:lnTo>
                    <a:lnTo>
                      <a:pt x="592" y="1770"/>
                    </a:lnTo>
                    <a:lnTo>
                      <a:pt x="592" y="1709"/>
                    </a:lnTo>
                    <a:lnTo>
                      <a:pt x="653" y="1709"/>
                    </a:lnTo>
                    <a:lnTo>
                      <a:pt x="653" y="1747"/>
                    </a:lnTo>
                    <a:close/>
                    <a:moveTo>
                      <a:pt x="1073" y="1805"/>
                    </a:moveTo>
                    <a:lnTo>
                      <a:pt x="1134" y="1805"/>
                    </a:lnTo>
                    <a:lnTo>
                      <a:pt x="1134" y="1930"/>
                    </a:lnTo>
                    <a:lnTo>
                      <a:pt x="1134" y="2049"/>
                    </a:lnTo>
                    <a:lnTo>
                      <a:pt x="1073" y="2049"/>
                    </a:lnTo>
                    <a:lnTo>
                      <a:pt x="1073" y="1805"/>
                    </a:lnTo>
                    <a:close/>
                    <a:moveTo>
                      <a:pt x="1134" y="1739"/>
                    </a:moveTo>
                    <a:lnTo>
                      <a:pt x="1134" y="1770"/>
                    </a:lnTo>
                    <a:lnTo>
                      <a:pt x="1073" y="1770"/>
                    </a:lnTo>
                    <a:lnTo>
                      <a:pt x="1073" y="1709"/>
                    </a:lnTo>
                    <a:lnTo>
                      <a:pt x="1134" y="1709"/>
                    </a:lnTo>
                    <a:lnTo>
                      <a:pt x="1134" y="1739"/>
                    </a:lnTo>
                    <a:close/>
                    <a:moveTo>
                      <a:pt x="2796" y="2250"/>
                    </a:moveTo>
                    <a:lnTo>
                      <a:pt x="2796" y="2250"/>
                    </a:lnTo>
                    <a:lnTo>
                      <a:pt x="2790" y="2245"/>
                    </a:lnTo>
                    <a:lnTo>
                      <a:pt x="2784" y="2240"/>
                    </a:lnTo>
                    <a:lnTo>
                      <a:pt x="2778" y="2237"/>
                    </a:lnTo>
                    <a:lnTo>
                      <a:pt x="2771" y="2233"/>
                    </a:lnTo>
                    <a:lnTo>
                      <a:pt x="2764" y="2231"/>
                    </a:lnTo>
                    <a:lnTo>
                      <a:pt x="2757" y="2229"/>
                    </a:lnTo>
                    <a:lnTo>
                      <a:pt x="2741" y="2227"/>
                    </a:lnTo>
                    <a:lnTo>
                      <a:pt x="2741" y="2227"/>
                    </a:lnTo>
                    <a:lnTo>
                      <a:pt x="2730" y="2228"/>
                    </a:lnTo>
                    <a:lnTo>
                      <a:pt x="2721" y="2229"/>
                    </a:lnTo>
                    <a:lnTo>
                      <a:pt x="2711" y="2233"/>
                    </a:lnTo>
                    <a:lnTo>
                      <a:pt x="2701" y="2237"/>
                    </a:lnTo>
                    <a:lnTo>
                      <a:pt x="2693" y="2241"/>
                    </a:lnTo>
                    <a:lnTo>
                      <a:pt x="2685" y="2246"/>
                    </a:lnTo>
                    <a:lnTo>
                      <a:pt x="2678" y="2254"/>
                    </a:lnTo>
                    <a:lnTo>
                      <a:pt x="2671" y="2261"/>
                    </a:lnTo>
                    <a:lnTo>
                      <a:pt x="2666" y="2269"/>
                    </a:lnTo>
                    <a:lnTo>
                      <a:pt x="2660" y="2279"/>
                    </a:lnTo>
                    <a:lnTo>
                      <a:pt x="2656" y="2289"/>
                    </a:lnTo>
                    <a:lnTo>
                      <a:pt x="2653" y="2301"/>
                    </a:lnTo>
                    <a:lnTo>
                      <a:pt x="2649" y="2312"/>
                    </a:lnTo>
                    <a:lnTo>
                      <a:pt x="2648" y="2325"/>
                    </a:lnTo>
                    <a:lnTo>
                      <a:pt x="2647" y="2339"/>
                    </a:lnTo>
                    <a:lnTo>
                      <a:pt x="2645" y="2353"/>
                    </a:lnTo>
                    <a:lnTo>
                      <a:pt x="2645" y="2353"/>
                    </a:lnTo>
                    <a:lnTo>
                      <a:pt x="2647" y="2368"/>
                    </a:lnTo>
                    <a:lnTo>
                      <a:pt x="2648" y="2381"/>
                    </a:lnTo>
                    <a:lnTo>
                      <a:pt x="2649" y="2395"/>
                    </a:lnTo>
                    <a:lnTo>
                      <a:pt x="2653" y="2408"/>
                    </a:lnTo>
                    <a:lnTo>
                      <a:pt x="2655" y="2419"/>
                    </a:lnTo>
                    <a:lnTo>
                      <a:pt x="2660" y="2430"/>
                    </a:lnTo>
                    <a:lnTo>
                      <a:pt x="2665" y="2440"/>
                    </a:lnTo>
                    <a:lnTo>
                      <a:pt x="2671" y="2448"/>
                    </a:lnTo>
                    <a:lnTo>
                      <a:pt x="2677" y="2457"/>
                    </a:lnTo>
                    <a:lnTo>
                      <a:pt x="2684" y="2463"/>
                    </a:lnTo>
                    <a:lnTo>
                      <a:pt x="2692" y="2469"/>
                    </a:lnTo>
                    <a:lnTo>
                      <a:pt x="2700" y="2474"/>
                    </a:lnTo>
                    <a:lnTo>
                      <a:pt x="2710" y="2479"/>
                    </a:lnTo>
                    <a:lnTo>
                      <a:pt x="2720" y="2481"/>
                    </a:lnTo>
                    <a:lnTo>
                      <a:pt x="2729" y="2482"/>
                    </a:lnTo>
                    <a:lnTo>
                      <a:pt x="2740" y="2483"/>
                    </a:lnTo>
                    <a:lnTo>
                      <a:pt x="2740" y="2483"/>
                    </a:lnTo>
                    <a:lnTo>
                      <a:pt x="2747" y="2482"/>
                    </a:lnTo>
                    <a:lnTo>
                      <a:pt x="2756" y="2481"/>
                    </a:lnTo>
                    <a:lnTo>
                      <a:pt x="2763" y="2480"/>
                    </a:lnTo>
                    <a:lnTo>
                      <a:pt x="2769" y="2477"/>
                    </a:lnTo>
                    <a:lnTo>
                      <a:pt x="2777" y="2474"/>
                    </a:lnTo>
                    <a:lnTo>
                      <a:pt x="2784" y="2470"/>
                    </a:lnTo>
                    <a:lnTo>
                      <a:pt x="2790" y="2465"/>
                    </a:lnTo>
                    <a:lnTo>
                      <a:pt x="2796" y="2459"/>
                    </a:lnTo>
                    <a:lnTo>
                      <a:pt x="2796" y="2477"/>
                    </a:lnTo>
                    <a:lnTo>
                      <a:pt x="2857" y="2477"/>
                    </a:lnTo>
                    <a:lnTo>
                      <a:pt x="2857" y="2131"/>
                    </a:lnTo>
                    <a:lnTo>
                      <a:pt x="2796" y="2161"/>
                    </a:lnTo>
                    <a:lnTo>
                      <a:pt x="2796" y="2250"/>
                    </a:lnTo>
                    <a:close/>
                    <a:moveTo>
                      <a:pt x="2754" y="2427"/>
                    </a:moveTo>
                    <a:lnTo>
                      <a:pt x="2754" y="2427"/>
                    </a:lnTo>
                    <a:lnTo>
                      <a:pt x="2745" y="2426"/>
                    </a:lnTo>
                    <a:lnTo>
                      <a:pt x="2738" y="2424"/>
                    </a:lnTo>
                    <a:lnTo>
                      <a:pt x="2729" y="2420"/>
                    </a:lnTo>
                    <a:lnTo>
                      <a:pt x="2722" y="2413"/>
                    </a:lnTo>
                    <a:lnTo>
                      <a:pt x="2716" y="2403"/>
                    </a:lnTo>
                    <a:lnTo>
                      <a:pt x="2711" y="2390"/>
                    </a:lnTo>
                    <a:lnTo>
                      <a:pt x="2709" y="2373"/>
                    </a:lnTo>
                    <a:lnTo>
                      <a:pt x="2707" y="2351"/>
                    </a:lnTo>
                    <a:lnTo>
                      <a:pt x="2707" y="2351"/>
                    </a:lnTo>
                    <a:lnTo>
                      <a:pt x="2709" y="2333"/>
                    </a:lnTo>
                    <a:lnTo>
                      <a:pt x="2711" y="2317"/>
                    </a:lnTo>
                    <a:lnTo>
                      <a:pt x="2716" y="2305"/>
                    </a:lnTo>
                    <a:lnTo>
                      <a:pt x="2722" y="2296"/>
                    </a:lnTo>
                    <a:lnTo>
                      <a:pt x="2729" y="2290"/>
                    </a:lnTo>
                    <a:lnTo>
                      <a:pt x="2737" y="2285"/>
                    </a:lnTo>
                    <a:lnTo>
                      <a:pt x="2745" y="2284"/>
                    </a:lnTo>
                    <a:lnTo>
                      <a:pt x="2752" y="2283"/>
                    </a:lnTo>
                    <a:lnTo>
                      <a:pt x="2752" y="2283"/>
                    </a:lnTo>
                    <a:lnTo>
                      <a:pt x="2761" y="2284"/>
                    </a:lnTo>
                    <a:lnTo>
                      <a:pt x="2768" y="2285"/>
                    </a:lnTo>
                    <a:lnTo>
                      <a:pt x="2774" y="2288"/>
                    </a:lnTo>
                    <a:lnTo>
                      <a:pt x="2780" y="2291"/>
                    </a:lnTo>
                    <a:lnTo>
                      <a:pt x="2785" y="2295"/>
                    </a:lnTo>
                    <a:lnTo>
                      <a:pt x="2790" y="2299"/>
                    </a:lnTo>
                    <a:lnTo>
                      <a:pt x="2796" y="2307"/>
                    </a:lnTo>
                    <a:lnTo>
                      <a:pt x="2796" y="2403"/>
                    </a:lnTo>
                    <a:lnTo>
                      <a:pt x="2796" y="2403"/>
                    </a:lnTo>
                    <a:lnTo>
                      <a:pt x="2789" y="2412"/>
                    </a:lnTo>
                    <a:lnTo>
                      <a:pt x="2780" y="2419"/>
                    </a:lnTo>
                    <a:lnTo>
                      <a:pt x="2774" y="2423"/>
                    </a:lnTo>
                    <a:lnTo>
                      <a:pt x="2768" y="2425"/>
                    </a:lnTo>
                    <a:lnTo>
                      <a:pt x="2761" y="2426"/>
                    </a:lnTo>
                    <a:lnTo>
                      <a:pt x="2754" y="2427"/>
                    </a:lnTo>
                    <a:lnTo>
                      <a:pt x="2754" y="2427"/>
                    </a:lnTo>
                    <a:close/>
                    <a:moveTo>
                      <a:pt x="740" y="2301"/>
                    </a:moveTo>
                    <a:lnTo>
                      <a:pt x="740" y="2301"/>
                    </a:lnTo>
                    <a:lnTo>
                      <a:pt x="732" y="2296"/>
                    </a:lnTo>
                    <a:lnTo>
                      <a:pt x="722" y="2291"/>
                    </a:lnTo>
                    <a:lnTo>
                      <a:pt x="711" y="2289"/>
                    </a:lnTo>
                    <a:lnTo>
                      <a:pt x="700" y="2288"/>
                    </a:lnTo>
                    <a:lnTo>
                      <a:pt x="700" y="2288"/>
                    </a:lnTo>
                    <a:lnTo>
                      <a:pt x="690" y="2289"/>
                    </a:lnTo>
                    <a:lnTo>
                      <a:pt x="680" y="2291"/>
                    </a:lnTo>
                    <a:lnTo>
                      <a:pt x="673" y="2296"/>
                    </a:lnTo>
                    <a:lnTo>
                      <a:pt x="667" y="2302"/>
                    </a:lnTo>
                    <a:lnTo>
                      <a:pt x="662" y="2310"/>
                    </a:lnTo>
                    <a:lnTo>
                      <a:pt x="660" y="2319"/>
                    </a:lnTo>
                    <a:lnTo>
                      <a:pt x="657" y="2331"/>
                    </a:lnTo>
                    <a:lnTo>
                      <a:pt x="656" y="2345"/>
                    </a:lnTo>
                    <a:lnTo>
                      <a:pt x="656" y="2477"/>
                    </a:lnTo>
                    <a:lnTo>
                      <a:pt x="597" y="2477"/>
                    </a:lnTo>
                    <a:lnTo>
                      <a:pt x="597" y="2233"/>
                    </a:lnTo>
                    <a:lnTo>
                      <a:pt x="656" y="2233"/>
                    </a:lnTo>
                    <a:lnTo>
                      <a:pt x="656" y="2254"/>
                    </a:lnTo>
                    <a:lnTo>
                      <a:pt x="656" y="2254"/>
                    </a:lnTo>
                    <a:lnTo>
                      <a:pt x="662" y="2248"/>
                    </a:lnTo>
                    <a:lnTo>
                      <a:pt x="668" y="2241"/>
                    </a:lnTo>
                    <a:lnTo>
                      <a:pt x="674" y="2238"/>
                    </a:lnTo>
                    <a:lnTo>
                      <a:pt x="682" y="2234"/>
                    </a:lnTo>
                    <a:lnTo>
                      <a:pt x="688" y="2231"/>
                    </a:lnTo>
                    <a:lnTo>
                      <a:pt x="695" y="2229"/>
                    </a:lnTo>
                    <a:lnTo>
                      <a:pt x="704" y="2228"/>
                    </a:lnTo>
                    <a:lnTo>
                      <a:pt x="711" y="2227"/>
                    </a:lnTo>
                    <a:lnTo>
                      <a:pt x="711" y="2227"/>
                    </a:lnTo>
                    <a:lnTo>
                      <a:pt x="723" y="2228"/>
                    </a:lnTo>
                    <a:lnTo>
                      <a:pt x="735" y="2232"/>
                    </a:lnTo>
                    <a:lnTo>
                      <a:pt x="747" y="2237"/>
                    </a:lnTo>
                    <a:lnTo>
                      <a:pt x="757" y="2243"/>
                    </a:lnTo>
                    <a:lnTo>
                      <a:pt x="740" y="2301"/>
                    </a:lnTo>
                    <a:close/>
                    <a:moveTo>
                      <a:pt x="265" y="2233"/>
                    </a:moveTo>
                    <a:lnTo>
                      <a:pt x="324" y="2233"/>
                    </a:lnTo>
                    <a:lnTo>
                      <a:pt x="255" y="2477"/>
                    </a:lnTo>
                    <a:lnTo>
                      <a:pt x="203" y="2477"/>
                    </a:lnTo>
                    <a:lnTo>
                      <a:pt x="176" y="2376"/>
                    </a:lnTo>
                    <a:lnTo>
                      <a:pt x="176" y="2376"/>
                    </a:lnTo>
                    <a:lnTo>
                      <a:pt x="163" y="2323"/>
                    </a:lnTo>
                    <a:lnTo>
                      <a:pt x="163" y="2323"/>
                    </a:lnTo>
                    <a:lnTo>
                      <a:pt x="157" y="2348"/>
                    </a:lnTo>
                    <a:lnTo>
                      <a:pt x="149" y="2378"/>
                    </a:lnTo>
                    <a:lnTo>
                      <a:pt x="122" y="2477"/>
                    </a:lnTo>
                    <a:lnTo>
                      <a:pt x="69" y="2477"/>
                    </a:lnTo>
                    <a:lnTo>
                      <a:pt x="69" y="2476"/>
                    </a:lnTo>
                    <a:lnTo>
                      <a:pt x="0" y="2233"/>
                    </a:lnTo>
                    <a:lnTo>
                      <a:pt x="63" y="2233"/>
                    </a:lnTo>
                    <a:lnTo>
                      <a:pt x="85" y="2324"/>
                    </a:lnTo>
                    <a:lnTo>
                      <a:pt x="85" y="2324"/>
                    </a:lnTo>
                    <a:lnTo>
                      <a:pt x="91" y="2353"/>
                    </a:lnTo>
                    <a:lnTo>
                      <a:pt x="97" y="2384"/>
                    </a:lnTo>
                    <a:lnTo>
                      <a:pt x="97" y="2384"/>
                    </a:lnTo>
                    <a:lnTo>
                      <a:pt x="105" y="2353"/>
                    </a:lnTo>
                    <a:lnTo>
                      <a:pt x="112" y="2323"/>
                    </a:lnTo>
                    <a:lnTo>
                      <a:pt x="137" y="2233"/>
                    </a:lnTo>
                    <a:lnTo>
                      <a:pt x="190" y="2233"/>
                    </a:lnTo>
                    <a:lnTo>
                      <a:pt x="215" y="2323"/>
                    </a:lnTo>
                    <a:lnTo>
                      <a:pt x="215" y="2323"/>
                    </a:lnTo>
                    <a:lnTo>
                      <a:pt x="222" y="2352"/>
                    </a:lnTo>
                    <a:lnTo>
                      <a:pt x="230" y="2385"/>
                    </a:lnTo>
                    <a:lnTo>
                      <a:pt x="230" y="2385"/>
                    </a:lnTo>
                    <a:lnTo>
                      <a:pt x="235" y="2357"/>
                    </a:lnTo>
                    <a:lnTo>
                      <a:pt x="242" y="2323"/>
                    </a:lnTo>
                    <a:lnTo>
                      <a:pt x="265" y="2233"/>
                    </a:lnTo>
                    <a:close/>
                    <a:moveTo>
                      <a:pt x="447" y="2227"/>
                    </a:moveTo>
                    <a:lnTo>
                      <a:pt x="447" y="2227"/>
                    </a:lnTo>
                    <a:lnTo>
                      <a:pt x="436" y="2228"/>
                    </a:lnTo>
                    <a:lnTo>
                      <a:pt x="424" y="2229"/>
                    </a:lnTo>
                    <a:lnTo>
                      <a:pt x="413" y="2233"/>
                    </a:lnTo>
                    <a:lnTo>
                      <a:pt x="403" y="2237"/>
                    </a:lnTo>
                    <a:lnTo>
                      <a:pt x="394" y="2241"/>
                    </a:lnTo>
                    <a:lnTo>
                      <a:pt x="384" y="2248"/>
                    </a:lnTo>
                    <a:lnTo>
                      <a:pt x="375" y="2255"/>
                    </a:lnTo>
                    <a:lnTo>
                      <a:pt x="368" y="2263"/>
                    </a:lnTo>
                    <a:lnTo>
                      <a:pt x="361" y="2272"/>
                    </a:lnTo>
                    <a:lnTo>
                      <a:pt x="355" y="2282"/>
                    </a:lnTo>
                    <a:lnTo>
                      <a:pt x="349" y="2293"/>
                    </a:lnTo>
                    <a:lnTo>
                      <a:pt x="345" y="2303"/>
                    </a:lnTo>
                    <a:lnTo>
                      <a:pt x="341" y="2316"/>
                    </a:lnTo>
                    <a:lnTo>
                      <a:pt x="339" y="2328"/>
                    </a:lnTo>
                    <a:lnTo>
                      <a:pt x="337" y="2341"/>
                    </a:lnTo>
                    <a:lnTo>
                      <a:pt x="337" y="2356"/>
                    </a:lnTo>
                    <a:lnTo>
                      <a:pt x="337" y="2356"/>
                    </a:lnTo>
                    <a:lnTo>
                      <a:pt x="337" y="2369"/>
                    </a:lnTo>
                    <a:lnTo>
                      <a:pt x="339" y="2382"/>
                    </a:lnTo>
                    <a:lnTo>
                      <a:pt x="341" y="2395"/>
                    </a:lnTo>
                    <a:lnTo>
                      <a:pt x="345" y="2407"/>
                    </a:lnTo>
                    <a:lnTo>
                      <a:pt x="349" y="2418"/>
                    </a:lnTo>
                    <a:lnTo>
                      <a:pt x="355" y="2429"/>
                    </a:lnTo>
                    <a:lnTo>
                      <a:pt x="361" y="2438"/>
                    </a:lnTo>
                    <a:lnTo>
                      <a:pt x="368" y="2447"/>
                    </a:lnTo>
                    <a:lnTo>
                      <a:pt x="375" y="2455"/>
                    </a:lnTo>
                    <a:lnTo>
                      <a:pt x="384" y="2463"/>
                    </a:lnTo>
                    <a:lnTo>
                      <a:pt x="394" y="2469"/>
                    </a:lnTo>
                    <a:lnTo>
                      <a:pt x="403" y="2474"/>
                    </a:lnTo>
                    <a:lnTo>
                      <a:pt x="413" y="2477"/>
                    </a:lnTo>
                    <a:lnTo>
                      <a:pt x="424" y="2481"/>
                    </a:lnTo>
                    <a:lnTo>
                      <a:pt x="436" y="2482"/>
                    </a:lnTo>
                    <a:lnTo>
                      <a:pt x="447" y="2483"/>
                    </a:lnTo>
                    <a:lnTo>
                      <a:pt x="447" y="2483"/>
                    </a:lnTo>
                    <a:lnTo>
                      <a:pt x="459" y="2482"/>
                    </a:lnTo>
                    <a:lnTo>
                      <a:pt x="471" y="2481"/>
                    </a:lnTo>
                    <a:lnTo>
                      <a:pt x="482" y="2477"/>
                    </a:lnTo>
                    <a:lnTo>
                      <a:pt x="492" y="2474"/>
                    </a:lnTo>
                    <a:lnTo>
                      <a:pt x="502" y="2469"/>
                    </a:lnTo>
                    <a:lnTo>
                      <a:pt x="512" y="2463"/>
                    </a:lnTo>
                    <a:lnTo>
                      <a:pt x="520" y="2455"/>
                    </a:lnTo>
                    <a:lnTo>
                      <a:pt x="527" y="2447"/>
                    </a:lnTo>
                    <a:lnTo>
                      <a:pt x="535" y="2438"/>
                    </a:lnTo>
                    <a:lnTo>
                      <a:pt x="541" y="2429"/>
                    </a:lnTo>
                    <a:lnTo>
                      <a:pt x="546" y="2418"/>
                    </a:lnTo>
                    <a:lnTo>
                      <a:pt x="550" y="2407"/>
                    </a:lnTo>
                    <a:lnTo>
                      <a:pt x="554" y="2395"/>
                    </a:lnTo>
                    <a:lnTo>
                      <a:pt x="557" y="2382"/>
                    </a:lnTo>
                    <a:lnTo>
                      <a:pt x="559" y="2369"/>
                    </a:lnTo>
                    <a:lnTo>
                      <a:pt x="559" y="2356"/>
                    </a:lnTo>
                    <a:lnTo>
                      <a:pt x="559" y="2356"/>
                    </a:lnTo>
                    <a:lnTo>
                      <a:pt x="559" y="2341"/>
                    </a:lnTo>
                    <a:lnTo>
                      <a:pt x="557" y="2328"/>
                    </a:lnTo>
                    <a:lnTo>
                      <a:pt x="554" y="2316"/>
                    </a:lnTo>
                    <a:lnTo>
                      <a:pt x="550" y="2303"/>
                    </a:lnTo>
                    <a:lnTo>
                      <a:pt x="546" y="2293"/>
                    </a:lnTo>
                    <a:lnTo>
                      <a:pt x="541" y="2282"/>
                    </a:lnTo>
                    <a:lnTo>
                      <a:pt x="535" y="2272"/>
                    </a:lnTo>
                    <a:lnTo>
                      <a:pt x="527" y="2263"/>
                    </a:lnTo>
                    <a:lnTo>
                      <a:pt x="520" y="2255"/>
                    </a:lnTo>
                    <a:lnTo>
                      <a:pt x="512" y="2248"/>
                    </a:lnTo>
                    <a:lnTo>
                      <a:pt x="502" y="2241"/>
                    </a:lnTo>
                    <a:lnTo>
                      <a:pt x="492" y="2237"/>
                    </a:lnTo>
                    <a:lnTo>
                      <a:pt x="482" y="2233"/>
                    </a:lnTo>
                    <a:lnTo>
                      <a:pt x="471" y="2229"/>
                    </a:lnTo>
                    <a:lnTo>
                      <a:pt x="459" y="2228"/>
                    </a:lnTo>
                    <a:lnTo>
                      <a:pt x="447" y="2227"/>
                    </a:lnTo>
                    <a:lnTo>
                      <a:pt x="447" y="2227"/>
                    </a:lnTo>
                    <a:close/>
                    <a:moveTo>
                      <a:pt x="447" y="2426"/>
                    </a:moveTo>
                    <a:lnTo>
                      <a:pt x="447" y="2426"/>
                    </a:lnTo>
                    <a:lnTo>
                      <a:pt x="436" y="2425"/>
                    </a:lnTo>
                    <a:lnTo>
                      <a:pt x="427" y="2421"/>
                    </a:lnTo>
                    <a:lnTo>
                      <a:pt x="419" y="2415"/>
                    </a:lnTo>
                    <a:lnTo>
                      <a:pt x="412" y="2407"/>
                    </a:lnTo>
                    <a:lnTo>
                      <a:pt x="406" y="2397"/>
                    </a:lnTo>
                    <a:lnTo>
                      <a:pt x="401" y="2385"/>
                    </a:lnTo>
                    <a:lnTo>
                      <a:pt x="399" y="2370"/>
                    </a:lnTo>
                    <a:lnTo>
                      <a:pt x="399" y="2356"/>
                    </a:lnTo>
                    <a:lnTo>
                      <a:pt x="399" y="2356"/>
                    </a:lnTo>
                    <a:lnTo>
                      <a:pt x="399" y="2340"/>
                    </a:lnTo>
                    <a:lnTo>
                      <a:pt x="401" y="2325"/>
                    </a:lnTo>
                    <a:lnTo>
                      <a:pt x="406" y="2314"/>
                    </a:lnTo>
                    <a:lnTo>
                      <a:pt x="412" y="2303"/>
                    </a:lnTo>
                    <a:lnTo>
                      <a:pt x="419" y="2295"/>
                    </a:lnTo>
                    <a:lnTo>
                      <a:pt x="427" y="2289"/>
                    </a:lnTo>
                    <a:lnTo>
                      <a:pt x="436" y="2285"/>
                    </a:lnTo>
                    <a:lnTo>
                      <a:pt x="447" y="2284"/>
                    </a:lnTo>
                    <a:lnTo>
                      <a:pt x="447" y="2284"/>
                    </a:lnTo>
                    <a:lnTo>
                      <a:pt x="458" y="2285"/>
                    </a:lnTo>
                    <a:lnTo>
                      <a:pt x="468" y="2289"/>
                    </a:lnTo>
                    <a:lnTo>
                      <a:pt x="476" y="2295"/>
                    </a:lnTo>
                    <a:lnTo>
                      <a:pt x="484" y="2303"/>
                    </a:lnTo>
                    <a:lnTo>
                      <a:pt x="490" y="2314"/>
                    </a:lnTo>
                    <a:lnTo>
                      <a:pt x="493" y="2325"/>
                    </a:lnTo>
                    <a:lnTo>
                      <a:pt x="496" y="2340"/>
                    </a:lnTo>
                    <a:lnTo>
                      <a:pt x="497" y="2356"/>
                    </a:lnTo>
                    <a:lnTo>
                      <a:pt x="497" y="2356"/>
                    </a:lnTo>
                    <a:lnTo>
                      <a:pt x="496" y="2370"/>
                    </a:lnTo>
                    <a:lnTo>
                      <a:pt x="493" y="2385"/>
                    </a:lnTo>
                    <a:lnTo>
                      <a:pt x="490" y="2397"/>
                    </a:lnTo>
                    <a:lnTo>
                      <a:pt x="484" y="2407"/>
                    </a:lnTo>
                    <a:lnTo>
                      <a:pt x="476" y="2415"/>
                    </a:lnTo>
                    <a:lnTo>
                      <a:pt x="468" y="2421"/>
                    </a:lnTo>
                    <a:lnTo>
                      <a:pt x="458" y="2425"/>
                    </a:lnTo>
                    <a:lnTo>
                      <a:pt x="447" y="2426"/>
                    </a:lnTo>
                    <a:lnTo>
                      <a:pt x="447" y="2426"/>
                    </a:lnTo>
                    <a:close/>
                    <a:moveTo>
                      <a:pt x="2498" y="2301"/>
                    </a:moveTo>
                    <a:lnTo>
                      <a:pt x="2498" y="2301"/>
                    </a:lnTo>
                    <a:lnTo>
                      <a:pt x="2489" y="2296"/>
                    </a:lnTo>
                    <a:lnTo>
                      <a:pt x="2479" y="2291"/>
                    </a:lnTo>
                    <a:lnTo>
                      <a:pt x="2468" y="2289"/>
                    </a:lnTo>
                    <a:lnTo>
                      <a:pt x="2458" y="2288"/>
                    </a:lnTo>
                    <a:lnTo>
                      <a:pt x="2458" y="2288"/>
                    </a:lnTo>
                    <a:lnTo>
                      <a:pt x="2447" y="2289"/>
                    </a:lnTo>
                    <a:lnTo>
                      <a:pt x="2439" y="2291"/>
                    </a:lnTo>
                    <a:lnTo>
                      <a:pt x="2432" y="2296"/>
                    </a:lnTo>
                    <a:lnTo>
                      <a:pt x="2425" y="2302"/>
                    </a:lnTo>
                    <a:lnTo>
                      <a:pt x="2421" y="2310"/>
                    </a:lnTo>
                    <a:lnTo>
                      <a:pt x="2417" y="2319"/>
                    </a:lnTo>
                    <a:lnTo>
                      <a:pt x="2415" y="2331"/>
                    </a:lnTo>
                    <a:lnTo>
                      <a:pt x="2415" y="2345"/>
                    </a:lnTo>
                    <a:lnTo>
                      <a:pt x="2415" y="2477"/>
                    </a:lnTo>
                    <a:lnTo>
                      <a:pt x="2354" y="2477"/>
                    </a:lnTo>
                    <a:lnTo>
                      <a:pt x="2354" y="2233"/>
                    </a:lnTo>
                    <a:lnTo>
                      <a:pt x="2415" y="2233"/>
                    </a:lnTo>
                    <a:lnTo>
                      <a:pt x="2415" y="2254"/>
                    </a:lnTo>
                    <a:lnTo>
                      <a:pt x="2415" y="2254"/>
                    </a:lnTo>
                    <a:lnTo>
                      <a:pt x="2419" y="2248"/>
                    </a:lnTo>
                    <a:lnTo>
                      <a:pt x="2425" y="2241"/>
                    </a:lnTo>
                    <a:lnTo>
                      <a:pt x="2432" y="2238"/>
                    </a:lnTo>
                    <a:lnTo>
                      <a:pt x="2439" y="2234"/>
                    </a:lnTo>
                    <a:lnTo>
                      <a:pt x="2446" y="2231"/>
                    </a:lnTo>
                    <a:lnTo>
                      <a:pt x="2453" y="2229"/>
                    </a:lnTo>
                    <a:lnTo>
                      <a:pt x="2461" y="2228"/>
                    </a:lnTo>
                    <a:lnTo>
                      <a:pt x="2468" y="2227"/>
                    </a:lnTo>
                    <a:lnTo>
                      <a:pt x="2468" y="2227"/>
                    </a:lnTo>
                    <a:lnTo>
                      <a:pt x="2480" y="2228"/>
                    </a:lnTo>
                    <a:lnTo>
                      <a:pt x="2492" y="2232"/>
                    </a:lnTo>
                    <a:lnTo>
                      <a:pt x="2504" y="2237"/>
                    </a:lnTo>
                    <a:lnTo>
                      <a:pt x="2514" y="2243"/>
                    </a:lnTo>
                    <a:lnTo>
                      <a:pt x="2498" y="2301"/>
                    </a:lnTo>
                    <a:close/>
                    <a:moveTo>
                      <a:pt x="2022" y="2233"/>
                    </a:moveTo>
                    <a:lnTo>
                      <a:pt x="2082" y="2233"/>
                    </a:lnTo>
                    <a:lnTo>
                      <a:pt x="2012" y="2477"/>
                    </a:lnTo>
                    <a:lnTo>
                      <a:pt x="1960" y="2477"/>
                    </a:lnTo>
                    <a:lnTo>
                      <a:pt x="1933" y="2376"/>
                    </a:lnTo>
                    <a:lnTo>
                      <a:pt x="1933" y="2376"/>
                    </a:lnTo>
                    <a:lnTo>
                      <a:pt x="1920" y="2323"/>
                    </a:lnTo>
                    <a:lnTo>
                      <a:pt x="1920" y="2323"/>
                    </a:lnTo>
                    <a:lnTo>
                      <a:pt x="1914" y="2348"/>
                    </a:lnTo>
                    <a:lnTo>
                      <a:pt x="1907" y="2378"/>
                    </a:lnTo>
                    <a:lnTo>
                      <a:pt x="1880" y="2477"/>
                    </a:lnTo>
                    <a:lnTo>
                      <a:pt x="1828" y="2477"/>
                    </a:lnTo>
                    <a:lnTo>
                      <a:pt x="1826" y="2476"/>
                    </a:lnTo>
                    <a:lnTo>
                      <a:pt x="1758" y="2233"/>
                    </a:lnTo>
                    <a:lnTo>
                      <a:pt x="1820" y="2233"/>
                    </a:lnTo>
                    <a:lnTo>
                      <a:pt x="1843" y="2324"/>
                    </a:lnTo>
                    <a:lnTo>
                      <a:pt x="1843" y="2324"/>
                    </a:lnTo>
                    <a:lnTo>
                      <a:pt x="1849" y="2353"/>
                    </a:lnTo>
                    <a:lnTo>
                      <a:pt x="1856" y="2384"/>
                    </a:lnTo>
                    <a:lnTo>
                      <a:pt x="1856" y="2384"/>
                    </a:lnTo>
                    <a:lnTo>
                      <a:pt x="1862" y="2353"/>
                    </a:lnTo>
                    <a:lnTo>
                      <a:pt x="1870" y="2323"/>
                    </a:lnTo>
                    <a:lnTo>
                      <a:pt x="1896" y="2233"/>
                    </a:lnTo>
                    <a:lnTo>
                      <a:pt x="1947" y="2233"/>
                    </a:lnTo>
                    <a:lnTo>
                      <a:pt x="1972" y="2323"/>
                    </a:lnTo>
                    <a:lnTo>
                      <a:pt x="1972" y="2323"/>
                    </a:lnTo>
                    <a:lnTo>
                      <a:pt x="1979" y="2352"/>
                    </a:lnTo>
                    <a:lnTo>
                      <a:pt x="1987" y="2385"/>
                    </a:lnTo>
                    <a:lnTo>
                      <a:pt x="1987" y="2385"/>
                    </a:lnTo>
                    <a:lnTo>
                      <a:pt x="1993" y="2357"/>
                    </a:lnTo>
                    <a:lnTo>
                      <a:pt x="2000" y="2323"/>
                    </a:lnTo>
                    <a:lnTo>
                      <a:pt x="2022" y="2233"/>
                    </a:lnTo>
                    <a:close/>
                    <a:moveTo>
                      <a:pt x="2204" y="2227"/>
                    </a:moveTo>
                    <a:lnTo>
                      <a:pt x="2204" y="2227"/>
                    </a:lnTo>
                    <a:lnTo>
                      <a:pt x="2193" y="2228"/>
                    </a:lnTo>
                    <a:lnTo>
                      <a:pt x="2181" y="2229"/>
                    </a:lnTo>
                    <a:lnTo>
                      <a:pt x="2170" y="2233"/>
                    </a:lnTo>
                    <a:lnTo>
                      <a:pt x="2161" y="2237"/>
                    </a:lnTo>
                    <a:lnTo>
                      <a:pt x="2151" y="2241"/>
                    </a:lnTo>
                    <a:lnTo>
                      <a:pt x="2141" y="2249"/>
                    </a:lnTo>
                    <a:lnTo>
                      <a:pt x="2133" y="2255"/>
                    </a:lnTo>
                    <a:lnTo>
                      <a:pt x="2125" y="2263"/>
                    </a:lnTo>
                    <a:lnTo>
                      <a:pt x="2118" y="2272"/>
                    </a:lnTo>
                    <a:lnTo>
                      <a:pt x="2112" y="2282"/>
                    </a:lnTo>
                    <a:lnTo>
                      <a:pt x="2106" y="2293"/>
                    </a:lnTo>
                    <a:lnTo>
                      <a:pt x="2102" y="2303"/>
                    </a:lnTo>
                    <a:lnTo>
                      <a:pt x="2099" y="2316"/>
                    </a:lnTo>
                    <a:lnTo>
                      <a:pt x="2095" y="2329"/>
                    </a:lnTo>
                    <a:lnTo>
                      <a:pt x="2094" y="2341"/>
                    </a:lnTo>
                    <a:lnTo>
                      <a:pt x="2094" y="2356"/>
                    </a:lnTo>
                    <a:lnTo>
                      <a:pt x="2094" y="2356"/>
                    </a:lnTo>
                    <a:lnTo>
                      <a:pt x="2094" y="2369"/>
                    </a:lnTo>
                    <a:lnTo>
                      <a:pt x="2095" y="2382"/>
                    </a:lnTo>
                    <a:lnTo>
                      <a:pt x="2099" y="2395"/>
                    </a:lnTo>
                    <a:lnTo>
                      <a:pt x="2102" y="2407"/>
                    </a:lnTo>
                    <a:lnTo>
                      <a:pt x="2106" y="2418"/>
                    </a:lnTo>
                    <a:lnTo>
                      <a:pt x="2112" y="2429"/>
                    </a:lnTo>
                    <a:lnTo>
                      <a:pt x="2118" y="2438"/>
                    </a:lnTo>
                    <a:lnTo>
                      <a:pt x="2125" y="2447"/>
                    </a:lnTo>
                    <a:lnTo>
                      <a:pt x="2133" y="2455"/>
                    </a:lnTo>
                    <a:lnTo>
                      <a:pt x="2141" y="2463"/>
                    </a:lnTo>
                    <a:lnTo>
                      <a:pt x="2151" y="2469"/>
                    </a:lnTo>
                    <a:lnTo>
                      <a:pt x="2161" y="2474"/>
                    </a:lnTo>
                    <a:lnTo>
                      <a:pt x="2170" y="2477"/>
                    </a:lnTo>
                    <a:lnTo>
                      <a:pt x="2181" y="2481"/>
                    </a:lnTo>
                    <a:lnTo>
                      <a:pt x="2193" y="2482"/>
                    </a:lnTo>
                    <a:lnTo>
                      <a:pt x="2204" y="2483"/>
                    </a:lnTo>
                    <a:lnTo>
                      <a:pt x="2204" y="2483"/>
                    </a:lnTo>
                    <a:lnTo>
                      <a:pt x="2216" y="2482"/>
                    </a:lnTo>
                    <a:lnTo>
                      <a:pt x="2229" y="2481"/>
                    </a:lnTo>
                    <a:lnTo>
                      <a:pt x="2240" y="2477"/>
                    </a:lnTo>
                    <a:lnTo>
                      <a:pt x="2249" y="2474"/>
                    </a:lnTo>
                    <a:lnTo>
                      <a:pt x="2259" y="2469"/>
                    </a:lnTo>
                    <a:lnTo>
                      <a:pt x="2269" y="2463"/>
                    </a:lnTo>
                    <a:lnTo>
                      <a:pt x="2277" y="2455"/>
                    </a:lnTo>
                    <a:lnTo>
                      <a:pt x="2284" y="2447"/>
                    </a:lnTo>
                    <a:lnTo>
                      <a:pt x="2292" y="2438"/>
                    </a:lnTo>
                    <a:lnTo>
                      <a:pt x="2298" y="2429"/>
                    </a:lnTo>
                    <a:lnTo>
                      <a:pt x="2303" y="2418"/>
                    </a:lnTo>
                    <a:lnTo>
                      <a:pt x="2308" y="2407"/>
                    </a:lnTo>
                    <a:lnTo>
                      <a:pt x="2311" y="2395"/>
                    </a:lnTo>
                    <a:lnTo>
                      <a:pt x="2314" y="2382"/>
                    </a:lnTo>
                    <a:lnTo>
                      <a:pt x="2316" y="2369"/>
                    </a:lnTo>
                    <a:lnTo>
                      <a:pt x="2316" y="2356"/>
                    </a:lnTo>
                    <a:lnTo>
                      <a:pt x="2316" y="2356"/>
                    </a:lnTo>
                    <a:lnTo>
                      <a:pt x="2316" y="2341"/>
                    </a:lnTo>
                    <a:lnTo>
                      <a:pt x="2314" y="2329"/>
                    </a:lnTo>
                    <a:lnTo>
                      <a:pt x="2311" y="2316"/>
                    </a:lnTo>
                    <a:lnTo>
                      <a:pt x="2308" y="2303"/>
                    </a:lnTo>
                    <a:lnTo>
                      <a:pt x="2303" y="2293"/>
                    </a:lnTo>
                    <a:lnTo>
                      <a:pt x="2298" y="2282"/>
                    </a:lnTo>
                    <a:lnTo>
                      <a:pt x="2292" y="2272"/>
                    </a:lnTo>
                    <a:lnTo>
                      <a:pt x="2284" y="2263"/>
                    </a:lnTo>
                    <a:lnTo>
                      <a:pt x="2277" y="2255"/>
                    </a:lnTo>
                    <a:lnTo>
                      <a:pt x="2269" y="2249"/>
                    </a:lnTo>
                    <a:lnTo>
                      <a:pt x="2259" y="2241"/>
                    </a:lnTo>
                    <a:lnTo>
                      <a:pt x="2249" y="2237"/>
                    </a:lnTo>
                    <a:lnTo>
                      <a:pt x="2240" y="2233"/>
                    </a:lnTo>
                    <a:lnTo>
                      <a:pt x="2229" y="2229"/>
                    </a:lnTo>
                    <a:lnTo>
                      <a:pt x="2216" y="2228"/>
                    </a:lnTo>
                    <a:lnTo>
                      <a:pt x="2204" y="2227"/>
                    </a:lnTo>
                    <a:lnTo>
                      <a:pt x="2204" y="2227"/>
                    </a:lnTo>
                    <a:close/>
                    <a:moveTo>
                      <a:pt x="2204" y="2426"/>
                    </a:moveTo>
                    <a:lnTo>
                      <a:pt x="2204" y="2426"/>
                    </a:lnTo>
                    <a:lnTo>
                      <a:pt x="2193" y="2425"/>
                    </a:lnTo>
                    <a:lnTo>
                      <a:pt x="2185" y="2421"/>
                    </a:lnTo>
                    <a:lnTo>
                      <a:pt x="2176" y="2415"/>
                    </a:lnTo>
                    <a:lnTo>
                      <a:pt x="2169" y="2407"/>
                    </a:lnTo>
                    <a:lnTo>
                      <a:pt x="2163" y="2397"/>
                    </a:lnTo>
                    <a:lnTo>
                      <a:pt x="2158" y="2385"/>
                    </a:lnTo>
                    <a:lnTo>
                      <a:pt x="2156" y="2370"/>
                    </a:lnTo>
                    <a:lnTo>
                      <a:pt x="2156" y="2356"/>
                    </a:lnTo>
                    <a:lnTo>
                      <a:pt x="2156" y="2356"/>
                    </a:lnTo>
                    <a:lnTo>
                      <a:pt x="2156" y="2340"/>
                    </a:lnTo>
                    <a:lnTo>
                      <a:pt x="2158" y="2327"/>
                    </a:lnTo>
                    <a:lnTo>
                      <a:pt x="2163" y="2314"/>
                    </a:lnTo>
                    <a:lnTo>
                      <a:pt x="2169" y="2303"/>
                    </a:lnTo>
                    <a:lnTo>
                      <a:pt x="2176" y="2295"/>
                    </a:lnTo>
                    <a:lnTo>
                      <a:pt x="2185" y="2289"/>
                    </a:lnTo>
                    <a:lnTo>
                      <a:pt x="2193" y="2285"/>
                    </a:lnTo>
                    <a:lnTo>
                      <a:pt x="2204" y="2284"/>
                    </a:lnTo>
                    <a:lnTo>
                      <a:pt x="2204" y="2284"/>
                    </a:lnTo>
                    <a:lnTo>
                      <a:pt x="2215" y="2285"/>
                    </a:lnTo>
                    <a:lnTo>
                      <a:pt x="2225" y="2289"/>
                    </a:lnTo>
                    <a:lnTo>
                      <a:pt x="2233" y="2295"/>
                    </a:lnTo>
                    <a:lnTo>
                      <a:pt x="2241" y="2303"/>
                    </a:lnTo>
                    <a:lnTo>
                      <a:pt x="2247" y="2314"/>
                    </a:lnTo>
                    <a:lnTo>
                      <a:pt x="2250" y="2327"/>
                    </a:lnTo>
                    <a:lnTo>
                      <a:pt x="2253" y="2340"/>
                    </a:lnTo>
                    <a:lnTo>
                      <a:pt x="2254" y="2356"/>
                    </a:lnTo>
                    <a:lnTo>
                      <a:pt x="2254" y="2356"/>
                    </a:lnTo>
                    <a:lnTo>
                      <a:pt x="2253" y="2370"/>
                    </a:lnTo>
                    <a:lnTo>
                      <a:pt x="2250" y="2385"/>
                    </a:lnTo>
                    <a:lnTo>
                      <a:pt x="2247" y="2397"/>
                    </a:lnTo>
                    <a:lnTo>
                      <a:pt x="2241" y="2407"/>
                    </a:lnTo>
                    <a:lnTo>
                      <a:pt x="2233" y="2415"/>
                    </a:lnTo>
                    <a:lnTo>
                      <a:pt x="2225" y="2421"/>
                    </a:lnTo>
                    <a:lnTo>
                      <a:pt x="2215" y="2425"/>
                    </a:lnTo>
                    <a:lnTo>
                      <a:pt x="2204" y="2426"/>
                    </a:lnTo>
                    <a:lnTo>
                      <a:pt x="2204" y="2426"/>
                    </a:lnTo>
                    <a:close/>
                    <a:moveTo>
                      <a:pt x="921" y="2313"/>
                    </a:moveTo>
                    <a:lnTo>
                      <a:pt x="995" y="2477"/>
                    </a:lnTo>
                    <a:lnTo>
                      <a:pt x="928" y="2477"/>
                    </a:lnTo>
                    <a:lnTo>
                      <a:pt x="877" y="2364"/>
                    </a:lnTo>
                    <a:lnTo>
                      <a:pt x="845" y="2404"/>
                    </a:lnTo>
                    <a:lnTo>
                      <a:pt x="845" y="2477"/>
                    </a:lnTo>
                    <a:lnTo>
                      <a:pt x="785" y="2477"/>
                    </a:lnTo>
                    <a:lnTo>
                      <a:pt x="785" y="2161"/>
                    </a:lnTo>
                    <a:lnTo>
                      <a:pt x="845" y="2131"/>
                    </a:lnTo>
                    <a:lnTo>
                      <a:pt x="845" y="2327"/>
                    </a:lnTo>
                    <a:lnTo>
                      <a:pt x="845" y="2327"/>
                    </a:lnTo>
                    <a:lnTo>
                      <a:pt x="868" y="2295"/>
                    </a:lnTo>
                    <a:lnTo>
                      <a:pt x="916" y="2233"/>
                    </a:lnTo>
                    <a:lnTo>
                      <a:pt x="987" y="2233"/>
                    </a:lnTo>
                    <a:lnTo>
                      <a:pt x="921" y="2313"/>
                    </a:lnTo>
                    <a:close/>
                    <a:moveTo>
                      <a:pt x="1208" y="2477"/>
                    </a:moveTo>
                    <a:lnTo>
                      <a:pt x="1147" y="2477"/>
                    </a:lnTo>
                    <a:lnTo>
                      <a:pt x="1147" y="2233"/>
                    </a:lnTo>
                    <a:lnTo>
                      <a:pt x="1208" y="2233"/>
                    </a:lnTo>
                    <a:lnTo>
                      <a:pt x="1208" y="2254"/>
                    </a:lnTo>
                    <a:lnTo>
                      <a:pt x="1208" y="2254"/>
                    </a:lnTo>
                    <a:lnTo>
                      <a:pt x="1214" y="2248"/>
                    </a:lnTo>
                    <a:lnTo>
                      <a:pt x="1220" y="2243"/>
                    </a:lnTo>
                    <a:lnTo>
                      <a:pt x="1227" y="2238"/>
                    </a:lnTo>
                    <a:lnTo>
                      <a:pt x="1235" y="2234"/>
                    </a:lnTo>
                    <a:lnTo>
                      <a:pt x="1243" y="2232"/>
                    </a:lnTo>
                    <a:lnTo>
                      <a:pt x="1252" y="2229"/>
                    </a:lnTo>
                    <a:lnTo>
                      <a:pt x="1260" y="2228"/>
                    </a:lnTo>
                    <a:lnTo>
                      <a:pt x="1270" y="2227"/>
                    </a:lnTo>
                    <a:lnTo>
                      <a:pt x="1270" y="2227"/>
                    </a:lnTo>
                    <a:lnTo>
                      <a:pt x="1281" y="2228"/>
                    </a:lnTo>
                    <a:lnTo>
                      <a:pt x="1290" y="2229"/>
                    </a:lnTo>
                    <a:lnTo>
                      <a:pt x="1299" y="2232"/>
                    </a:lnTo>
                    <a:lnTo>
                      <a:pt x="1309" y="2234"/>
                    </a:lnTo>
                    <a:lnTo>
                      <a:pt x="1316" y="2239"/>
                    </a:lnTo>
                    <a:lnTo>
                      <a:pt x="1323" y="2244"/>
                    </a:lnTo>
                    <a:lnTo>
                      <a:pt x="1331" y="2249"/>
                    </a:lnTo>
                    <a:lnTo>
                      <a:pt x="1337" y="2256"/>
                    </a:lnTo>
                    <a:lnTo>
                      <a:pt x="1342" y="2263"/>
                    </a:lnTo>
                    <a:lnTo>
                      <a:pt x="1346" y="2272"/>
                    </a:lnTo>
                    <a:lnTo>
                      <a:pt x="1350" y="2280"/>
                    </a:lnTo>
                    <a:lnTo>
                      <a:pt x="1354" y="2291"/>
                    </a:lnTo>
                    <a:lnTo>
                      <a:pt x="1356" y="2302"/>
                    </a:lnTo>
                    <a:lnTo>
                      <a:pt x="1357" y="2313"/>
                    </a:lnTo>
                    <a:lnTo>
                      <a:pt x="1359" y="2325"/>
                    </a:lnTo>
                    <a:lnTo>
                      <a:pt x="1360" y="2339"/>
                    </a:lnTo>
                    <a:lnTo>
                      <a:pt x="1360" y="2477"/>
                    </a:lnTo>
                    <a:lnTo>
                      <a:pt x="1299" y="2477"/>
                    </a:lnTo>
                    <a:lnTo>
                      <a:pt x="1299" y="2342"/>
                    </a:lnTo>
                    <a:lnTo>
                      <a:pt x="1299" y="2342"/>
                    </a:lnTo>
                    <a:lnTo>
                      <a:pt x="1298" y="2329"/>
                    </a:lnTo>
                    <a:lnTo>
                      <a:pt x="1297" y="2316"/>
                    </a:lnTo>
                    <a:lnTo>
                      <a:pt x="1293" y="2306"/>
                    </a:lnTo>
                    <a:lnTo>
                      <a:pt x="1288" y="2297"/>
                    </a:lnTo>
                    <a:lnTo>
                      <a:pt x="1282" y="2291"/>
                    </a:lnTo>
                    <a:lnTo>
                      <a:pt x="1275" y="2286"/>
                    </a:lnTo>
                    <a:lnTo>
                      <a:pt x="1265" y="2284"/>
                    </a:lnTo>
                    <a:lnTo>
                      <a:pt x="1254" y="2283"/>
                    </a:lnTo>
                    <a:lnTo>
                      <a:pt x="1254" y="2283"/>
                    </a:lnTo>
                    <a:lnTo>
                      <a:pt x="1244" y="2284"/>
                    </a:lnTo>
                    <a:lnTo>
                      <a:pt x="1235" y="2286"/>
                    </a:lnTo>
                    <a:lnTo>
                      <a:pt x="1226" y="2291"/>
                    </a:lnTo>
                    <a:lnTo>
                      <a:pt x="1220" y="2299"/>
                    </a:lnTo>
                    <a:lnTo>
                      <a:pt x="1215" y="2306"/>
                    </a:lnTo>
                    <a:lnTo>
                      <a:pt x="1212" y="2317"/>
                    </a:lnTo>
                    <a:lnTo>
                      <a:pt x="1209" y="2329"/>
                    </a:lnTo>
                    <a:lnTo>
                      <a:pt x="1208" y="2342"/>
                    </a:lnTo>
                    <a:lnTo>
                      <a:pt x="1208" y="2477"/>
                    </a:lnTo>
                    <a:close/>
                    <a:moveTo>
                      <a:pt x="1551" y="2250"/>
                    </a:moveTo>
                    <a:lnTo>
                      <a:pt x="1551" y="2250"/>
                    </a:lnTo>
                    <a:lnTo>
                      <a:pt x="1544" y="2245"/>
                    </a:lnTo>
                    <a:lnTo>
                      <a:pt x="1538" y="2240"/>
                    </a:lnTo>
                    <a:lnTo>
                      <a:pt x="1532" y="2237"/>
                    </a:lnTo>
                    <a:lnTo>
                      <a:pt x="1525" y="2233"/>
                    </a:lnTo>
                    <a:lnTo>
                      <a:pt x="1518" y="2231"/>
                    </a:lnTo>
                    <a:lnTo>
                      <a:pt x="1510" y="2229"/>
                    </a:lnTo>
                    <a:lnTo>
                      <a:pt x="1503" y="2228"/>
                    </a:lnTo>
                    <a:lnTo>
                      <a:pt x="1496" y="2227"/>
                    </a:lnTo>
                    <a:lnTo>
                      <a:pt x="1496" y="2227"/>
                    </a:lnTo>
                    <a:lnTo>
                      <a:pt x="1485" y="2228"/>
                    </a:lnTo>
                    <a:lnTo>
                      <a:pt x="1475" y="2229"/>
                    </a:lnTo>
                    <a:lnTo>
                      <a:pt x="1465" y="2232"/>
                    </a:lnTo>
                    <a:lnTo>
                      <a:pt x="1456" y="2237"/>
                    </a:lnTo>
                    <a:lnTo>
                      <a:pt x="1447" y="2240"/>
                    </a:lnTo>
                    <a:lnTo>
                      <a:pt x="1440" y="2246"/>
                    </a:lnTo>
                    <a:lnTo>
                      <a:pt x="1433" y="2254"/>
                    </a:lnTo>
                    <a:lnTo>
                      <a:pt x="1425" y="2261"/>
                    </a:lnTo>
                    <a:lnTo>
                      <a:pt x="1419" y="2269"/>
                    </a:lnTo>
                    <a:lnTo>
                      <a:pt x="1414" y="2279"/>
                    </a:lnTo>
                    <a:lnTo>
                      <a:pt x="1410" y="2289"/>
                    </a:lnTo>
                    <a:lnTo>
                      <a:pt x="1406" y="2301"/>
                    </a:lnTo>
                    <a:lnTo>
                      <a:pt x="1404" y="2312"/>
                    </a:lnTo>
                    <a:lnTo>
                      <a:pt x="1401" y="2325"/>
                    </a:lnTo>
                    <a:lnTo>
                      <a:pt x="1400" y="2339"/>
                    </a:lnTo>
                    <a:lnTo>
                      <a:pt x="1400" y="2352"/>
                    </a:lnTo>
                    <a:lnTo>
                      <a:pt x="1400" y="2352"/>
                    </a:lnTo>
                    <a:lnTo>
                      <a:pt x="1400" y="2368"/>
                    </a:lnTo>
                    <a:lnTo>
                      <a:pt x="1401" y="2381"/>
                    </a:lnTo>
                    <a:lnTo>
                      <a:pt x="1404" y="2395"/>
                    </a:lnTo>
                    <a:lnTo>
                      <a:pt x="1406" y="2408"/>
                    </a:lnTo>
                    <a:lnTo>
                      <a:pt x="1410" y="2419"/>
                    </a:lnTo>
                    <a:lnTo>
                      <a:pt x="1414" y="2430"/>
                    </a:lnTo>
                    <a:lnTo>
                      <a:pt x="1419" y="2440"/>
                    </a:lnTo>
                    <a:lnTo>
                      <a:pt x="1425" y="2448"/>
                    </a:lnTo>
                    <a:lnTo>
                      <a:pt x="1431" y="2457"/>
                    </a:lnTo>
                    <a:lnTo>
                      <a:pt x="1439" y="2463"/>
                    </a:lnTo>
                    <a:lnTo>
                      <a:pt x="1446" y="2469"/>
                    </a:lnTo>
                    <a:lnTo>
                      <a:pt x="1455" y="2474"/>
                    </a:lnTo>
                    <a:lnTo>
                      <a:pt x="1464" y="2477"/>
                    </a:lnTo>
                    <a:lnTo>
                      <a:pt x="1474" y="2481"/>
                    </a:lnTo>
                    <a:lnTo>
                      <a:pt x="1484" y="2482"/>
                    </a:lnTo>
                    <a:lnTo>
                      <a:pt x="1495" y="2483"/>
                    </a:lnTo>
                    <a:lnTo>
                      <a:pt x="1495" y="2483"/>
                    </a:lnTo>
                    <a:lnTo>
                      <a:pt x="1502" y="2482"/>
                    </a:lnTo>
                    <a:lnTo>
                      <a:pt x="1510" y="2481"/>
                    </a:lnTo>
                    <a:lnTo>
                      <a:pt x="1518" y="2480"/>
                    </a:lnTo>
                    <a:lnTo>
                      <a:pt x="1525" y="2477"/>
                    </a:lnTo>
                    <a:lnTo>
                      <a:pt x="1531" y="2474"/>
                    </a:lnTo>
                    <a:lnTo>
                      <a:pt x="1538" y="2470"/>
                    </a:lnTo>
                    <a:lnTo>
                      <a:pt x="1544" y="2465"/>
                    </a:lnTo>
                    <a:lnTo>
                      <a:pt x="1551" y="2459"/>
                    </a:lnTo>
                    <a:lnTo>
                      <a:pt x="1551" y="2465"/>
                    </a:lnTo>
                    <a:lnTo>
                      <a:pt x="1551" y="2465"/>
                    </a:lnTo>
                    <a:lnTo>
                      <a:pt x="1551" y="2475"/>
                    </a:lnTo>
                    <a:lnTo>
                      <a:pt x="1549" y="2486"/>
                    </a:lnTo>
                    <a:lnTo>
                      <a:pt x="1546" y="2497"/>
                    </a:lnTo>
                    <a:lnTo>
                      <a:pt x="1543" y="2502"/>
                    </a:lnTo>
                    <a:lnTo>
                      <a:pt x="1541" y="2506"/>
                    </a:lnTo>
                    <a:lnTo>
                      <a:pt x="1536" y="2511"/>
                    </a:lnTo>
                    <a:lnTo>
                      <a:pt x="1531" y="2516"/>
                    </a:lnTo>
                    <a:lnTo>
                      <a:pt x="1525" y="2520"/>
                    </a:lnTo>
                    <a:lnTo>
                      <a:pt x="1518" y="2524"/>
                    </a:lnTo>
                    <a:lnTo>
                      <a:pt x="1508" y="2526"/>
                    </a:lnTo>
                    <a:lnTo>
                      <a:pt x="1498" y="2528"/>
                    </a:lnTo>
                    <a:lnTo>
                      <a:pt x="1486" y="2530"/>
                    </a:lnTo>
                    <a:lnTo>
                      <a:pt x="1472" y="2530"/>
                    </a:lnTo>
                    <a:lnTo>
                      <a:pt x="1469" y="2530"/>
                    </a:lnTo>
                    <a:lnTo>
                      <a:pt x="1491" y="2577"/>
                    </a:lnTo>
                    <a:lnTo>
                      <a:pt x="1492" y="2577"/>
                    </a:lnTo>
                    <a:lnTo>
                      <a:pt x="1492" y="2577"/>
                    </a:lnTo>
                    <a:lnTo>
                      <a:pt x="1507" y="2577"/>
                    </a:lnTo>
                    <a:lnTo>
                      <a:pt x="1520" y="2576"/>
                    </a:lnTo>
                    <a:lnTo>
                      <a:pt x="1532" y="2572"/>
                    </a:lnTo>
                    <a:lnTo>
                      <a:pt x="1544" y="2570"/>
                    </a:lnTo>
                    <a:lnTo>
                      <a:pt x="1555" y="2565"/>
                    </a:lnTo>
                    <a:lnTo>
                      <a:pt x="1565" y="2560"/>
                    </a:lnTo>
                    <a:lnTo>
                      <a:pt x="1574" y="2554"/>
                    </a:lnTo>
                    <a:lnTo>
                      <a:pt x="1581" y="2547"/>
                    </a:lnTo>
                    <a:lnTo>
                      <a:pt x="1588" y="2538"/>
                    </a:lnTo>
                    <a:lnTo>
                      <a:pt x="1594" y="2530"/>
                    </a:lnTo>
                    <a:lnTo>
                      <a:pt x="1599" y="2519"/>
                    </a:lnTo>
                    <a:lnTo>
                      <a:pt x="1603" y="2508"/>
                    </a:lnTo>
                    <a:lnTo>
                      <a:pt x="1606" y="2497"/>
                    </a:lnTo>
                    <a:lnTo>
                      <a:pt x="1609" y="2483"/>
                    </a:lnTo>
                    <a:lnTo>
                      <a:pt x="1610" y="2470"/>
                    </a:lnTo>
                    <a:lnTo>
                      <a:pt x="1610" y="2455"/>
                    </a:lnTo>
                    <a:lnTo>
                      <a:pt x="1610" y="2233"/>
                    </a:lnTo>
                    <a:lnTo>
                      <a:pt x="1551" y="2233"/>
                    </a:lnTo>
                    <a:lnTo>
                      <a:pt x="1551" y="2250"/>
                    </a:lnTo>
                    <a:close/>
                    <a:moveTo>
                      <a:pt x="1551" y="2307"/>
                    </a:moveTo>
                    <a:lnTo>
                      <a:pt x="1551" y="2403"/>
                    </a:lnTo>
                    <a:lnTo>
                      <a:pt x="1551" y="2403"/>
                    </a:lnTo>
                    <a:lnTo>
                      <a:pt x="1542" y="2412"/>
                    </a:lnTo>
                    <a:lnTo>
                      <a:pt x="1534" y="2420"/>
                    </a:lnTo>
                    <a:lnTo>
                      <a:pt x="1527" y="2423"/>
                    </a:lnTo>
                    <a:lnTo>
                      <a:pt x="1521" y="2425"/>
                    </a:lnTo>
                    <a:lnTo>
                      <a:pt x="1515" y="2426"/>
                    </a:lnTo>
                    <a:lnTo>
                      <a:pt x="1507" y="2427"/>
                    </a:lnTo>
                    <a:lnTo>
                      <a:pt x="1507" y="2427"/>
                    </a:lnTo>
                    <a:lnTo>
                      <a:pt x="1499" y="2426"/>
                    </a:lnTo>
                    <a:lnTo>
                      <a:pt x="1491" y="2424"/>
                    </a:lnTo>
                    <a:lnTo>
                      <a:pt x="1484" y="2420"/>
                    </a:lnTo>
                    <a:lnTo>
                      <a:pt x="1476" y="2413"/>
                    </a:lnTo>
                    <a:lnTo>
                      <a:pt x="1470" y="2403"/>
                    </a:lnTo>
                    <a:lnTo>
                      <a:pt x="1465" y="2390"/>
                    </a:lnTo>
                    <a:lnTo>
                      <a:pt x="1463" y="2373"/>
                    </a:lnTo>
                    <a:lnTo>
                      <a:pt x="1462" y="2351"/>
                    </a:lnTo>
                    <a:lnTo>
                      <a:pt x="1462" y="2351"/>
                    </a:lnTo>
                    <a:lnTo>
                      <a:pt x="1463" y="2333"/>
                    </a:lnTo>
                    <a:lnTo>
                      <a:pt x="1465" y="2317"/>
                    </a:lnTo>
                    <a:lnTo>
                      <a:pt x="1470" y="2305"/>
                    </a:lnTo>
                    <a:lnTo>
                      <a:pt x="1476" y="2296"/>
                    </a:lnTo>
                    <a:lnTo>
                      <a:pt x="1484" y="2290"/>
                    </a:lnTo>
                    <a:lnTo>
                      <a:pt x="1491" y="2285"/>
                    </a:lnTo>
                    <a:lnTo>
                      <a:pt x="1499" y="2284"/>
                    </a:lnTo>
                    <a:lnTo>
                      <a:pt x="1507" y="2283"/>
                    </a:lnTo>
                    <a:lnTo>
                      <a:pt x="1507" y="2283"/>
                    </a:lnTo>
                    <a:lnTo>
                      <a:pt x="1515" y="2284"/>
                    </a:lnTo>
                    <a:lnTo>
                      <a:pt x="1523" y="2285"/>
                    </a:lnTo>
                    <a:lnTo>
                      <a:pt x="1529" y="2288"/>
                    </a:lnTo>
                    <a:lnTo>
                      <a:pt x="1535" y="2291"/>
                    </a:lnTo>
                    <a:lnTo>
                      <a:pt x="1540" y="2295"/>
                    </a:lnTo>
                    <a:lnTo>
                      <a:pt x="1543" y="2299"/>
                    </a:lnTo>
                    <a:lnTo>
                      <a:pt x="1551" y="2307"/>
                    </a:lnTo>
                    <a:lnTo>
                      <a:pt x="1551" y="2307"/>
                    </a:lnTo>
                    <a:close/>
                    <a:moveTo>
                      <a:pt x="1033" y="2233"/>
                    </a:moveTo>
                    <a:lnTo>
                      <a:pt x="1094" y="2233"/>
                    </a:lnTo>
                    <a:lnTo>
                      <a:pt x="1094" y="2341"/>
                    </a:lnTo>
                    <a:lnTo>
                      <a:pt x="1094" y="2477"/>
                    </a:lnTo>
                    <a:lnTo>
                      <a:pt x="1033" y="2477"/>
                    </a:lnTo>
                    <a:lnTo>
                      <a:pt x="1033" y="2233"/>
                    </a:lnTo>
                    <a:close/>
                    <a:moveTo>
                      <a:pt x="1094" y="2167"/>
                    </a:moveTo>
                    <a:lnTo>
                      <a:pt x="1094" y="2198"/>
                    </a:lnTo>
                    <a:lnTo>
                      <a:pt x="1033" y="2198"/>
                    </a:lnTo>
                    <a:lnTo>
                      <a:pt x="1033" y="2137"/>
                    </a:lnTo>
                    <a:lnTo>
                      <a:pt x="1094" y="2137"/>
                    </a:lnTo>
                    <a:lnTo>
                      <a:pt x="1094" y="2167"/>
                    </a:lnTo>
                    <a:close/>
                    <a:moveTo>
                      <a:pt x="2542" y="2161"/>
                    </a:moveTo>
                    <a:lnTo>
                      <a:pt x="2603" y="2131"/>
                    </a:lnTo>
                    <a:lnTo>
                      <a:pt x="2603" y="2352"/>
                    </a:lnTo>
                    <a:lnTo>
                      <a:pt x="2603" y="2477"/>
                    </a:lnTo>
                    <a:lnTo>
                      <a:pt x="2542" y="2477"/>
                    </a:lnTo>
                    <a:lnTo>
                      <a:pt x="2542" y="2161"/>
                    </a:lnTo>
                    <a:close/>
                    <a:moveTo>
                      <a:pt x="437" y="834"/>
                    </a:moveTo>
                    <a:lnTo>
                      <a:pt x="936" y="834"/>
                    </a:lnTo>
                    <a:lnTo>
                      <a:pt x="936" y="544"/>
                    </a:lnTo>
                    <a:lnTo>
                      <a:pt x="437" y="544"/>
                    </a:lnTo>
                    <a:lnTo>
                      <a:pt x="437" y="317"/>
                    </a:lnTo>
                    <a:lnTo>
                      <a:pt x="989" y="317"/>
                    </a:lnTo>
                    <a:lnTo>
                      <a:pt x="806" y="0"/>
                    </a:lnTo>
                    <a:lnTo>
                      <a:pt x="24" y="0"/>
                    </a:lnTo>
                    <a:lnTo>
                      <a:pt x="24" y="1378"/>
                    </a:lnTo>
                    <a:lnTo>
                      <a:pt x="1126" y="1378"/>
                    </a:lnTo>
                    <a:lnTo>
                      <a:pt x="1126" y="1061"/>
                    </a:lnTo>
                    <a:lnTo>
                      <a:pt x="437" y="1061"/>
                    </a:lnTo>
                    <a:lnTo>
                      <a:pt x="437" y="834"/>
                    </a:lnTo>
                    <a:close/>
                    <a:moveTo>
                      <a:pt x="1860" y="0"/>
                    </a:moveTo>
                    <a:lnTo>
                      <a:pt x="1626" y="450"/>
                    </a:lnTo>
                    <a:lnTo>
                      <a:pt x="1393" y="0"/>
                    </a:lnTo>
                    <a:lnTo>
                      <a:pt x="936" y="0"/>
                    </a:lnTo>
                    <a:lnTo>
                      <a:pt x="1417" y="834"/>
                    </a:lnTo>
                    <a:lnTo>
                      <a:pt x="1417" y="1378"/>
                    </a:lnTo>
                    <a:lnTo>
                      <a:pt x="1829" y="1378"/>
                    </a:lnTo>
                    <a:lnTo>
                      <a:pt x="1829" y="834"/>
                    </a:lnTo>
                    <a:lnTo>
                      <a:pt x="2311" y="0"/>
                    </a:lnTo>
                    <a:lnTo>
                      <a:pt x="18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</p:grpSp>
        <p:sp>
          <p:nvSpPr>
            <p:cNvPr id="40" name="Content Placeholder 5">
              <a:extLst>
                <a:ext uri="{FF2B5EF4-FFF2-40B4-BE49-F238E27FC236}">
                  <a16:creationId xmlns:a16="http://schemas.microsoft.com/office/drawing/2014/main" id="{673DB92C-CFEB-4903-B49B-2C583AFC6C6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28588" y="-12187"/>
              <a:ext cx="799089" cy="310587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Context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&amp; Scope</a:t>
              </a:r>
            </a:p>
          </p:txBody>
        </p:sp>
        <p:sp>
          <p:nvSpPr>
            <p:cNvPr id="41" name="Content Placeholder 5">
              <a:extLst>
                <a:ext uri="{FF2B5EF4-FFF2-40B4-BE49-F238E27FC236}">
                  <a16:creationId xmlns:a16="http://schemas.microsoft.com/office/drawing/2014/main" id="{6F2D2B06-DE93-4082-ADCB-9F69DF201DA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653573" y="1246"/>
              <a:ext cx="1008804" cy="283721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en-US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 Timeline</a:t>
              </a:r>
            </a:p>
          </p:txBody>
        </p:sp>
        <p:sp>
          <p:nvSpPr>
            <p:cNvPr id="42" name="Content Placeholder 5">
              <a:extLst>
                <a:ext uri="{FF2B5EF4-FFF2-40B4-BE49-F238E27FC236}">
                  <a16:creationId xmlns:a16="http://schemas.microsoft.com/office/drawing/2014/main" id="{387190EE-6B60-451F-87F8-E0CC025E06C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77810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Detailed Scope &amp; Assumptions</a:t>
              </a:r>
            </a:p>
          </p:txBody>
        </p:sp>
        <p:sp>
          <p:nvSpPr>
            <p:cNvPr id="43" name="Content Placeholder 5">
              <a:extLst>
                <a:ext uri="{FF2B5EF4-FFF2-40B4-BE49-F238E27FC236}">
                  <a16:creationId xmlns:a16="http://schemas.microsoft.com/office/drawing/2014/main" id="{06159D86-DD7D-4DDD-A6F8-E9CF1FBE682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97101" y="47457"/>
              <a:ext cx="1279397" cy="191298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Solution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roach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4" name="Content Placeholder 5">
              <a:extLst>
                <a:ext uri="{FF2B5EF4-FFF2-40B4-BE49-F238E27FC236}">
                  <a16:creationId xmlns:a16="http://schemas.microsoft.com/office/drawing/2014/main" id="{968DF9AC-F428-4660-8978-6F23DBD9EF8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45922" y="75112"/>
              <a:ext cx="1138227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ject Team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Governance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5" name="Content Placeholder 5">
              <a:extLst>
                <a:ext uri="{FF2B5EF4-FFF2-40B4-BE49-F238E27FC236}">
                  <a16:creationId xmlns:a16="http://schemas.microsoft.com/office/drawing/2014/main" id="{C56C0979-C83C-46DD-90FB-C296B3A1F06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31801" y="75112"/>
              <a:ext cx="1097554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Value Proposition</a:t>
              </a:r>
            </a:p>
          </p:txBody>
        </p:sp>
        <p:sp>
          <p:nvSpPr>
            <p:cNvPr id="46" name="Content Placeholder 5">
              <a:extLst>
                <a:ext uri="{FF2B5EF4-FFF2-40B4-BE49-F238E27FC236}">
                  <a16:creationId xmlns:a16="http://schemas.microsoft.com/office/drawing/2014/main" id="{88C51C01-D788-4B45-BCCF-3052D2FA949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734717" y="79567"/>
              <a:ext cx="773670" cy="12707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Teams Profiles</a:t>
              </a:r>
            </a:p>
          </p:txBody>
        </p:sp>
        <p:sp>
          <p:nvSpPr>
            <p:cNvPr id="47" name="Content Placeholder 5">
              <a:extLst>
                <a:ext uri="{FF2B5EF4-FFF2-40B4-BE49-F238E27FC236}">
                  <a16:creationId xmlns:a16="http://schemas.microsoft.com/office/drawing/2014/main" id="{A8D47FEA-2172-45CC-943A-0A34713C457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98779" y="54928"/>
              <a:ext cx="866515" cy="1763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Credentials</a:t>
              </a:r>
            </a:p>
          </p:txBody>
        </p:sp>
        <p:sp>
          <p:nvSpPr>
            <p:cNvPr id="48" name="Content Placeholder 5">
              <a:extLst>
                <a:ext uri="{FF2B5EF4-FFF2-40B4-BE49-F238E27FC236}">
                  <a16:creationId xmlns:a16="http://schemas.microsoft.com/office/drawing/2014/main" id="{BA3A9C59-C73C-4391-B8D9-F08A18BE21C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229765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end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94682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92909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76858484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78755156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622479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58175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873630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464956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389998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106979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6852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e libre : forme 27">
            <a:extLst>
              <a:ext uri="{FF2B5EF4-FFF2-40B4-BE49-F238E27FC236}">
                <a16:creationId xmlns:a16="http://schemas.microsoft.com/office/drawing/2014/main" id="{6BA73D43-5242-442B-A26F-B732C19FFFF6}"/>
              </a:ext>
            </a:extLst>
          </p:cNvPr>
          <p:cNvSpPr/>
          <p:nvPr userDrawn="1"/>
        </p:nvSpPr>
        <p:spPr>
          <a:xfrm>
            <a:off x="-792287" y="600412"/>
            <a:ext cx="1181100" cy="0"/>
          </a:xfrm>
          <a:custGeom>
            <a:avLst/>
            <a:gdLst>
              <a:gd name="connsiteX0" fmla="*/ 0 w 1181100"/>
              <a:gd name="connsiteY0" fmla="*/ 0 h 0"/>
              <a:gd name="connsiteX1" fmla="*/ 1181100 w 1181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81100">
                <a:moveTo>
                  <a:pt x="0" y="0"/>
                </a:moveTo>
                <a:lnTo>
                  <a:pt x="1181100" y="0"/>
                </a:lnTo>
              </a:path>
            </a:pathLst>
          </a:cu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BEC4C7E5-0360-4F1D-80C5-6806CF45D6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478450"/>
            <a:ext cx="11175818" cy="476462"/>
          </a:xfrm>
        </p:spPr>
        <p:txBody>
          <a:bodyPr numCol="1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lang="en-US" sz="1600" b="0" kern="1200" cap="none" baseline="0" noProof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marL="169790" indent="0">
              <a:buNone/>
              <a:defRPr/>
            </a:lvl2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Rectangle 36">
            <a:extLst>
              <a:ext uri="{FF2B5EF4-FFF2-40B4-BE49-F238E27FC236}">
                <a16:creationId xmlns:a16="http://schemas.microsoft.com/office/drawing/2014/main" id="{F8B37F8E-048D-4CE0-BE77-3E1D993EA694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99441" y="6544316"/>
            <a:ext cx="284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EY Consulting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54D1753-0EAF-41BC-ABF1-AFF24445A022}"/>
              </a:ext>
            </a:extLst>
          </p:cNvPr>
          <p:cNvGrpSpPr/>
          <p:nvPr userDrawn="1"/>
        </p:nvGrpSpPr>
        <p:grpSpPr>
          <a:xfrm>
            <a:off x="0" y="-2662"/>
            <a:ext cx="12212298" cy="362728"/>
            <a:chOff x="0" y="-12187"/>
            <a:chExt cx="12212298" cy="36272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E872043-9F0A-4438-A760-A3B56D423511}"/>
                </a:ext>
              </a:extLst>
            </p:cNvPr>
            <p:cNvGrpSpPr/>
            <p:nvPr userDrawn="1"/>
          </p:nvGrpSpPr>
          <p:grpSpPr>
            <a:xfrm>
              <a:off x="0" y="1"/>
              <a:ext cx="12192000" cy="350540"/>
              <a:chOff x="0" y="1"/>
              <a:chExt cx="12192000" cy="350540"/>
            </a:xfrm>
          </p:grpSpPr>
          <p:sp>
            <p:nvSpPr>
              <p:cNvPr id="50" name="AutoShape 4">
                <a:extLst>
                  <a:ext uri="{FF2B5EF4-FFF2-40B4-BE49-F238E27FC236}">
                    <a16:creationId xmlns:a16="http://schemas.microsoft.com/office/drawing/2014/main" id="{6AC3DA00-EE2D-4DD6-A237-CE3E583C06D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4680" y="68072"/>
                <a:ext cx="167539" cy="200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CDA18D30-1FE9-4EEB-956F-E86458B758C4}"/>
                  </a:ext>
                </a:extLst>
              </p:cNvPr>
              <p:cNvGrpSpPr/>
              <p:nvPr userDrawn="1"/>
            </p:nvGrpSpPr>
            <p:grpSpPr>
              <a:xfrm>
                <a:off x="0" y="1"/>
                <a:ext cx="12192000" cy="350540"/>
                <a:chOff x="0" y="1"/>
                <a:chExt cx="12192000" cy="350540"/>
              </a:xfrm>
            </p:grpSpPr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76A109A8-6230-4EA7-B59F-8C23296F3DDE}"/>
                    </a:ext>
                  </a:extLst>
                </p:cNvPr>
                <p:cNvSpPr/>
                <p:nvPr userDrawn="1"/>
              </p:nvSpPr>
              <p:spPr>
                <a:xfrm>
                  <a:off x="0" y="1"/>
                  <a:ext cx="12192000" cy="350540"/>
                </a:xfrm>
                <a:prstGeom prst="rect">
                  <a:avLst/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55AECED7-60E7-4522-B141-DDF15AE533DF}"/>
                    </a:ext>
                  </a:extLst>
                </p:cNvPr>
                <p:cNvGrpSpPr/>
                <p:nvPr userDrawn="1"/>
              </p:nvGrpSpPr>
              <p:grpSpPr>
                <a:xfrm>
                  <a:off x="81557" y="51130"/>
                  <a:ext cx="11861822" cy="211888"/>
                  <a:chOff x="81557" y="51130"/>
                  <a:chExt cx="11861822" cy="211888"/>
                </a:xfrm>
              </p:grpSpPr>
              <p:grpSp>
                <p:nvGrpSpPr>
                  <p:cNvPr id="55" name="Group 54">
                    <a:extLst>
                      <a:ext uri="{FF2B5EF4-FFF2-40B4-BE49-F238E27FC236}">
                        <a16:creationId xmlns:a16="http://schemas.microsoft.com/office/drawing/2014/main" id="{6A3A3360-CA67-471F-88F6-1D71EF0A66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81557" y="62687"/>
                    <a:ext cx="167539" cy="200331"/>
                    <a:chOff x="784680" y="68072"/>
                    <a:chExt cx="167539" cy="200331"/>
                  </a:xfrm>
                </p:grpSpPr>
                <p:sp>
                  <p:nvSpPr>
                    <p:cNvPr id="64" name="Freeform 6">
                      <a:extLst>
                        <a:ext uri="{FF2B5EF4-FFF2-40B4-BE49-F238E27FC236}">
                          <a16:creationId xmlns:a16="http://schemas.microsoft.com/office/drawing/2014/main" id="{0AF319B6-16EA-4D40-8C87-594FABA853F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84680" y="68072"/>
                      <a:ext cx="134278" cy="50020"/>
                    </a:xfrm>
                    <a:custGeom>
                      <a:avLst/>
                      <a:gdLst>
                        <a:gd name="T0" fmla="*/ 2723 w 2723"/>
                        <a:gd name="T1" fmla="*/ 0 h 994"/>
                        <a:gd name="T2" fmla="*/ 0 w 2723"/>
                        <a:gd name="T3" fmla="*/ 994 h 994"/>
                        <a:gd name="T4" fmla="*/ 2723 w 2723"/>
                        <a:gd name="T5" fmla="*/ 513 h 994"/>
                        <a:gd name="T6" fmla="*/ 2723 w 2723"/>
                        <a:gd name="T7" fmla="*/ 0 h 9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723" h="994">
                          <a:moveTo>
                            <a:pt x="2723" y="0"/>
                          </a:moveTo>
                          <a:lnTo>
                            <a:pt x="0" y="994"/>
                          </a:lnTo>
                          <a:lnTo>
                            <a:pt x="2723" y="513"/>
                          </a:lnTo>
                          <a:lnTo>
                            <a:pt x="2723" y="0"/>
                          </a:lnTo>
                          <a:close/>
                        </a:path>
                      </a:pathLst>
                    </a:custGeom>
                    <a:solidFill>
                      <a:srgbClr val="F7DF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  <p:sp>
                  <p:nvSpPr>
                    <p:cNvPr id="65" name="Freeform 7">
                      <a:extLst>
                        <a:ext uri="{FF2B5EF4-FFF2-40B4-BE49-F238E27FC236}">
                          <a16:creationId xmlns:a16="http://schemas.microsoft.com/office/drawing/2014/main" id="{17020107-DF7B-4611-8AB8-A55CAB8BB80D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84680" y="138954"/>
                      <a:ext cx="167539" cy="129449"/>
                    </a:xfrm>
                    <a:custGeom>
                      <a:avLst/>
                      <a:gdLst>
                        <a:gd name="T0" fmla="*/ 256 w 3400"/>
                        <a:gd name="T1" fmla="*/ 1749 h 2577"/>
                        <a:gd name="T2" fmla="*/ 278 w 3400"/>
                        <a:gd name="T3" fmla="*/ 1978 h 2577"/>
                        <a:gd name="T4" fmla="*/ 166 w 3400"/>
                        <a:gd name="T5" fmla="*/ 1993 h 2577"/>
                        <a:gd name="T6" fmla="*/ 386 w 3400"/>
                        <a:gd name="T7" fmla="*/ 1940 h 2577"/>
                        <a:gd name="T8" fmla="*/ 458 w 3400"/>
                        <a:gd name="T9" fmla="*/ 2046 h 2577"/>
                        <a:gd name="T10" fmla="*/ 1255 w 3400"/>
                        <a:gd name="T11" fmla="*/ 1820 h 2577"/>
                        <a:gd name="T12" fmla="*/ 1339 w 3400"/>
                        <a:gd name="T13" fmla="*/ 1914 h 2577"/>
                        <a:gd name="T14" fmla="*/ 767 w 3400"/>
                        <a:gd name="T15" fmla="*/ 1703 h 2577"/>
                        <a:gd name="T16" fmla="*/ 813 w 3400"/>
                        <a:gd name="T17" fmla="*/ 1884 h 2577"/>
                        <a:gd name="T18" fmla="*/ 947 w 3400"/>
                        <a:gd name="T19" fmla="*/ 2042 h 2577"/>
                        <a:gd name="T20" fmla="*/ 916 w 3400"/>
                        <a:gd name="T21" fmla="*/ 1855 h 2577"/>
                        <a:gd name="T22" fmla="*/ 2225 w 3400"/>
                        <a:gd name="T23" fmla="*/ 2049 h 2577"/>
                        <a:gd name="T24" fmla="*/ 2376 w 3400"/>
                        <a:gd name="T25" fmla="*/ 1924 h 2577"/>
                        <a:gd name="T26" fmla="*/ 2312 w 3400"/>
                        <a:gd name="T27" fmla="*/ 1906 h 2577"/>
                        <a:gd name="T28" fmla="*/ 2267 w 3400"/>
                        <a:gd name="T29" fmla="*/ 1855 h 2577"/>
                        <a:gd name="T30" fmla="*/ 1441 w 3400"/>
                        <a:gd name="T31" fmla="*/ 1911 h 2577"/>
                        <a:gd name="T32" fmla="*/ 1591 w 3400"/>
                        <a:gd name="T33" fmla="*/ 2031 h 2577"/>
                        <a:gd name="T34" fmla="*/ 1622 w 3400"/>
                        <a:gd name="T35" fmla="*/ 2119 h 2577"/>
                        <a:gd name="T36" fmla="*/ 1507 w 3400"/>
                        <a:gd name="T37" fmla="*/ 1962 h 2577"/>
                        <a:gd name="T38" fmla="*/ 1902 w 3400"/>
                        <a:gd name="T39" fmla="*/ 1848 h 2577"/>
                        <a:gd name="T40" fmla="*/ 1797 w 3400"/>
                        <a:gd name="T41" fmla="*/ 1958 h 2577"/>
                        <a:gd name="T42" fmla="*/ 2006 w 3400"/>
                        <a:gd name="T43" fmla="*/ 1884 h 2577"/>
                        <a:gd name="T44" fmla="*/ 1857 w 3400"/>
                        <a:gd name="T45" fmla="*/ 1968 h 2577"/>
                        <a:gd name="T46" fmla="*/ 1881 w 3400"/>
                        <a:gd name="T47" fmla="*/ 2002 h 2577"/>
                        <a:gd name="T48" fmla="*/ 2467 w 3400"/>
                        <a:gd name="T49" fmla="*/ 1946 h 2577"/>
                        <a:gd name="T50" fmla="*/ 2452 w 3400"/>
                        <a:gd name="T51" fmla="*/ 1821 h 2577"/>
                        <a:gd name="T52" fmla="*/ 2521 w 3400"/>
                        <a:gd name="T53" fmla="*/ 2055 h 2577"/>
                        <a:gd name="T54" fmla="*/ 2555 w 3400"/>
                        <a:gd name="T55" fmla="*/ 1883 h 2577"/>
                        <a:gd name="T56" fmla="*/ 3202 w 3400"/>
                        <a:gd name="T57" fmla="*/ 1928 h 2577"/>
                        <a:gd name="T58" fmla="*/ 3006 w 3400"/>
                        <a:gd name="T59" fmla="*/ 1854 h 2577"/>
                        <a:gd name="T60" fmla="*/ 3140 w 3400"/>
                        <a:gd name="T61" fmla="*/ 2049 h 2577"/>
                        <a:gd name="T62" fmla="*/ 2905 w 3400"/>
                        <a:gd name="T63" fmla="*/ 1964 h 2577"/>
                        <a:gd name="T64" fmla="*/ 2868 w 3400"/>
                        <a:gd name="T65" fmla="*/ 2041 h 2577"/>
                        <a:gd name="T66" fmla="*/ 2713 w 3400"/>
                        <a:gd name="T67" fmla="*/ 2051 h 2577"/>
                        <a:gd name="T68" fmla="*/ 2747 w 3400"/>
                        <a:gd name="T69" fmla="*/ 1996 h 2577"/>
                        <a:gd name="T70" fmla="*/ 3300 w 3400"/>
                        <a:gd name="T71" fmla="*/ 1805 h 2577"/>
                        <a:gd name="T72" fmla="*/ 1073 w 3400"/>
                        <a:gd name="T73" fmla="*/ 2049 h 2577"/>
                        <a:gd name="T74" fmla="*/ 2660 w 3400"/>
                        <a:gd name="T75" fmla="*/ 2279 h 2577"/>
                        <a:gd name="T76" fmla="*/ 2763 w 3400"/>
                        <a:gd name="T77" fmla="*/ 2480 h 2577"/>
                        <a:gd name="T78" fmla="*/ 2737 w 3400"/>
                        <a:gd name="T79" fmla="*/ 2285 h 2577"/>
                        <a:gd name="T80" fmla="*/ 690 w 3400"/>
                        <a:gd name="T81" fmla="*/ 2289 h 2577"/>
                        <a:gd name="T82" fmla="*/ 740 w 3400"/>
                        <a:gd name="T83" fmla="*/ 2301 h 2577"/>
                        <a:gd name="T84" fmla="*/ 222 w 3400"/>
                        <a:gd name="T85" fmla="*/ 2352 h 2577"/>
                        <a:gd name="T86" fmla="*/ 341 w 3400"/>
                        <a:gd name="T87" fmla="*/ 2395 h 2577"/>
                        <a:gd name="T88" fmla="*/ 554 w 3400"/>
                        <a:gd name="T89" fmla="*/ 2395 h 2577"/>
                        <a:gd name="T90" fmla="*/ 412 w 3400"/>
                        <a:gd name="T91" fmla="*/ 2407 h 2577"/>
                        <a:gd name="T92" fmla="*/ 484 w 3400"/>
                        <a:gd name="T93" fmla="*/ 2407 h 2577"/>
                        <a:gd name="T94" fmla="*/ 2419 w 3400"/>
                        <a:gd name="T95" fmla="*/ 2248 h 2577"/>
                        <a:gd name="T96" fmla="*/ 1758 w 3400"/>
                        <a:gd name="T97" fmla="*/ 2233 h 2577"/>
                        <a:gd name="T98" fmla="*/ 2133 w 3400"/>
                        <a:gd name="T99" fmla="*/ 2255 h 2577"/>
                        <a:gd name="T100" fmla="*/ 2204 w 3400"/>
                        <a:gd name="T101" fmla="*/ 2483 h 2577"/>
                        <a:gd name="T102" fmla="*/ 2269 w 3400"/>
                        <a:gd name="T103" fmla="*/ 2249 h 2577"/>
                        <a:gd name="T104" fmla="*/ 2204 w 3400"/>
                        <a:gd name="T105" fmla="*/ 2284 h 2577"/>
                        <a:gd name="T106" fmla="*/ 845 w 3400"/>
                        <a:gd name="T107" fmla="*/ 2131 h 2577"/>
                        <a:gd name="T108" fmla="*/ 1323 w 3400"/>
                        <a:gd name="T109" fmla="*/ 2244 h 2577"/>
                        <a:gd name="T110" fmla="*/ 1220 w 3400"/>
                        <a:gd name="T111" fmla="*/ 2299 h 2577"/>
                        <a:gd name="T112" fmla="*/ 1410 w 3400"/>
                        <a:gd name="T113" fmla="*/ 2289 h 2577"/>
                        <a:gd name="T114" fmla="*/ 1525 w 3400"/>
                        <a:gd name="T115" fmla="*/ 2477 h 2577"/>
                        <a:gd name="T116" fmla="*/ 1544 w 3400"/>
                        <a:gd name="T117" fmla="*/ 2570 h 2577"/>
                        <a:gd name="T118" fmla="*/ 1491 w 3400"/>
                        <a:gd name="T119" fmla="*/ 2424 h 2577"/>
                        <a:gd name="T120" fmla="*/ 1094 w 3400"/>
                        <a:gd name="T121" fmla="*/ 2341 h 2577"/>
                        <a:gd name="T122" fmla="*/ 437 w 3400"/>
                        <a:gd name="T123" fmla="*/ 1061 h 25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3400" h="2577">
                          <a:moveTo>
                            <a:pt x="283" y="1942"/>
                          </a:moveTo>
                          <a:lnTo>
                            <a:pt x="283" y="1942"/>
                          </a:lnTo>
                          <a:lnTo>
                            <a:pt x="283" y="1934"/>
                          </a:lnTo>
                          <a:lnTo>
                            <a:pt x="282" y="1927"/>
                          </a:lnTo>
                          <a:lnTo>
                            <a:pt x="278" y="1912"/>
                          </a:lnTo>
                          <a:lnTo>
                            <a:pt x="272" y="1900"/>
                          </a:lnTo>
                          <a:lnTo>
                            <a:pt x="265" y="1890"/>
                          </a:lnTo>
                          <a:lnTo>
                            <a:pt x="256" y="1883"/>
                          </a:lnTo>
                          <a:lnTo>
                            <a:pt x="248" y="1877"/>
                          </a:lnTo>
                          <a:lnTo>
                            <a:pt x="241" y="1872"/>
                          </a:lnTo>
                          <a:lnTo>
                            <a:pt x="233" y="1868"/>
                          </a:lnTo>
                          <a:lnTo>
                            <a:pt x="233" y="1868"/>
                          </a:lnTo>
                          <a:lnTo>
                            <a:pt x="242" y="1862"/>
                          </a:lnTo>
                          <a:lnTo>
                            <a:pt x="249" y="1856"/>
                          </a:lnTo>
                          <a:lnTo>
                            <a:pt x="255" y="1849"/>
                          </a:lnTo>
                          <a:lnTo>
                            <a:pt x="261" y="1840"/>
                          </a:lnTo>
                          <a:lnTo>
                            <a:pt x="266" y="1832"/>
                          </a:lnTo>
                          <a:lnTo>
                            <a:pt x="269" y="1822"/>
                          </a:lnTo>
                          <a:lnTo>
                            <a:pt x="271" y="1812"/>
                          </a:lnTo>
                          <a:lnTo>
                            <a:pt x="271" y="1801"/>
                          </a:lnTo>
                          <a:lnTo>
                            <a:pt x="271" y="1801"/>
                          </a:lnTo>
                          <a:lnTo>
                            <a:pt x="271" y="1792"/>
                          </a:lnTo>
                          <a:lnTo>
                            <a:pt x="270" y="1782"/>
                          </a:lnTo>
                          <a:lnTo>
                            <a:pt x="267" y="1773"/>
                          </a:lnTo>
                          <a:lnTo>
                            <a:pt x="265" y="1765"/>
                          </a:lnTo>
                          <a:lnTo>
                            <a:pt x="261" y="1756"/>
                          </a:lnTo>
                          <a:lnTo>
                            <a:pt x="256" y="1749"/>
                          </a:lnTo>
                          <a:lnTo>
                            <a:pt x="250" y="1743"/>
                          </a:lnTo>
                          <a:lnTo>
                            <a:pt x="244" y="1737"/>
                          </a:lnTo>
                          <a:lnTo>
                            <a:pt x="237" y="1732"/>
                          </a:lnTo>
                          <a:lnTo>
                            <a:pt x="230" y="1727"/>
                          </a:lnTo>
                          <a:lnTo>
                            <a:pt x="221" y="1724"/>
                          </a:lnTo>
                          <a:lnTo>
                            <a:pt x="211" y="1720"/>
                          </a:lnTo>
                          <a:lnTo>
                            <a:pt x="202" y="1718"/>
                          </a:lnTo>
                          <a:lnTo>
                            <a:pt x="191" y="1715"/>
                          </a:lnTo>
                          <a:lnTo>
                            <a:pt x="180" y="1715"/>
                          </a:lnTo>
                          <a:lnTo>
                            <a:pt x="168" y="1714"/>
                          </a:lnTo>
                          <a:lnTo>
                            <a:pt x="24" y="1714"/>
                          </a:lnTo>
                          <a:lnTo>
                            <a:pt x="24" y="2049"/>
                          </a:lnTo>
                          <a:lnTo>
                            <a:pt x="166" y="2049"/>
                          </a:lnTo>
                          <a:lnTo>
                            <a:pt x="166" y="2049"/>
                          </a:lnTo>
                          <a:lnTo>
                            <a:pt x="180" y="2049"/>
                          </a:lnTo>
                          <a:lnTo>
                            <a:pt x="192" y="2048"/>
                          </a:lnTo>
                          <a:lnTo>
                            <a:pt x="204" y="2046"/>
                          </a:lnTo>
                          <a:lnTo>
                            <a:pt x="215" y="2042"/>
                          </a:lnTo>
                          <a:lnTo>
                            <a:pt x="226" y="2038"/>
                          </a:lnTo>
                          <a:lnTo>
                            <a:pt x="236" y="2034"/>
                          </a:lnTo>
                          <a:lnTo>
                            <a:pt x="244" y="2028"/>
                          </a:lnTo>
                          <a:lnTo>
                            <a:pt x="252" y="2021"/>
                          </a:lnTo>
                          <a:lnTo>
                            <a:pt x="259" y="2014"/>
                          </a:lnTo>
                          <a:lnTo>
                            <a:pt x="265" y="2006"/>
                          </a:lnTo>
                          <a:lnTo>
                            <a:pt x="271" y="1997"/>
                          </a:lnTo>
                          <a:lnTo>
                            <a:pt x="275" y="1987"/>
                          </a:lnTo>
                          <a:lnTo>
                            <a:pt x="278" y="1978"/>
                          </a:lnTo>
                          <a:lnTo>
                            <a:pt x="281" y="1967"/>
                          </a:lnTo>
                          <a:lnTo>
                            <a:pt x="282" y="1955"/>
                          </a:lnTo>
                          <a:lnTo>
                            <a:pt x="283" y="1942"/>
                          </a:lnTo>
                          <a:lnTo>
                            <a:pt x="283" y="1942"/>
                          </a:lnTo>
                          <a:close/>
                          <a:moveTo>
                            <a:pt x="166" y="1993"/>
                          </a:moveTo>
                          <a:lnTo>
                            <a:pt x="86" y="1993"/>
                          </a:lnTo>
                          <a:lnTo>
                            <a:pt x="86" y="1897"/>
                          </a:lnTo>
                          <a:lnTo>
                            <a:pt x="166" y="1897"/>
                          </a:lnTo>
                          <a:lnTo>
                            <a:pt x="166" y="1897"/>
                          </a:lnTo>
                          <a:lnTo>
                            <a:pt x="179" y="1899"/>
                          </a:lnTo>
                          <a:lnTo>
                            <a:pt x="188" y="1900"/>
                          </a:lnTo>
                          <a:lnTo>
                            <a:pt x="197" y="1904"/>
                          </a:lnTo>
                          <a:lnTo>
                            <a:pt x="204" y="1910"/>
                          </a:lnTo>
                          <a:lnTo>
                            <a:pt x="210" y="1916"/>
                          </a:lnTo>
                          <a:lnTo>
                            <a:pt x="214" y="1924"/>
                          </a:lnTo>
                          <a:lnTo>
                            <a:pt x="216" y="1934"/>
                          </a:lnTo>
                          <a:lnTo>
                            <a:pt x="218" y="1945"/>
                          </a:lnTo>
                          <a:lnTo>
                            <a:pt x="218" y="1945"/>
                          </a:lnTo>
                          <a:lnTo>
                            <a:pt x="216" y="1956"/>
                          </a:lnTo>
                          <a:lnTo>
                            <a:pt x="214" y="1966"/>
                          </a:lnTo>
                          <a:lnTo>
                            <a:pt x="209" y="1974"/>
                          </a:lnTo>
                          <a:lnTo>
                            <a:pt x="204" y="1980"/>
                          </a:lnTo>
                          <a:lnTo>
                            <a:pt x="197" y="1986"/>
                          </a:lnTo>
                          <a:lnTo>
                            <a:pt x="188" y="1990"/>
                          </a:lnTo>
                          <a:lnTo>
                            <a:pt x="177" y="1992"/>
                          </a:lnTo>
                          <a:lnTo>
                            <a:pt x="166" y="1993"/>
                          </a:lnTo>
                          <a:lnTo>
                            <a:pt x="166" y="1993"/>
                          </a:lnTo>
                          <a:close/>
                          <a:moveTo>
                            <a:pt x="165" y="1843"/>
                          </a:moveTo>
                          <a:lnTo>
                            <a:pt x="86" y="1843"/>
                          </a:lnTo>
                          <a:lnTo>
                            <a:pt x="86" y="1771"/>
                          </a:lnTo>
                          <a:lnTo>
                            <a:pt x="163" y="1771"/>
                          </a:lnTo>
                          <a:lnTo>
                            <a:pt x="163" y="1771"/>
                          </a:lnTo>
                          <a:lnTo>
                            <a:pt x="173" y="1772"/>
                          </a:lnTo>
                          <a:lnTo>
                            <a:pt x="182" y="1773"/>
                          </a:lnTo>
                          <a:lnTo>
                            <a:pt x="190" y="1776"/>
                          </a:lnTo>
                          <a:lnTo>
                            <a:pt x="196" y="1780"/>
                          </a:lnTo>
                          <a:lnTo>
                            <a:pt x="201" y="1786"/>
                          </a:lnTo>
                          <a:lnTo>
                            <a:pt x="204" y="1792"/>
                          </a:lnTo>
                          <a:lnTo>
                            <a:pt x="205" y="1799"/>
                          </a:lnTo>
                          <a:lnTo>
                            <a:pt x="207" y="1807"/>
                          </a:lnTo>
                          <a:lnTo>
                            <a:pt x="207" y="1807"/>
                          </a:lnTo>
                          <a:lnTo>
                            <a:pt x="207" y="1814"/>
                          </a:lnTo>
                          <a:lnTo>
                            <a:pt x="205" y="1820"/>
                          </a:lnTo>
                          <a:lnTo>
                            <a:pt x="203" y="1826"/>
                          </a:lnTo>
                          <a:lnTo>
                            <a:pt x="199" y="1831"/>
                          </a:lnTo>
                          <a:lnTo>
                            <a:pt x="193" y="1835"/>
                          </a:lnTo>
                          <a:lnTo>
                            <a:pt x="186" y="1839"/>
                          </a:lnTo>
                          <a:lnTo>
                            <a:pt x="177" y="1842"/>
                          </a:lnTo>
                          <a:lnTo>
                            <a:pt x="165" y="1843"/>
                          </a:lnTo>
                          <a:lnTo>
                            <a:pt x="165" y="1843"/>
                          </a:lnTo>
                          <a:close/>
                          <a:moveTo>
                            <a:pt x="326" y="1944"/>
                          </a:moveTo>
                          <a:lnTo>
                            <a:pt x="326" y="1805"/>
                          </a:lnTo>
                          <a:lnTo>
                            <a:pt x="386" y="1805"/>
                          </a:lnTo>
                          <a:lnTo>
                            <a:pt x="386" y="1940"/>
                          </a:lnTo>
                          <a:lnTo>
                            <a:pt x="386" y="1940"/>
                          </a:lnTo>
                          <a:lnTo>
                            <a:pt x="386" y="1953"/>
                          </a:lnTo>
                          <a:lnTo>
                            <a:pt x="389" y="1967"/>
                          </a:lnTo>
                          <a:lnTo>
                            <a:pt x="392" y="1976"/>
                          </a:lnTo>
                          <a:lnTo>
                            <a:pt x="397" y="1985"/>
                          </a:lnTo>
                          <a:lnTo>
                            <a:pt x="403" y="1991"/>
                          </a:lnTo>
                          <a:lnTo>
                            <a:pt x="411" y="1996"/>
                          </a:lnTo>
                          <a:lnTo>
                            <a:pt x="420" y="1998"/>
                          </a:lnTo>
                          <a:lnTo>
                            <a:pt x="431" y="2000"/>
                          </a:lnTo>
                          <a:lnTo>
                            <a:pt x="431" y="2000"/>
                          </a:lnTo>
                          <a:lnTo>
                            <a:pt x="442" y="1998"/>
                          </a:lnTo>
                          <a:lnTo>
                            <a:pt x="451" y="1996"/>
                          </a:lnTo>
                          <a:lnTo>
                            <a:pt x="459" y="1991"/>
                          </a:lnTo>
                          <a:lnTo>
                            <a:pt x="465" y="1985"/>
                          </a:lnTo>
                          <a:lnTo>
                            <a:pt x="470" y="1976"/>
                          </a:lnTo>
                          <a:lnTo>
                            <a:pt x="474" y="1966"/>
                          </a:lnTo>
                          <a:lnTo>
                            <a:pt x="476" y="1953"/>
                          </a:lnTo>
                          <a:lnTo>
                            <a:pt x="476" y="1940"/>
                          </a:lnTo>
                          <a:lnTo>
                            <a:pt x="476" y="1805"/>
                          </a:lnTo>
                          <a:lnTo>
                            <a:pt x="537" y="1805"/>
                          </a:lnTo>
                          <a:lnTo>
                            <a:pt x="537" y="2049"/>
                          </a:lnTo>
                          <a:lnTo>
                            <a:pt x="476" y="2049"/>
                          </a:lnTo>
                          <a:lnTo>
                            <a:pt x="476" y="2030"/>
                          </a:lnTo>
                          <a:lnTo>
                            <a:pt x="476" y="2030"/>
                          </a:lnTo>
                          <a:lnTo>
                            <a:pt x="471" y="2036"/>
                          </a:lnTo>
                          <a:lnTo>
                            <a:pt x="464" y="2041"/>
                          </a:lnTo>
                          <a:lnTo>
                            <a:pt x="458" y="2046"/>
                          </a:lnTo>
                          <a:lnTo>
                            <a:pt x="451" y="2048"/>
                          </a:lnTo>
                          <a:lnTo>
                            <a:pt x="444" y="2052"/>
                          </a:lnTo>
                          <a:lnTo>
                            <a:pt x="435" y="2053"/>
                          </a:lnTo>
                          <a:lnTo>
                            <a:pt x="427" y="2054"/>
                          </a:lnTo>
                          <a:lnTo>
                            <a:pt x="418" y="2055"/>
                          </a:lnTo>
                          <a:lnTo>
                            <a:pt x="418" y="2055"/>
                          </a:lnTo>
                          <a:lnTo>
                            <a:pt x="403" y="2054"/>
                          </a:lnTo>
                          <a:lnTo>
                            <a:pt x="391" y="2052"/>
                          </a:lnTo>
                          <a:lnTo>
                            <a:pt x="380" y="2048"/>
                          </a:lnTo>
                          <a:lnTo>
                            <a:pt x="369" y="2043"/>
                          </a:lnTo>
                          <a:lnTo>
                            <a:pt x="361" y="2037"/>
                          </a:lnTo>
                          <a:lnTo>
                            <a:pt x="354" y="2031"/>
                          </a:lnTo>
                          <a:lnTo>
                            <a:pt x="348" y="2023"/>
                          </a:lnTo>
                          <a:lnTo>
                            <a:pt x="341" y="2014"/>
                          </a:lnTo>
                          <a:lnTo>
                            <a:pt x="338" y="2006"/>
                          </a:lnTo>
                          <a:lnTo>
                            <a:pt x="334" y="1997"/>
                          </a:lnTo>
                          <a:lnTo>
                            <a:pt x="329" y="1978"/>
                          </a:lnTo>
                          <a:lnTo>
                            <a:pt x="327" y="1959"/>
                          </a:lnTo>
                          <a:lnTo>
                            <a:pt x="326" y="1944"/>
                          </a:lnTo>
                          <a:lnTo>
                            <a:pt x="326" y="1944"/>
                          </a:lnTo>
                          <a:close/>
                          <a:moveTo>
                            <a:pt x="1249" y="2049"/>
                          </a:moveTo>
                          <a:lnTo>
                            <a:pt x="1188" y="2049"/>
                          </a:lnTo>
                          <a:lnTo>
                            <a:pt x="1188" y="1805"/>
                          </a:lnTo>
                          <a:lnTo>
                            <a:pt x="1249" y="1805"/>
                          </a:lnTo>
                          <a:lnTo>
                            <a:pt x="1249" y="1826"/>
                          </a:lnTo>
                          <a:lnTo>
                            <a:pt x="1249" y="1826"/>
                          </a:lnTo>
                          <a:lnTo>
                            <a:pt x="1255" y="1820"/>
                          </a:lnTo>
                          <a:lnTo>
                            <a:pt x="1261" y="1814"/>
                          </a:lnTo>
                          <a:lnTo>
                            <a:pt x="1269" y="1810"/>
                          </a:lnTo>
                          <a:lnTo>
                            <a:pt x="1276" y="1806"/>
                          </a:lnTo>
                          <a:lnTo>
                            <a:pt x="1284" y="1803"/>
                          </a:lnTo>
                          <a:lnTo>
                            <a:pt x="1292" y="1801"/>
                          </a:lnTo>
                          <a:lnTo>
                            <a:pt x="1301" y="1800"/>
                          </a:lnTo>
                          <a:lnTo>
                            <a:pt x="1310" y="1799"/>
                          </a:lnTo>
                          <a:lnTo>
                            <a:pt x="1310" y="1799"/>
                          </a:lnTo>
                          <a:lnTo>
                            <a:pt x="1321" y="1800"/>
                          </a:lnTo>
                          <a:lnTo>
                            <a:pt x="1331" y="1801"/>
                          </a:lnTo>
                          <a:lnTo>
                            <a:pt x="1340" y="1804"/>
                          </a:lnTo>
                          <a:lnTo>
                            <a:pt x="1349" y="1806"/>
                          </a:lnTo>
                          <a:lnTo>
                            <a:pt x="1357" y="1810"/>
                          </a:lnTo>
                          <a:lnTo>
                            <a:pt x="1365" y="1816"/>
                          </a:lnTo>
                          <a:lnTo>
                            <a:pt x="1371" y="1821"/>
                          </a:lnTo>
                          <a:lnTo>
                            <a:pt x="1377" y="1828"/>
                          </a:lnTo>
                          <a:lnTo>
                            <a:pt x="1383" y="1835"/>
                          </a:lnTo>
                          <a:lnTo>
                            <a:pt x="1386" y="1844"/>
                          </a:lnTo>
                          <a:lnTo>
                            <a:pt x="1391" y="1852"/>
                          </a:lnTo>
                          <a:lnTo>
                            <a:pt x="1394" y="1862"/>
                          </a:lnTo>
                          <a:lnTo>
                            <a:pt x="1396" y="1873"/>
                          </a:lnTo>
                          <a:lnTo>
                            <a:pt x="1399" y="1885"/>
                          </a:lnTo>
                          <a:lnTo>
                            <a:pt x="1400" y="1897"/>
                          </a:lnTo>
                          <a:lnTo>
                            <a:pt x="1400" y="1911"/>
                          </a:lnTo>
                          <a:lnTo>
                            <a:pt x="1400" y="2049"/>
                          </a:lnTo>
                          <a:lnTo>
                            <a:pt x="1339" y="2049"/>
                          </a:lnTo>
                          <a:lnTo>
                            <a:pt x="1339" y="1914"/>
                          </a:lnTo>
                          <a:lnTo>
                            <a:pt x="1339" y="1914"/>
                          </a:lnTo>
                          <a:lnTo>
                            <a:pt x="1339" y="1900"/>
                          </a:lnTo>
                          <a:lnTo>
                            <a:pt x="1337" y="1888"/>
                          </a:lnTo>
                          <a:lnTo>
                            <a:pt x="1333" y="1878"/>
                          </a:lnTo>
                          <a:lnTo>
                            <a:pt x="1328" y="1869"/>
                          </a:lnTo>
                          <a:lnTo>
                            <a:pt x="1322" y="1863"/>
                          </a:lnTo>
                          <a:lnTo>
                            <a:pt x="1315" y="1859"/>
                          </a:lnTo>
                          <a:lnTo>
                            <a:pt x="1306" y="1856"/>
                          </a:lnTo>
                          <a:lnTo>
                            <a:pt x="1295" y="1855"/>
                          </a:lnTo>
                          <a:lnTo>
                            <a:pt x="1295" y="1855"/>
                          </a:lnTo>
                          <a:lnTo>
                            <a:pt x="1284" y="1856"/>
                          </a:lnTo>
                          <a:lnTo>
                            <a:pt x="1275" y="1859"/>
                          </a:lnTo>
                          <a:lnTo>
                            <a:pt x="1267" y="1863"/>
                          </a:lnTo>
                          <a:lnTo>
                            <a:pt x="1261" y="1869"/>
                          </a:lnTo>
                          <a:lnTo>
                            <a:pt x="1255" y="1878"/>
                          </a:lnTo>
                          <a:lnTo>
                            <a:pt x="1252" y="1889"/>
                          </a:lnTo>
                          <a:lnTo>
                            <a:pt x="1249" y="1901"/>
                          </a:lnTo>
                          <a:lnTo>
                            <a:pt x="1249" y="1914"/>
                          </a:lnTo>
                          <a:lnTo>
                            <a:pt x="1249" y="2049"/>
                          </a:lnTo>
                          <a:close/>
                          <a:moveTo>
                            <a:pt x="653" y="1927"/>
                          </a:moveTo>
                          <a:lnTo>
                            <a:pt x="653" y="2049"/>
                          </a:lnTo>
                          <a:lnTo>
                            <a:pt x="592" y="2049"/>
                          </a:lnTo>
                          <a:lnTo>
                            <a:pt x="592" y="1805"/>
                          </a:lnTo>
                          <a:lnTo>
                            <a:pt x="653" y="1805"/>
                          </a:lnTo>
                          <a:lnTo>
                            <a:pt x="653" y="1927"/>
                          </a:lnTo>
                          <a:close/>
                          <a:moveTo>
                            <a:pt x="706" y="1733"/>
                          </a:moveTo>
                          <a:lnTo>
                            <a:pt x="767" y="1703"/>
                          </a:lnTo>
                          <a:lnTo>
                            <a:pt x="767" y="1924"/>
                          </a:lnTo>
                          <a:lnTo>
                            <a:pt x="767" y="2049"/>
                          </a:lnTo>
                          <a:lnTo>
                            <a:pt x="706" y="2049"/>
                          </a:lnTo>
                          <a:lnTo>
                            <a:pt x="706" y="1733"/>
                          </a:lnTo>
                          <a:close/>
                          <a:moveTo>
                            <a:pt x="959" y="1822"/>
                          </a:moveTo>
                          <a:lnTo>
                            <a:pt x="959" y="1822"/>
                          </a:lnTo>
                          <a:lnTo>
                            <a:pt x="954" y="1816"/>
                          </a:lnTo>
                          <a:lnTo>
                            <a:pt x="948" y="1812"/>
                          </a:lnTo>
                          <a:lnTo>
                            <a:pt x="941" y="1807"/>
                          </a:lnTo>
                          <a:lnTo>
                            <a:pt x="934" y="1805"/>
                          </a:lnTo>
                          <a:lnTo>
                            <a:pt x="927" y="1803"/>
                          </a:lnTo>
                          <a:lnTo>
                            <a:pt x="920" y="1800"/>
                          </a:lnTo>
                          <a:lnTo>
                            <a:pt x="905" y="1799"/>
                          </a:lnTo>
                          <a:lnTo>
                            <a:pt x="905" y="1799"/>
                          </a:lnTo>
                          <a:lnTo>
                            <a:pt x="894" y="1800"/>
                          </a:lnTo>
                          <a:lnTo>
                            <a:pt x="883" y="1801"/>
                          </a:lnTo>
                          <a:lnTo>
                            <a:pt x="874" y="1804"/>
                          </a:lnTo>
                          <a:lnTo>
                            <a:pt x="865" y="1807"/>
                          </a:lnTo>
                          <a:lnTo>
                            <a:pt x="857" y="1812"/>
                          </a:lnTo>
                          <a:lnTo>
                            <a:pt x="848" y="1818"/>
                          </a:lnTo>
                          <a:lnTo>
                            <a:pt x="841" y="1826"/>
                          </a:lnTo>
                          <a:lnTo>
                            <a:pt x="835" y="1833"/>
                          </a:lnTo>
                          <a:lnTo>
                            <a:pt x="829" y="1842"/>
                          </a:lnTo>
                          <a:lnTo>
                            <a:pt x="824" y="1851"/>
                          </a:lnTo>
                          <a:lnTo>
                            <a:pt x="819" y="1861"/>
                          </a:lnTo>
                          <a:lnTo>
                            <a:pt x="815" y="1872"/>
                          </a:lnTo>
                          <a:lnTo>
                            <a:pt x="813" y="1884"/>
                          </a:lnTo>
                          <a:lnTo>
                            <a:pt x="811" y="1897"/>
                          </a:lnTo>
                          <a:lnTo>
                            <a:pt x="809" y="1911"/>
                          </a:lnTo>
                          <a:lnTo>
                            <a:pt x="809" y="1924"/>
                          </a:lnTo>
                          <a:lnTo>
                            <a:pt x="809" y="1924"/>
                          </a:lnTo>
                          <a:lnTo>
                            <a:pt x="809" y="1940"/>
                          </a:lnTo>
                          <a:lnTo>
                            <a:pt x="811" y="1953"/>
                          </a:lnTo>
                          <a:lnTo>
                            <a:pt x="813" y="1967"/>
                          </a:lnTo>
                          <a:lnTo>
                            <a:pt x="815" y="1979"/>
                          </a:lnTo>
                          <a:lnTo>
                            <a:pt x="819" y="1991"/>
                          </a:lnTo>
                          <a:lnTo>
                            <a:pt x="823" y="2002"/>
                          </a:lnTo>
                          <a:lnTo>
                            <a:pt x="828" y="2012"/>
                          </a:lnTo>
                          <a:lnTo>
                            <a:pt x="834" y="2020"/>
                          </a:lnTo>
                          <a:lnTo>
                            <a:pt x="841" y="2029"/>
                          </a:lnTo>
                          <a:lnTo>
                            <a:pt x="847" y="2035"/>
                          </a:lnTo>
                          <a:lnTo>
                            <a:pt x="855" y="2041"/>
                          </a:lnTo>
                          <a:lnTo>
                            <a:pt x="864" y="2046"/>
                          </a:lnTo>
                          <a:lnTo>
                            <a:pt x="872" y="2049"/>
                          </a:lnTo>
                          <a:lnTo>
                            <a:pt x="882" y="2053"/>
                          </a:lnTo>
                          <a:lnTo>
                            <a:pt x="893" y="2054"/>
                          </a:lnTo>
                          <a:lnTo>
                            <a:pt x="904" y="2055"/>
                          </a:lnTo>
                          <a:lnTo>
                            <a:pt x="904" y="2055"/>
                          </a:lnTo>
                          <a:lnTo>
                            <a:pt x="911" y="2054"/>
                          </a:lnTo>
                          <a:lnTo>
                            <a:pt x="919" y="2053"/>
                          </a:lnTo>
                          <a:lnTo>
                            <a:pt x="926" y="2052"/>
                          </a:lnTo>
                          <a:lnTo>
                            <a:pt x="933" y="2049"/>
                          </a:lnTo>
                          <a:lnTo>
                            <a:pt x="939" y="2046"/>
                          </a:lnTo>
                          <a:lnTo>
                            <a:pt x="947" y="2042"/>
                          </a:lnTo>
                          <a:lnTo>
                            <a:pt x="953" y="2037"/>
                          </a:lnTo>
                          <a:lnTo>
                            <a:pt x="959" y="2031"/>
                          </a:lnTo>
                          <a:lnTo>
                            <a:pt x="959" y="2049"/>
                          </a:lnTo>
                          <a:lnTo>
                            <a:pt x="1020" y="2049"/>
                          </a:lnTo>
                          <a:lnTo>
                            <a:pt x="1020" y="1703"/>
                          </a:lnTo>
                          <a:lnTo>
                            <a:pt x="959" y="1733"/>
                          </a:lnTo>
                          <a:lnTo>
                            <a:pt x="959" y="1822"/>
                          </a:lnTo>
                          <a:close/>
                          <a:moveTo>
                            <a:pt x="916" y="2000"/>
                          </a:moveTo>
                          <a:lnTo>
                            <a:pt x="916" y="2000"/>
                          </a:lnTo>
                          <a:lnTo>
                            <a:pt x="909" y="1998"/>
                          </a:lnTo>
                          <a:lnTo>
                            <a:pt x="900" y="1996"/>
                          </a:lnTo>
                          <a:lnTo>
                            <a:pt x="893" y="1992"/>
                          </a:lnTo>
                          <a:lnTo>
                            <a:pt x="886" y="1985"/>
                          </a:lnTo>
                          <a:lnTo>
                            <a:pt x="880" y="1975"/>
                          </a:lnTo>
                          <a:lnTo>
                            <a:pt x="875" y="1962"/>
                          </a:lnTo>
                          <a:lnTo>
                            <a:pt x="871" y="1945"/>
                          </a:lnTo>
                          <a:lnTo>
                            <a:pt x="870" y="1923"/>
                          </a:lnTo>
                          <a:lnTo>
                            <a:pt x="870" y="1923"/>
                          </a:lnTo>
                          <a:lnTo>
                            <a:pt x="871" y="1904"/>
                          </a:lnTo>
                          <a:lnTo>
                            <a:pt x="875" y="1889"/>
                          </a:lnTo>
                          <a:lnTo>
                            <a:pt x="880" y="1877"/>
                          </a:lnTo>
                          <a:lnTo>
                            <a:pt x="886" y="1868"/>
                          </a:lnTo>
                          <a:lnTo>
                            <a:pt x="892" y="1861"/>
                          </a:lnTo>
                          <a:lnTo>
                            <a:pt x="900" y="1857"/>
                          </a:lnTo>
                          <a:lnTo>
                            <a:pt x="908" y="1855"/>
                          </a:lnTo>
                          <a:lnTo>
                            <a:pt x="916" y="1855"/>
                          </a:lnTo>
                          <a:lnTo>
                            <a:pt x="916" y="1855"/>
                          </a:lnTo>
                          <a:lnTo>
                            <a:pt x="924" y="1855"/>
                          </a:lnTo>
                          <a:lnTo>
                            <a:pt x="931" y="1857"/>
                          </a:lnTo>
                          <a:lnTo>
                            <a:pt x="938" y="1860"/>
                          </a:lnTo>
                          <a:lnTo>
                            <a:pt x="943" y="1863"/>
                          </a:lnTo>
                          <a:lnTo>
                            <a:pt x="948" y="1867"/>
                          </a:lnTo>
                          <a:lnTo>
                            <a:pt x="953" y="1871"/>
                          </a:lnTo>
                          <a:lnTo>
                            <a:pt x="959" y="1879"/>
                          </a:lnTo>
                          <a:lnTo>
                            <a:pt x="959" y="1975"/>
                          </a:lnTo>
                          <a:lnTo>
                            <a:pt x="959" y="1975"/>
                          </a:lnTo>
                          <a:lnTo>
                            <a:pt x="951" y="1984"/>
                          </a:lnTo>
                          <a:lnTo>
                            <a:pt x="943" y="1991"/>
                          </a:lnTo>
                          <a:lnTo>
                            <a:pt x="938" y="1995"/>
                          </a:lnTo>
                          <a:lnTo>
                            <a:pt x="931" y="1997"/>
                          </a:lnTo>
                          <a:lnTo>
                            <a:pt x="925" y="1998"/>
                          </a:lnTo>
                          <a:lnTo>
                            <a:pt x="916" y="2000"/>
                          </a:lnTo>
                          <a:lnTo>
                            <a:pt x="916" y="2000"/>
                          </a:lnTo>
                          <a:close/>
                          <a:moveTo>
                            <a:pt x="2278" y="1799"/>
                          </a:moveTo>
                          <a:lnTo>
                            <a:pt x="2278" y="1799"/>
                          </a:lnTo>
                          <a:lnTo>
                            <a:pt x="2272" y="1800"/>
                          </a:lnTo>
                          <a:lnTo>
                            <a:pt x="2265" y="1801"/>
                          </a:lnTo>
                          <a:lnTo>
                            <a:pt x="2250" y="1805"/>
                          </a:lnTo>
                          <a:lnTo>
                            <a:pt x="2237" y="1812"/>
                          </a:lnTo>
                          <a:lnTo>
                            <a:pt x="2225" y="1822"/>
                          </a:lnTo>
                          <a:lnTo>
                            <a:pt x="2225" y="1709"/>
                          </a:lnTo>
                          <a:lnTo>
                            <a:pt x="2164" y="1739"/>
                          </a:lnTo>
                          <a:lnTo>
                            <a:pt x="2164" y="2049"/>
                          </a:lnTo>
                          <a:lnTo>
                            <a:pt x="2225" y="2049"/>
                          </a:lnTo>
                          <a:lnTo>
                            <a:pt x="2225" y="2031"/>
                          </a:lnTo>
                          <a:lnTo>
                            <a:pt x="2225" y="2031"/>
                          </a:lnTo>
                          <a:lnTo>
                            <a:pt x="2230" y="2037"/>
                          </a:lnTo>
                          <a:lnTo>
                            <a:pt x="2237" y="2042"/>
                          </a:lnTo>
                          <a:lnTo>
                            <a:pt x="2243" y="2046"/>
                          </a:lnTo>
                          <a:lnTo>
                            <a:pt x="2250" y="2049"/>
                          </a:lnTo>
                          <a:lnTo>
                            <a:pt x="2257" y="2052"/>
                          </a:lnTo>
                          <a:lnTo>
                            <a:pt x="2265" y="2053"/>
                          </a:lnTo>
                          <a:lnTo>
                            <a:pt x="2272" y="2054"/>
                          </a:lnTo>
                          <a:lnTo>
                            <a:pt x="2280" y="2055"/>
                          </a:lnTo>
                          <a:lnTo>
                            <a:pt x="2280" y="2055"/>
                          </a:lnTo>
                          <a:lnTo>
                            <a:pt x="2291" y="2054"/>
                          </a:lnTo>
                          <a:lnTo>
                            <a:pt x="2302" y="2053"/>
                          </a:lnTo>
                          <a:lnTo>
                            <a:pt x="2311" y="2051"/>
                          </a:lnTo>
                          <a:lnTo>
                            <a:pt x="2321" y="2046"/>
                          </a:lnTo>
                          <a:lnTo>
                            <a:pt x="2329" y="2041"/>
                          </a:lnTo>
                          <a:lnTo>
                            <a:pt x="2337" y="2036"/>
                          </a:lnTo>
                          <a:lnTo>
                            <a:pt x="2344" y="2029"/>
                          </a:lnTo>
                          <a:lnTo>
                            <a:pt x="2350" y="2021"/>
                          </a:lnTo>
                          <a:lnTo>
                            <a:pt x="2356" y="2012"/>
                          </a:lnTo>
                          <a:lnTo>
                            <a:pt x="2361" y="2002"/>
                          </a:lnTo>
                          <a:lnTo>
                            <a:pt x="2365" y="1991"/>
                          </a:lnTo>
                          <a:lnTo>
                            <a:pt x="2368" y="1980"/>
                          </a:lnTo>
                          <a:lnTo>
                            <a:pt x="2372" y="1968"/>
                          </a:lnTo>
                          <a:lnTo>
                            <a:pt x="2373" y="1955"/>
                          </a:lnTo>
                          <a:lnTo>
                            <a:pt x="2374" y="1940"/>
                          </a:lnTo>
                          <a:lnTo>
                            <a:pt x="2376" y="1924"/>
                          </a:lnTo>
                          <a:lnTo>
                            <a:pt x="2376" y="1924"/>
                          </a:lnTo>
                          <a:lnTo>
                            <a:pt x="2374" y="1911"/>
                          </a:lnTo>
                          <a:lnTo>
                            <a:pt x="2373" y="1897"/>
                          </a:lnTo>
                          <a:lnTo>
                            <a:pt x="2371" y="1884"/>
                          </a:lnTo>
                          <a:lnTo>
                            <a:pt x="2368" y="1872"/>
                          </a:lnTo>
                          <a:lnTo>
                            <a:pt x="2365" y="1861"/>
                          </a:lnTo>
                          <a:lnTo>
                            <a:pt x="2360" y="1851"/>
                          </a:lnTo>
                          <a:lnTo>
                            <a:pt x="2355" y="1842"/>
                          </a:lnTo>
                          <a:lnTo>
                            <a:pt x="2349" y="1833"/>
                          </a:lnTo>
                          <a:lnTo>
                            <a:pt x="2343" y="1826"/>
                          </a:lnTo>
                          <a:lnTo>
                            <a:pt x="2336" y="1818"/>
                          </a:lnTo>
                          <a:lnTo>
                            <a:pt x="2327" y="1812"/>
                          </a:lnTo>
                          <a:lnTo>
                            <a:pt x="2319" y="1807"/>
                          </a:lnTo>
                          <a:lnTo>
                            <a:pt x="2310" y="1804"/>
                          </a:lnTo>
                          <a:lnTo>
                            <a:pt x="2300" y="1801"/>
                          </a:lnTo>
                          <a:lnTo>
                            <a:pt x="2289" y="1800"/>
                          </a:lnTo>
                          <a:lnTo>
                            <a:pt x="2278" y="1799"/>
                          </a:lnTo>
                          <a:lnTo>
                            <a:pt x="2278" y="1799"/>
                          </a:lnTo>
                          <a:close/>
                          <a:moveTo>
                            <a:pt x="2267" y="1855"/>
                          </a:moveTo>
                          <a:lnTo>
                            <a:pt x="2267" y="1855"/>
                          </a:lnTo>
                          <a:lnTo>
                            <a:pt x="2276" y="1856"/>
                          </a:lnTo>
                          <a:lnTo>
                            <a:pt x="2284" y="1859"/>
                          </a:lnTo>
                          <a:lnTo>
                            <a:pt x="2292" y="1863"/>
                          </a:lnTo>
                          <a:lnTo>
                            <a:pt x="2299" y="1871"/>
                          </a:lnTo>
                          <a:lnTo>
                            <a:pt x="2305" y="1879"/>
                          </a:lnTo>
                          <a:lnTo>
                            <a:pt x="2309" y="1891"/>
                          </a:lnTo>
                          <a:lnTo>
                            <a:pt x="2312" y="1906"/>
                          </a:lnTo>
                          <a:lnTo>
                            <a:pt x="2314" y="1923"/>
                          </a:lnTo>
                          <a:lnTo>
                            <a:pt x="2314" y="1923"/>
                          </a:lnTo>
                          <a:lnTo>
                            <a:pt x="2312" y="1941"/>
                          </a:lnTo>
                          <a:lnTo>
                            <a:pt x="2310" y="1957"/>
                          </a:lnTo>
                          <a:lnTo>
                            <a:pt x="2308" y="1969"/>
                          </a:lnTo>
                          <a:lnTo>
                            <a:pt x="2303" y="1980"/>
                          </a:lnTo>
                          <a:lnTo>
                            <a:pt x="2295" y="1989"/>
                          </a:lnTo>
                          <a:lnTo>
                            <a:pt x="2288" y="1995"/>
                          </a:lnTo>
                          <a:lnTo>
                            <a:pt x="2280" y="1998"/>
                          </a:lnTo>
                          <a:lnTo>
                            <a:pt x="2269" y="2000"/>
                          </a:lnTo>
                          <a:lnTo>
                            <a:pt x="2269" y="2000"/>
                          </a:lnTo>
                          <a:lnTo>
                            <a:pt x="2260" y="1998"/>
                          </a:lnTo>
                          <a:lnTo>
                            <a:pt x="2253" y="1997"/>
                          </a:lnTo>
                          <a:lnTo>
                            <a:pt x="2247" y="1993"/>
                          </a:lnTo>
                          <a:lnTo>
                            <a:pt x="2241" y="1991"/>
                          </a:lnTo>
                          <a:lnTo>
                            <a:pt x="2231" y="1983"/>
                          </a:lnTo>
                          <a:lnTo>
                            <a:pt x="2225" y="1976"/>
                          </a:lnTo>
                          <a:lnTo>
                            <a:pt x="2225" y="1879"/>
                          </a:lnTo>
                          <a:lnTo>
                            <a:pt x="2225" y="1879"/>
                          </a:lnTo>
                          <a:lnTo>
                            <a:pt x="2229" y="1874"/>
                          </a:lnTo>
                          <a:lnTo>
                            <a:pt x="2233" y="1869"/>
                          </a:lnTo>
                          <a:lnTo>
                            <a:pt x="2238" y="1865"/>
                          </a:lnTo>
                          <a:lnTo>
                            <a:pt x="2243" y="1861"/>
                          </a:lnTo>
                          <a:lnTo>
                            <a:pt x="2249" y="1859"/>
                          </a:lnTo>
                          <a:lnTo>
                            <a:pt x="2255" y="1856"/>
                          </a:lnTo>
                          <a:lnTo>
                            <a:pt x="2261" y="1855"/>
                          </a:lnTo>
                          <a:lnTo>
                            <a:pt x="2267" y="1855"/>
                          </a:lnTo>
                          <a:lnTo>
                            <a:pt x="2267" y="1855"/>
                          </a:lnTo>
                          <a:close/>
                          <a:moveTo>
                            <a:pt x="1591" y="1822"/>
                          </a:moveTo>
                          <a:lnTo>
                            <a:pt x="1591" y="1822"/>
                          </a:lnTo>
                          <a:lnTo>
                            <a:pt x="1586" y="1817"/>
                          </a:lnTo>
                          <a:lnTo>
                            <a:pt x="1580" y="1812"/>
                          </a:lnTo>
                          <a:lnTo>
                            <a:pt x="1572" y="1809"/>
                          </a:lnTo>
                          <a:lnTo>
                            <a:pt x="1566" y="1805"/>
                          </a:lnTo>
                          <a:lnTo>
                            <a:pt x="1559" y="1803"/>
                          </a:lnTo>
                          <a:lnTo>
                            <a:pt x="1552" y="1800"/>
                          </a:lnTo>
                          <a:lnTo>
                            <a:pt x="1544" y="1800"/>
                          </a:lnTo>
                          <a:lnTo>
                            <a:pt x="1537" y="1799"/>
                          </a:lnTo>
                          <a:lnTo>
                            <a:pt x="1537" y="1799"/>
                          </a:lnTo>
                          <a:lnTo>
                            <a:pt x="1526" y="1800"/>
                          </a:lnTo>
                          <a:lnTo>
                            <a:pt x="1515" y="1801"/>
                          </a:lnTo>
                          <a:lnTo>
                            <a:pt x="1506" y="1804"/>
                          </a:lnTo>
                          <a:lnTo>
                            <a:pt x="1497" y="1807"/>
                          </a:lnTo>
                          <a:lnTo>
                            <a:pt x="1489" y="1812"/>
                          </a:lnTo>
                          <a:lnTo>
                            <a:pt x="1480" y="1818"/>
                          </a:lnTo>
                          <a:lnTo>
                            <a:pt x="1473" y="1826"/>
                          </a:lnTo>
                          <a:lnTo>
                            <a:pt x="1467" y="1833"/>
                          </a:lnTo>
                          <a:lnTo>
                            <a:pt x="1461" y="1842"/>
                          </a:lnTo>
                          <a:lnTo>
                            <a:pt x="1456" y="1851"/>
                          </a:lnTo>
                          <a:lnTo>
                            <a:pt x="1451" y="1861"/>
                          </a:lnTo>
                          <a:lnTo>
                            <a:pt x="1447" y="1872"/>
                          </a:lnTo>
                          <a:lnTo>
                            <a:pt x="1445" y="1884"/>
                          </a:lnTo>
                          <a:lnTo>
                            <a:pt x="1442" y="1897"/>
                          </a:lnTo>
                          <a:lnTo>
                            <a:pt x="1441" y="1911"/>
                          </a:lnTo>
                          <a:lnTo>
                            <a:pt x="1441" y="1924"/>
                          </a:lnTo>
                          <a:lnTo>
                            <a:pt x="1441" y="1924"/>
                          </a:lnTo>
                          <a:lnTo>
                            <a:pt x="1441" y="1940"/>
                          </a:lnTo>
                          <a:lnTo>
                            <a:pt x="1442" y="1953"/>
                          </a:lnTo>
                          <a:lnTo>
                            <a:pt x="1445" y="1967"/>
                          </a:lnTo>
                          <a:lnTo>
                            <a:pt x="1447" y="1979"/>
                          </a:lnTo>
                          <a:lnTo>
                            <a:pt x="1451" y="1991"/>
                          </a:lnTo>
                          <a:lnTo>
                            <a:pt x="1455" y="2002"/>
                          </a:lnTo>
                          <a:lnTo>
                            <a:pt x="1461" y="2012"/>
                          </a:lnTo>
                          <a:lnTo>
                            <a:pt x="1465" y="2020"/>
                          </a:lnTo>
                          <a:lnTo>
                            <a:pt x="1473" y="2029"/>
                          </a:lnTo>
                          <a:lnTo>
                            <a:pt x="1479" y="2035"/>
                          </a:lnTo>
                          <a:lnTo>
                            <a:pt x="1487" y="2041"/>
                          </a:lnTo>
                          <a:lnTo>
                            <a:pt x="1496" y="2046"/>
                          </a:lnTo>
                          <a:lnTo>
                            <a:pt x="1504" y="2049"/>
                          </a:lnTo>
                          <a:lnTo>
                            <a:pt x="1514" y="2053"/>
                          </a:lnTo>
                          <a:lnTo>
                            <a:pt x="1525" y="2054"/>
                          </a:lnTo>
                          <a:lnTo>
                            <a:pt x="1536" y="2054"/>
                          </a:lnTo>
                          <a:lnTo>
                            <a:pt x="1536" y="2054"/>
                          </a:lnTo>
                          <a:lnTo>
                            <a:pt x="1543" y="2054"/>
                          </a:lnTo>
                          <a:lnTo>
                            <a:pt x="1551" y="2053"/>
                          </a:lnTo>
                          <a:lnTo>
                            <a:pt x="1558" y="2052"/>
                          </a:lnTo>
                          <a:lnTo>
                            <a:pt x="1565" y="2049"/>
                          </a:lnTo>
                          <a:lnTo>
                            <a:pt x="1572" y="2046"/>
                          </a:lnTo>
                          <a:lnTo>
                            <a:pt x="1578" y="2041"/>
                          </a:lnTo>
                          <a:lnTo>
                            <a:pt x="1585" y="2037"/>
                          </a:lnTo>
                          <a:lnTo>
                            <a:pt x="1591" y="2031"/>
                          </a:lnTo>
                          <a:lnTo>
                            <a:pt x="1591" y="2037"/>
                          </a:lnTo>
                          <a:lnTo>
                            <a:pt x="1591" y="2037"/>
                          </a:lnTo>
                          <a:lnTo>
                            <a:pt x="1591" y="2047"/>
                          </a:lnTo>
                          <a:lnTo>
                            <a:pt x="1589" y="2058"/>
                          </a:lnTo>
                          <a:lnTo>
                            <a:pt x="1587" y="2069"/>
                          </a:lnTo>
                          <a:lnTo>
                            <a:pt x="1585" y="2074"/>
                          </a:lnTo>
                          <a:lnTo>
                            <a:pt x="1581" y="2079"/>
                          </a:lnTo>
                          <a:lnTo>
                            <a:pt x="1577" y="2083"/>
                          </a:lnTo>
                          <a:lnTo>
                            <a:pt x="1572" y="2088"/>
                          </a:lnTo>
                          <a:lnTo>
                            <a:pt x="1565" y="2092"/>
                          </a:lnTo>
                          <a:lnTo>
                            <a:pt x="1558" y="2094"/>
                          </a:lnTo>
                          <a:lnTo>
                            <a:pt x="1549" y="2098"/>
                          </a:lnTo>
                          <a:lnTo>
                            <a:pt x="1538" y="2099"/>
                          </a:lnTo>
                          <a:lnTo>
                            <a:pt x="1526" y="2102"/>
                          </a:lnTo>
                          <a:lnTo>
                            <a:pt x="1513" y="2102"/>
                          </a:lnTo>
                          <a:lnTo>
                            <a:pt x="1510" y="2102"/>
                          </a:lnTo>
                          <a:lnTo>
                            <a:pt x="1531" y="2149"/>
                          </a:lnTo>
                          <a:lnTo>
                            <a:pt x="1532" y="2149"/>
                          </a:lnTo>
                          <a:lnTo>
                            <a:pt x="1532" y="2149"/>
                          </a:lnTo>
                          <a:lnTo>
                            <a:pt x="1547" y="2149"/>
                          </a:lnTo>
                          <a:lnTo>
                            <a:pt x="1560" y="2147"/>
                          </a:lnTo>
                          <a:lnTo>
                            <a:pt x="1574" y="2144"/>
                          </a:lnTo>
                          <a:lnTo>
                            <a:pt x="1585" y="2141"/>
                          </a:lnTo>
                          <a:lnTo>
                            <a:pt x="1595" y="2137"/>
                          </a:lnTo>
                          <a:lnTo>
                            <a:pt x="1605" y="2132"/>
                          </a:lnTo>
                          <a:lnTo>
                            <a:pt x="1614" y="2125"/>
                          </a:lnTo>
                          <a:lnTo>
                            <a:pt x="1622" y="2119"/>
                          </a:lnTo>
                          <a:lnTo>
                            <a:pt x="1630" y="2110"/>
                          </a:lnTo>
                          <a:lnTo>
                            <a:pt x="1634" y="2100"/>
                          </a:lnTo>
                          <a:lnTo>
                            <a:pt x="1640" y="2091"/>
                          </a:lnTo>
                          <a:lnTo>
                            <a:pt x="1644" y="2080"/>
                          </a:lnTo>
                          <a:lnTo>
                            <a:pt x="1648" y="2068"/>
                          </a:lnTo>
                          <a:lnTo>
                            <a:pt x="1650" y="2055"/>
                          </a:lnTo>
                          <a:lnTo>
                            <a:pt x="1651" y="2042"/>
                          </a:lnTo>
                          <a:lnTo>
                            <a:pt x="1651" y="2026"/>
                          </a:lnTo>
                          <a:lnTo>
                            <a:pt x="1651" y="1805"/>
                          </a:lnTo>
                          <a:lnTo>
                            <a:pt x="1591" y="1805"/>
                          </a:lnTo>
                          <a:lnTo>
                            <a:pt x="1591" y="1822"/>
                          </a:lnTo>
                          <a:close/>
                          <a:moveTo>
                            <a:pt x="1591" y="1879"/>
                          </a:moveTo>
                          <a:lnTo>
                            <a:pt x="1591" y="1975"/>
                          </a:lnTo>
                          <a:lnTo>
                            <a:pt x="1591" y="1975"/>
                          </a:lnTo>
                          <a:lnTo>
                            <a:pt x="1583" y="1984"/>
                          </a:lnTo>
                          <a:lnTo>
                            <a:pt x="1574" y="1992"/>
                          </a:lnTo>
                          <a:lnTo>
                            <a:pt x="1569" y="1995"/>
                          </a:lnTo>
                          <a:lnTo>
                            <a:pt x="1563" y="1997"/>
                          </a:lnTo>
                          <a:lnTo>
                            <a:pt x="1555" y="1998"/>
                          </a:lnTo>
                          <a:lnTo>
                            <a:pt x="1548" y="2000"/>
                          </a:lnTo>
                          <a:lnTo>
                            <a:pt x="1548" y="2000"/>
                          </a:lnTo>
                          <a:lnTo>
                            <a:pt x="1540" y="1998"/>
                          </a:lnTo>
                          <a:lnTo>
                            <a:pt x="1532" y="1996"/>
                          </a:lnTo>
                          <a:lnTo>
                            <a:pt x="1524" y="1991"/>
                          </a:lnTo>
                          <a:lnTo>
                            <a:pt x="1518" y="1985"/>
                          </a:lnTo>
                          <a:lnTo>
                            <a:pt x="1512" y="1975"/>
                          </a:lnTo>
                          <a:lnTo>
                            <a:pt x="1507" y="1962"/>
                          </a:lnTo>
                          <a:lnTo>
                            <a:pt x="1503" y="1945"/>
                          </a:lnTo>
                          <a:lnTo>
                            <a:pt x="1502" y="1923"/>
                          </a:lnTo>
                          <a:lnTo>
                            <a:pt x="1502" y="1923"/>
                          </a:lnTo>
                          <a:lnTo>
                            <a:pt x="1503" y="1904"/>
                          </a:lnTo>
                          <a:lnTo>
                            <a:pt x="1507" y="1889"/>
                          </a:lnTo>
                          <a:lnTo>
                            <a:pt x="1512" y="1877"/>
                          </a:lnTo>
                          <a:lnTo>
                            <a:pt x="1518" y="1868"/>
                          </a:lnTo>
                          <a:lnTo>
                            <a:pt x="1524" y="1861"/>
                          </a:lnTo>
                          <a:lnTo>
                            <a:pt x="1532" y="1857"/>
                          </a:lnTo>
                          <a:lnTo>
                            <a:pt x="1540" y="1855"/>
                          </a:lnTo>
                          <a:lnTo>
                            <a:pt x="1548" y="1855"/>
                          </a:lnTo>
                          <a:lnTo>
                            <a:pt x="1548" y="1855"/>
                          </a:lnTo>
                          <a:lnTo>
                            <a:pt x="1555" y="1855"/>
                          </a:lnTo>
                          <a:lnTo>
                            <a:pt x="1563" y="1857"/>
                          </a:lnTo>
                          <a:lnTo>
                            <a:pt x="1570" y="1860"/>
                          </a:lnTo>
                          <a:lnTo>
                            <a:pt x="1575" y="1862"/>
                          </a:lnTo>
                          <a:lnTo>
                            <a:pt x="1580" y="1867"/>
                          </a:lnTo>
                          <a:lnTo>
                            <a:pt x="1585" y="1871"/>
                          </a:lnTo>
                          <a:lnTo>
                            <a:pt x="1591" y="1879"/>
                          </a:lnTo>
                          <a:lnTo>
                            <a:pt x="1591" y="1879"/>
                          </a:lnTo>
                          <a:close/>
                          <a:moveTo>
                            <a:pt x="1840" y="1865"/>
                          </a:moveTo>
                          <a:lnTo>
                            <a:pt x="1840" y="1865"/>
                          </a:lnTo>
                          <a:lnTo>
                            <a:pt x="1854" y="1857"/>
                          </a:lnTo>
                          <a:lnTo>
                            <a:pt x="1869" y="1852"/>
                          </a:lnTo>
                          <a:lnTo>
                            <a:pt x="1885" y="1849"/>
                          </a:lnTo>
                          <a:lnTo>
                            <a:pt x="1902" y="1848"/>
                          </a:lnTo>
                          <a:lnTo>
                            <a:pt x="1902" y="1848"/>
                          </a:lnTo>
                          <a:lnTo>
                            <a:pt x="1913" y="1849"/>
                          </a:lnTo>
                          <a:lnTo>
                            <a:pt x="1921" y="1850"/>
                          </a:lnTo>
                          <a:lnTo>
                            <a:pt x="1928" y="1852"/>
                          </a:lnTo>
                          <a:lnTo>
                            <a:pt x="1935" y="1857"/>
                          </a:lnTo>
                          <a:lnTo>
                            <a:pt x="1939" y="1862"/>
                          </a:lnTo>
                          <a:lnTo>
                            <a:pt x="1943" y="1868"/>
                          </a:lnTo>
                          <a:lnTo>
                            <a:pt x="1945" y="1874"/>
                          </a:lnTo>
                          <a:lnTo>
                            <a:pt x="1945" y="1883"/>
                          </a:lnTo>
                          <a:lnTo>
                            <a:pt x="1945" y="1900"/>
                          </a:lnTo>
                          <a:lnTo>
                            <a:pt x="1945" y="1900"/>
                          </a:lnTo>
                          <a:lnTo>
                            <a:pt x="1935" y="1895"/>
                          </a:lnTo>
                          <a:lnTo>
                            <a:pt x="1921" y="1891"/>
                          </a:lnTo>
                          <a:lnTo>
                            <a:pt x="1908" y="1889"/>
                          </a:lnTo>
                          <a:lnTo>
                            <a:pt x="1893" y="1888"/>
                          </a:lnTo>
                          <a:lnTo>
                            <a:pt x="1893" y="1888"/>
                          </a:lnTo>
                          <a:lnTo>
                            <a:pt x="1876" y="1889"/>
                          </a:lnTo>
                          <a:lnTo>
                            <a:pt x="1859" y="1893"/>
                          </a:lnTo>
                          <a:lnTo>
                            <a:pt x="1843" y="1897"/>
                          </a:lnTo>
                          <a:lnTo>
                            <a:pt x="1835" y="1901"/>
                          </a:lnTo>
                          <a:lnTo>
                            <a:pt x="1828" y="1906"/>
                          </a:lnTo>
                          <a:lnTo>
                            <a:pt x="1822" y="1911"/>
                          </a:lnTo>
                          <a:lnTo>
                            <a:pt x="1815" y="1917"/>
                          </a:lnTo>
                          <a:lnTo>
                            <a:pt x="1809" y="1923"/>
                          </a:lnTo>
                          <a:lnTo>
                            <a:pt x="1805" y="1930"/>
                          </a:lnTo>
                          <a:lnTo>
                            <a:pt x="1801" y="1939"/>
                          </a:lnTo>
                          <a:lnTo>
                            <a:pt x="1798" y="1948"/>
                          </a:lnTo>
                          <a:lnTo>
                            <a:pt x="1797" y="1958"/>
                          </a:lnTo>
                          <a:lnTo>
                            <a:pt x="1796" y="1968"/>
                          </a:lnTo>
                          <a:lnTo>
                            <a:pt x="1796" y="1968"/>
                          </a:lnTo>
                          <a:lnTo>
                            <a:pt x="1797" y="1980"/>
                          </a:lnTo>
                          <a:lnTo>
                            <a:pt x="1798" y="1991"/>
                          </a:lnTo>
                          <a:lnTo>
                            <a:pt x="1801" y="2000"/>
                          </a:lnTo>
                          <a:lnTo>
                            <a:pt x="1805" y="2009"/>
                          </a:lnTo>
                          <a:lnTo>
                            <a:pt x="1808" y="2017"/>
                          </a:lnTo>
                          <a:lnTo>
                            <a:pt x="1814" y="2024"/>
                          </a:lnTo>
                          <a:lnTo>
                            <a:pt x="1819" y="2030"/>
                          </a:lnTo>
                          <a:lnTo>
                            <a:pt x="1826" y="2036"/>
                          </a:lnTo>
                          <a:lnTo>
                            <a:pt x="1832" y="2041"/>
                          </a:lnTo>
                          <a:lnTo>
                            <a:pt x="1840" y="2045"/>
                          </a:lnTo>
                          <a:lnTo>
                            <a:pt x="1856" y="2051"/>
                          </a:lnTo>
                          <a:lnTo>
                            <a:pt x="1871" y="2054"/>
                          </a:lnTo>
                          <a:lnTo>
                            <a:pt x="1887" y="2055"/>
                          </a:lnTo>
                          <a:lnTo>
                            <a:pt x="1887" y="2055"/>
                          </a:lnTo>
                          <a:lnTo>
                            <a:pt x="1901" y="2053"/>
                          </a:lnTo>
                          <a:lnTo>
                            <a:pt x="1909" y="2052"/>
                          </a:lnTo>
                          <a:lnTo>
                            <a:pt x="1916" y="2049"/>
                          </a:lnTo>
                          <a:lnTo>
                            <a:pt x="1925" y="2046"/>
                          </a:lnTo>
                          <a:lnTo>
                            <a:pt x="1932" y="2041"/>
                          </a:lnTo>
                          <a:lnTo>
                            <a:pt x="1939" y="2036"/>
                          </a:lnTo>
                          <a:lnTo>
                            <a:pt x="1945" y="2030"/>
                          </a:lnTo>
                          <a:lnTo>
                            <a:pt x="1945" y="2049"/>
                          </a:lnTo>
                          <a:lnTo>
                            <a:pt x="2006" y="2049"/>
                          </a:lnTo>
                          <a:lnTo>
                            <a:pt x="2006" y="1884"/>
                          </a:lnTo>
                          <a:lnTo>
                            <a:pt x="2006" y="1884"/>
                          </a:lnTo>
                          <a:lnTo>
                            <a:pt x="2006" y="1874"/>
                          </a:lnTo>
                          <a:lnTo>
                            <a:pt x="2005" y="1866"/>
                          </a:lnTo>
                          <a:lnTo>
                            <a:pt x="2003" y="1857"/>
                          </a:lnTo>
                          <a:lnTo>
                            <a:pt x="2000" y="1849"/>
                          </a:lnTo>
                          <a:lnTo>
                            <a:pt x="1995" y="1842"/>
                          </a:lnTo>
                          <a:lnTo>
                            <a:pt x="1992" y="1834"/>
                          </a:lnTo>
                          <a:lnTo>
                            <a:pt x="1986" y="1828"/>
                          </a:lnTo>
                          <a:lnTo>
                            <a:pt x="1979" y="1822"/>
                          </a:lnTo>
                          <a:lnTo>
                            <a:pt x="1973" y="1817"/>
                          </a:lnTo>
                          <a:lnTo>
                            <a:pt x="1966" y="1812"/>
                          </a:lnTo>
                          <a:lnTo>
                            <a:pt x="1958" y="1809"/>
                          </a:lnTo>
                          <a:lnTo>
                            <a:pt x="1949" y="1805"/>
                          </a:lnTo>
                          <a:lnTo>
                            <a:pt x="1939" y="1803"/>
                          </a:lnTo>
                          <a:lnTo>
                            <a:pt x="1930" y="1801"/>
                          </a:lnTo>
                          <a:lnTo>
                            <a:pt x="1919" y="1800"/>
                          </a:lnTo>
                          <a:lnTo>
                            <a:pt x="1908" y="1799"/>
                          </a:lnTo>
                          <a:lnTo>
                            <a:pt x="1908" y="1799"/>
                          </a:lnTo>
                          <a:lnTo>
                            <a:pt x="1894" y="1800"/>
                          </a:lnTo>
                          <a:lnTo>
                            <a:pt x="1883" y="1800"/>
                          </a:lnTo>
                          <a:lnTo>
                            <a:pt x="1871" y="1803"/>
                          </a:lnTo>
                          <a:lnTo>
                            <a:pt x="1859" y="1805"/>
                          </a:lnTo>
                          <a:lnTo>
                            <a:pt x="1848" y="1809"/>
                          </a:lnTo>
                          <a:lnTo>
                            <a:pt x="1837" y="1812"/>
                          </a:lnTo>
                          <a:lnTo>
                            <a:pt x="1826" y="1817"/>
                          </a:lnTo>
                          <a:lnTo>
                            <a:pt x="1815" y="1823"/>
                          </a:lnTo>
                          <a:lnTo>
                            <a:pt x="1840" y="1865"/>
                          </a:lnTo>
                          <a:close/>
                          <a:moveTo>
                            <a:pt x="1857" y="1968"/>
                          </a:moveTo>
                          <a:lnTo>
                            <a:pt x="1857" y="1968"/>
                          </a:lnTo>
                          <a:lnTo>
                            <a:pt x="1857" y="1961"/>
                          </a:lnTo>
                          <a:lnTo>
                            <a:pt x="1859" y="1953"/>
                          </a:lnTo>
                          <a:lnTo>
                            <a:pt x="1863" y="1947"/>
                          </a:lnTo>
                          <a:lnTo>
                            <a:pt x="1868" y="1942"/>
                          </a:lnTo>
                          <a:lnTo>
                            <a:pt x="1874" y="1939"/>
                          </a:lnTo>
                          <a:lnTo>
                            <a:pt x="1881" y="1936"/>
                          </a:lnTo>
                          <a:lnTo>
                            <a:pt x="1890" y="1934"/>
                          </a:lnTo>
                          <a:lnTo>
                            <a:pt x="1898" y="1934"/>
                          </a:lnTo>
                          <a:lnTo>
                            <a:pt x="1898" y="1934"/>
                          </a:lnTo>
                          <a:lnTo>
                            <a:pt x="1911" y="1934"/>
                          </a:lnTo>
                          <a:lnTo>
                            <a:pt x="1924" y="1936"/>
                          </a:lnTo>
                          <a:lnTo>
                            <a:pt x="1935" y="1940"/>
                          </a:lnTo>
                          <a:lnTo>
                            <a:pt x="1945" y="1946"/>
                          </a:lnTo>
                          <a:lnTo>
                            <a:pt x="1945" y="1979"/>
                          </a:lnTo>
                          <a:lnTo>
                            <a:pt x="1945" y="1979"/>
                          </a:lnTo>
                          <a:lnTo>
                            <a:pt x="1943" y="1984"/>
                          </a:lnTo>
                          <a:lnTo>
                            <a:pt x="1938" y="1989"/>
                          </a:lnTo>
                          <a:lnTo>
                            <a:pt x="1933" y="1993"/>
                          </a:lnTo>
                          <a:lnTo>
                            <a:pt x="1927" y="1997"/>
                          </a:lnTo>
                          <a:lnTo>
                            <a:pt x="1921" y="2001"/>
                          </a:lnTo>
                          <a:lnTo>
                            <a:pt x="1914" y="2003"/>
                          </a:lnTo>
                          <a:lnTo>
                            <a:pt x="1907" y="2004"/>
                          </a:lnTo>
                          <a:lnTo>
                            <a:pt x="1898" y="2006"/>
                          </a:lnTo>
                          <a:lnTo>
                            <a:pt x="1898" y="2006"/>
                          </a:lnTo>
                          <a:lnTo>
                            <a:pt x="1890" y="2004"/>
                          </a:lnTo>
                          <a:lnTo>
                            <a:pt x="1881" y="2002"/>
                          </a:lnTo>
                          <a:lnTo>
                            <a:pt x="1874" y="2000"/>
                          </a:lnTo>
                          <a:lnTo>
                            <a:pt x="1868" y="1995"/>
                          </a:lnTo>
                          <a:lnTo>
                            <a:pt x="1863" y="1990"/>
                          </a:lnTo>
                          <a:lnTo>
                            <a:pt x="1859" y="1984"/>
                          </a:lnTo>
                          <a:lnTo>
                            <a:pt x="1858" y="1976"/>
                          </a:lnTo>
                          <a:lnTo>
                            <a:pt x="1857" y="1968"/>
                          </a:lnTo>
                          <a:lnTo>
                            <a:pt x="1857" y="1968"/>
                          </a:lnTo>
                          <a:close/>
                          <a:moveTo>
                            <a:pt x="2569" y="1979"/>
                          </a:moveTo>
                          <a:lnTo>
                            <a:pt x="2569" y="1979"/>
                          </a:lnTo>
                          <a:lnTo>
                            <a:pt x="2560" y="1986"/>
                          </a:lnTo>
                          <a:lnTo>
                            <a:pt x="2549" y="1992"/>
                          </a:lnTo>
                          <a:lnTo>
                            <a:pt x="2543" y="1995"/>
                          </a:lnTo>
                          <a:lnTo>
                            <a:pt x="2536" y="1997"/>
                          </a:lnTo>
                          <a:lnTo>
                            <a:pt x="2529" y="1998"/>
                          </a:lnTo>
                          <a:lnTo>
                            <a:pt x="2521" y="2000"/>
                          </a:lnTo>
                          <a:lnTo>
                            <a:pt x="2521" y="2000"/>
                          </a:lnTo>
                          <a:lnTo>
                            <a:pt x="2515" y="1998"/>
                          </a:lnTo>
                          <a:lnTo>
                            <a:pt x="2508" y="1998"/>
                          </a:lnTo>
                          <a:lnTo>
                            <a:pt x="2500" y="1996"/>
                          </a:lnTo>
                          <a:lnTo>
                            <a:pt x="2490" y="1991"/>
                          </a:lnTo>
                          <a:lnTo>
                            <a:pt x="2481" y="1985"/>
                          </a:lnTo>
                          <a:lnTo>
                            <a:pt x="2478" y="1980"/>
                          </a:lnTo>
                          <a:lnTo>
                            <a:pt x="2474" y="1975"/>
                          </a:lnTo>
                          <a:lnTo>
                            <a:pt x="2472" y="1969"/>
                          </a:lnTo>
                          <a:lnTo>
                            <a:pt x="2469" y="1962"/>
                          </a:lnTo>
                          <a:lnTo>
                            <a:pt x="2468" y="1955"/>
                          </a:lnTo>
                          <a:lnTo>
                            <a:pt x="2467" y="1946"/>
                          </a:lnTo>
                          <a:lnTo>
                            <a:pt x="2616" y="1946"/>
                          </a:lnTo>
                          <a:lnTo>
                            <a:pt x="2616" y="1946"/>
                          </a:lnTo>
                          <a:lnTo>
                            <a:pt x="2617" y="1928"/>
                          </a:lnTo>
                          <a:lnTo>
                            <a:pt x="2617" y="1928"/>
                          </a:lnTo>
                          <a:lnTo>
                            <a:pt x="2617" y="1913"/>
                          </a:lnTo>
                          <a:lnTo>
                            <a:pt x="2615" y="1900"/>
                          </a:lnTo>
                          <a:lnTo>
                            <a:pt x="2614" y="1886"/>
                          </a:lnTo>
                          <a:lnTo>
                            <a:pt x="2610" y="1874"/>
                          </a:lnTo>
                          <a:lnTo>
                            <a:pt x="2607" y="1863"/>
                          </a:lnTo>
                          <a:lnTo>
                            <a:pt x="2602" y="1852"/>
                          </a:lnTo>
                          <a:lnTo>
                            <a:pt x="2596" y="1843"/>
                          </a:lnTo>
                          <a:lnTo>
                            <a:pt x="2589" y="1834"/>
                          </a:lnTo>
                          <a:lnTo>
                            <a:pt x="2582" y="1826"/>
                          </a:lnTo>
                          <a:lnTo>
                            <a:pt x="2575" y="1820"/>
                          </a:lnTo>
                          <a:lnTo>
                            <a:pt x="2566" y="1814"/>
                          </a:lnTo>
                          <a:lnTo>
                            <a:pt x="2557" y="1809"/>
                          </a:lnTo>
                          <a:lnTo>
                            <a:pt x="2547" y="1805"/>
                          </a:lnTo>
                          <a:lnTo>
                            <a:pt x="2537" y="1801"/>
                          </a:lnTo>
                          <a:lnTo>
                            <a:pt x="2526" y="1800"/>
                          </a:lnTo>
                          <a:lnTo>
                            <a:pt x="2514" y="1799"/>
                          </a:lnTo>
                          <a:lnTo>
                            <a:pt x="2514" y="1799"/>
                          </a:lnTo>
                          <a:lnTo>
                            <a:pt x="2503" y="1800"/>
                          </a:lnTo>
                          <a:lnTo>
                            <a:pt x="2492" y="1801"/>
                          </a:lnTo>
                          <a:lnTo>
                            <a:pt x="2481" y="1805"/>
                          </a:lnTo>
                          <a:lnTo>
                            <a:pt x="2470" y="1809"/>
                          </a:lnTo>
                          <a:lnTo>
                            <a:pt x="2461" y="1814"/>
                          </a:lnTo>
                          <a:lnTo>
                            <a:pt x="2452" y="1821"/>
                          </a:lnTo>
                          <a:lnTo>
                            <a:pt x="2444" y="1827"/>
                          </a:lnTo>
                          <a:lnTo>
                            <a:pt x="2436" y="1835"/>
                          </a:lnTo>
                          <a:lnTo>
                            <a:pt x="2429" y="1844"/>
                          </a:lnTo>
                          <a:lnTo>
                            <a:pt x="2423" y="1854"/>
                          </a:lnTo>
                          <a:lnTo>
                            <a:pt x="2418" y="1865"/>
                          </a:lnTo>
                          <a:lnTo>
                            <a:pt x="2413" y="1876"/>
                          </a:lnTo>
                          <a:lnTo>
                            <a:pt x="2410" y="1888"/>
                          </a:lnTo>
                          <a:lnTo>
                            <a:pt x="2407" y="1901"/>
                          </a:lnTo>
                          <a:lnTo>
                            <a:pt x="2406" y="1913"/>
                          </a:lnTo>
                          <a:lnTo>
                            <a:pt x="2405" y="1928"/>
                          </a:lnTo>
                          <a:lnTo>
                            <a:pt x="2405" y="1928"/>
                          </a:lnTo>
                          <a:lnTo>
                            <a:pt x="2406" y="1941"/>
                          </a:lnTo>
                          <a:lnTo>
                            <a:pt x="2407" y="1955"/>
                          </a:lnTo>
                          <a:lnTo>
                            <a:pt x="2410" y="1968"/>
                          </a:lnTo>
                          <a:lnTo>
                            <a:pt x="2413" y="1980"/>
                          </a:lnTo>
                          <a:lnTo>
                            <a:pt x="2418" y="1991"/>
                          </a:lnTo>
                          <a:lnTo>
                            <a:pt x="2423" y="2002"/>
                          </a:lnTo>
                          <a:lnTo>
                            <a:pt x="2429" y="2012"/>
                          </a:lnTo>
                          <a:lnTo>
                            <a:pt x="2436" y="2020"/>
                          </a:lnTo>
                          <a:lnTo>
                            <a:pt x="2445" y="2028"/>
                          </a:lnTo>
                          <a:lnTo>
                            <a:pt x="2453" y="2035"/>
                          </a:lnTo>
                          <a:lnTo>
                            <a:pt x="2463" y="2041"/>
                          </a:lnTo>
                          <a:lnTo>
                            <a:pt x="2473" y="2046"/>
                          </a:lnTo>
                          <a:lnTo>
                            <a:pt x="2484" y="2049"/>
                          </a:lnTo>
                          <a:lnTo>
                            <a:pt x="2496" y="2053"/>
                          </a:lnTo>
                          <a:lnTo>
                            <a:pt x="2508" y="2054"/>
                          </a:lnTo>
                          <a:lnTo>
                            <a:pt x="2521" y="2055"/>
                          </a:lnTo>
                          <a:lnTo>
                            <a:pt x="2521" y="2055"/>
                          </a:lnTo>
                          <a:lnTo>
                            <a:pt x="2534" y="2054"/>
                          </a:lnTo>
                          <a:lnTo>
                            <a:pt x="2545" y="2053"/>
                          </a:lnTo>
                          <a:lnTo>
                            <a:pt x="2557" y="2049"/>
                          </a:lnTo>
                          <a:lnTo>
                            <a:pt x="2568" y="2046"/>
                          </a:lnTo>
                          <a:lnTo>
                            <a:pt x="2579" y="2040"/>
                          </a:lnTo>
                          <a:lnTo>
                            <a:pt x="2588" y="2034"/>
                          </a:lnTo>
                          <a:lnTo>
                            <a:pt x="2598" y="2025"/>
                          </a:lnTo>
                          <a:lnTo>
                            <a:pt x="2608" y="2017"/>
                          </a:lnTo>
                          <a:lnTo>
                            <a:pt x="2569" y="1979"/>
                          </a:lnTo>
                          <a:close/>
                          <a:moveTo>
                            <a:pt x="2468" y="1901"/>
                          </a:moveTo>
                          <a:lnTo>
                            <a:pt x="2468" y="1901"/>
                          </a:lnTo>
                          <a:lnTo>
                            <a:pt x="2469" y="1890"/>
                          </a:lnTo>
                          <a:lnTo>
                            <a:pt x="2472" y="1880"/>
                          </a:lnTo>
                          <a:lnTo>
                            <a:pt x="2475" y="1872"/>
                          </a:lnTo>
                          <a:lnTo>
                            <a:pt x="2481" y="1865"/>
                          </a:lnTo>
                          <a:lnTo>
                            <a:pt x="2487" y="1859"/>
                          </a:lnTo>
                          <a:lnTo>
                            <a:pt x="2495" y="1855"/>
                          </a:lnTo>
                          <a:lnTo>
                            <a:pt x="2503" y="1851"/>
                          </a:lnTo>
                          <a:lnTo>
                            <a:pt x="2513" y="1851"/>
                          </a:lnTo>
                          <a:lnTo>
                            <a:pt x="2513" y="1851"/>
                          </a:lnTo>
                          <a:lnTo>
                            <a:pt x="2524" y="1852"/>
                          </a:lnTo>
                          <a:lnTo>
                            <a:pt x="2534" y="1855"/>
                          </a:lnTo>
                          <a:lnTo>
                            <a:pt x="2541" y="1860"/>
                          </a:lnTo>
                          <a:lnTo>
                            <a:pt x="2547" y="1867"/>
                          </a:lnTo>
                          <a:lnTo>
                            <a:pt x="2552" y="1874"/>
                          </a:lnTo>
                          <a:lnTo>
                            <a:pt x="2555" y="1883"/>
                          </a:lnTo>
                          <a:lnTo>
                            <a:pt x="2558" y="1893"/>
                          </a:lnTo>
                          <a:lnTo>
                            <a:pt x="2559" y="1901"/>
                          </a:lnTo>
                          <a:lnTo>
                            <a:pt x="2468" y="1901"/>
                          </a:lnTo>
                          <a:close/>
                          <a:moveTo>
                            <a:pt x="3153" y="1979"/>
                          </a:moveTo>
                          <a:lnTo>
                            <a:pt x="3153" y="1979"/>
                          </a:lnTo>
                          <a:lnTo>
                            <a:pt x="3144" y="1986"/>
                          </a:lnTo>
                          <a:lnTo>
                            <a:pt x="3134" y="1992"/>
                          </a:lnTo>
                          <a:lnTo>
                            <a:pt x="3127" y="1995"/>
                          </a:lnTo>
                          <a:lnTo>
                            <a:pt x="3121" y="1997"/>
                          </a:lnTo>
                          <a:lnTo>
                            <a:pt x="3113" y="1998"/>
                          </a:lnTo>
                          <a:lnTo>
                            <a:pt x="3105" y="2000"/>
                          </a:lnTo>
                          <a:lnTo>
                            <a:pt x="3105" y="2000"/>
                          </a:lnTo>
                          <a:lnTo>
                            <a:pt x="3099" y="1998"/>
                          </a:lnTo>
                          <a:lnTo>
                            <a:pt x="3091" y="1998"/>
                          </a:lnTo>
                          <a:lnTo>
                            <a:pt x="3083" y="1996"/>
                          </a:lnTo>
                          <a:lnTo>
                            <a:pt x="3074" y="1991"/>
                          </a:lnTo>
                          <a:lnTo>
                            <a:pt x="3066" y="1985"/>
                          </a:lnTo>
                          <a:lnTo>
                            <a:pt x="3062" y="1980"/>
                          </a:lnTo>
                          <a:lnTo>
                            <a:pt x="3059" y="1975"/>
                          </a:lnTo>
                          <a:lnTo>
                            <a:pt x="3056" y="1969"/>
                          </a:lnTo>
                          <a:lnTo>
                            <a:pt x="3054" y="1962"/>
                          </a:lnTo>
                          <a:lnTo>
                            <a:pt x="3051" y="1955"/>
                          </a:lnTo>
                          <a:lnTo>
                            <a:pt x="3050" y="1946"/>
                          </a:lnTo>
                          <a:lnTo>
                            <a:pt x="3201" y="1946"/>
                          </a:lnTo>
                          <a:lnTo>
                            <a:pt x="3201" y="1946"/>
                          </a:lnTo>
                          <a:lnTo>
                            <a:pt x="3202" y="1928"/>
                          </a:lnTo>
                          <a:lnTo>
                            <a:pt x="3202" y="1928"/>
                          </a:lnTo>
                          <a:lnTo>
                            <a:pt x="3201" y="1913"/>
                          </a:lnTo>
                          <a:lnTo>
                            <a:pt x="3199" y="1900"/>
                          </a:lnTo>
                          <a:lnTo>
                            <a:pt x="3197" y="1886"/>
                          </a:lnTo>
                          <a:lnTo>
                            <a:pt x="3195" y="1874"/>
                          </a:lnTo>
                          <a:lnTo>
                            <a:pt x="3190" y="1863"/>
                          </a:lnTo>
                          <a:lnTo>
                            <a:pt x="3185" y="1852"/>
                          </a:lnTo>
                          <a:lnTo>
                            <a:pt x="3180" y="1843"/>
                          </a:lnTo>
                          <a:lnTo>
                            <a:pt x="3174" y="1834"/>
                          </a:lnTo>
                          <a:lnTo>
                            <a:pt x="3167" y="1826"/>
                          </a:lnTo>
                          <a:lnTo>
                            <a:pt x="3158" y="1820"/>
                          </a:lnTo>
                          <a:lnTo>
                            <a:pt x="3150" y="1814"/>
                          </a:lnTo>
                          <a:lnTo>
                            <a:pt x="3141" y="1809"/>
                          </a:lnTo>
                          <a:lnTo>
                            <a:pt x="3131" y="1805"/>
                          </a:lnTo>
                          <a:lnTo>
                            <a:pt x="3121" y="1801"/>
                          </a:lnTo>
                          <a:lnTo>
                            <a:pt x="3110" y="1800"/>
                          </a:lnTo>
                          <a:lnTo>
                            <a:pt x="3099" y="1799"/>
                          </a:lnTo>
                          <a:lnTo>
                            <a:pt x="3099" y="1799"/>
                          </a:lnTo>
                          <a:lnTo>
                            <a:pt x="3086" y="1800"/>
                          </a:lnTo>
                          <a:lnTo>
                            <a:pt x="3076" y="1801"/>
                          </a:lnTo>
                          <a:lnTo>
                            <a:pt x="3065" y="1805"/>
                          </a:lnTo>
                          <a:lnTo>
                            <a:pt x="3055" y="1809"/>
                          </a:lnTo>
                          <a:lnTo>
                            <a:pt x="3045" y="1814"/>
                          </a:lnTo>
                          <a:lnTo>
                            <a:pt x="3035" y="1821"/>
                          </a:lnTo>
                          <a:lnTo>
                            <a:pt x="3028" y="1827"/>
                          </a:lnTo>
                          <a:lnTo>
                            <a:pt x="3020" y="1835"/>
                          </a:lnTo>
                          <a:lnTo>
                            <a:pt x="3012" y="1844"/>
                          </a:lnTo>
                          <a:lnTo>
                            <a:pt x="3006" y="1854"/>
                          </a:lnTo>
                          <a:lnTo>
                            <a:pt x="3001" y="1865"/>
                          </a:lnTo>
                          <a:lnTo>
                            <a:pt x="2997" y="1876"/>
                          </a:lnTo>
                          <a:lnTo>
                            <a:pt x="2994" y="1888"/>
                          </a:lnTo>
                          <a:lnTo>
                            <a:pt x="2990" y="1901"/>
                          </a:lnTo>
                          <a:lnTo>
                            <a:pt x="2989" y="1913"/>
                          </a:lnTo>
                          <a:lnTo>
                            <a:pt x="2989" y="1928"/>
                          </a:lnTo>
                          <a:lnTo>
                            <a:pt x="2989" y="1928"/>
                          </a:lnTo>
                          <a:lnTo>
                            <a:pt x="2989" y="1941"/>
                          </a:lnTo>
                          <a:lnTo>
                            <a:pt x="2990" y="1955"/>
                          </a:lnTo>
                          <a:lnTo>
                            <a:pt x="2993" y="1968"/>
                          </a:lnTo>
                          <a:lnTo>
                            <a:pt x="2997" y="1980"/>
                          </a:lnTo>
                          <a:lnTo>
                            <a:pt x="3001" y="1991"/>
                          </a:lnTo>
                          <a:lnTo>
                            <a:pt x="3008" y="2002"/>
                          </a:lnTo>
                          <a:lnTo>
                            <a:pt x="3014" y="2012"/>
                          </a:lnTo>
                          <a:lnTo>
                            <a:pt x="3021" y="2020"/>
                          </a:lnTo>
                          <a:lnTo>
                            <a:pt x="3028" y="2028"/>
                          </a:lnTo>
                          <a:lnTo>
                            <a:pt x="3037" y="2035"/>
                          </a:lnTo>
                          <a:lnTo>
                            <a:pt x="3046" y="2041"/>
                          </a:lnTo>
                          <a:lnTo>
                            <a:pt x="3057" y="2046"/>
                          </a:lnTo>
                          <a:lnTo>
                            <a:pt x="3068" y="2049"/>
                          </a:lnTo>
                          <a:lnTo>
                            <a:pt x="3079" y="2053"/>
                          </a:lnTo>
                          <a:lnTo>
                            <a:pt x="3093" y="2054"/>
                          </a:lnTo>
                          <a:lnTo>
                            <a:pt x="3105" y="2055"/>
                          </a:lnTo>
                          <a:lnTo>
                            <a:pt x="3105" y="2055"/>
                          </a:lnTo>
                          <a:lnTo>
                            <a:pt x="3117" y="2054"/>
                          </a:lnTo>
                          <a:lnTo>
                            <a:pt x="3129" y="2053"/>
                          </a:lnTo>
                          <a:lnTo>
                            <a:pt x="3140" y="2049"/>
                          </a:lnTo>
                          <a:lnTo>
                            <a:pt x="3151" y="2046"/>
                          </a:lnTo>
                          <a:lnTo>
                            <a:pt x="3162" y="2040"/>
                          </a:lnTo>
                          <a:lnTo>
                            <a:pt x="3173" y="2034"/>
                          </a:lnTo>
                          <a:lnTo>
                            <a:pt x="3182" y="2025"/>
                          </a:lnTo>
                          <a:lnTo>
                            <a:pt x="3191" y="2017"/>
                          </a:lnTo>
                          <a:lnTo>
                            <a:pt x="3153" y="1979"/>
                          </a:lnTo>
                          <a:close/>
                          <a:moveTo>
                            <a:pt x="3051" y="1901"/>
                          </a:moveTo>
                          <a:lnTo>
                            <a:pt x="3051" y="1901"/>
                          </a:lnTo>
                          <a:lnTo>
                            <a:pt x="3052" y="1890"/>
                          </a:lnTo>
                          <a:lnTo>
                            <a:pt x="3056" y="1880"/>
                          </a:lnTo>
                          <a:lnTo>
                            <a:pt x="3060" y="1872"/>
                          </a:lnTo>
                          <a:lnTo>
                            <a:pt x="3065" y="1865"/>
                          </a:lnTo>
                          <a:lnTo>
                            <a:pt x="3072" y="1859"/>
                          </a:lnTo>
                          <a:lnTo>
                            <a:pt x="3079" y="1855"/>
                          </a:lnTo>
                          <a:lnTo>
                            <a:pt x="3088" y="1851"/>
                          </a:lnTo>
                          <a:lnTo>
                            <a:pt x="3097" y="1851"/>
                          </a:lnTo>
                          <a:lnTo>
                            <a:pt x="3097" y="1851"/>
                          </a:lnTo>
                          <a:lnTo>
                            <a:pt x="3108" y="1852"/>
                          </a:lnTo>
                          <a:lnTo>
                            <a:pt x="3117" y="1855"/>
                          </a:lnTo>
                          <a:lnTo>
                            <a:pt x="3125" y="1860"/>
                          </a:lnTo>
                          <a:lnTo>
                            <a:pt x="3131" y="1867"/>
                          </a:lnTo>
                          <a:lnTo>
                            <a:pt x="3136" y="1874"/>
                          </a:lnTo>
                          <a:lnTo>
                            <a:pt x="3140" y="1883"/>
                          </a:lnTo>
                          <a:lnTo>
                            <a:pt x="3142" y="1893"/>
                          </a:lnTo>
                          <a:lnTo>
                            <a:pt x="3144" y="1901"/>
                          </a:lnTo>
                          <a:lnTo>
                            <a:pt x="3051" y="1901"/>
                          </a:lnTo>
                          <a:close/>
                          <a:moveTo>
                            <a:pt x="2905" y="1964"/>
                          </a:moveTo>
                          <a:lnTo>
                            <a:pt x="2905" y="1964"/>
                          </a:lnTo>
                          <a:lnTo>
                            <a:pt x="2905" y="1973"/>
                          </a:lnTo>
                          <a:lnTo>
                            <a:pt x="2907" y="1979"/>
                          </a:lnTo>
                          <a:lnTo>
                            <a:pt x="2909" y="1985"/>
                          </a:lnTo>
                          <a:lnTo>
                            <a:pt x="2912" y="1990"/>
                          </a:lnTo>
                          <a:lnTo>
                            <a:pt x="2915" y="1993"/>
                          </a:lnTo>
                          <a:lnTo>
                            <a:pt x="2920" y="1996"/>
                          </a:lnTo>
                          <a:lnTo>
                            <a:pt x="2925" y="1997"/>
                          </a:lnTo>
                          <a:lnTo>
                            <a:pt x="2932" y="1997"/>
                          </a:lnTo>
                          <a:lnTo>
                            <a:pt x="2932" y="1997"/>
                          </a:lnTo>
                          <a:lnTo>
                            <a:pt x="2941" y="1997"/>
                          </a:lnTo>
                          <a:lnTo>
                            <a:pt x="2950" y="1995"/>
                          </a:lnTo>
                          <a:lnTo>
                            <a:pt x="2960" y="1991"/>
                          </a:lnTo>
                          <a:lnTo>
                            <a:pt x="2969" y="1986"/>
                          </a:lnTo>
                          <a:lnTo>
                            <a:pt x="2961" y="2043"/>
                          </a:lnTo>
                          <a:lnTo>
                            <a:pt x="2961" y="2043"/>
                          </a:lnTo>
                          <a:lnTo>
                            <a:pt x="2950" y="2048"/>
                          </a:lnTo>
                          <a:lnTo>
                            <a:pt x="2937" y="2052"/>
                          </a:lnTo>
                          <a:lnTo>
                            <a:pt x="2924" y="2054"/>
                          </a:lnTo>
                          <a:lnTo>
                            <a:pt x="2910" y="2055"/>
                          </a:lnTo>
                          <a:lnTo>
                            <a:pt x="2910" y="2055"/>
                          </a:lnTo>
                          <a:lnTo>
                            <a:pt x="2902" y="2054"/>
                          </a:lnTo>
                          <a:lnTo>
                            <a:pt x="2893" y="2053"/>
                          </a:lnTo>
                          <a:lnTo>
                            <a:pt x="2886" y="2051"/>
                          </a:lnTo>
                          <a:lnTo>
                            <a:pt x="2880" y="2048"/>
                          </a:lnTo>
                          <a:lnTo>
                            <a:pt x="2874" y="2045"/>
                          </a:lnTo>
                          <a:lnTo>
                            <a:pt x="2868" y="2041"/>
                          </a:lnTo>
                          <a:lnTo>
                            <a:pt x="2864" y="2036"/>
                          </a:lnTo>
                          <a:lnTo>
                            <a:pt x="2859" y="2030"/>
                          </a:lnTo>
                          <a:lnTo>
                            <a:pt x="2853" y="2019"/>
                          </a:lnTo>
                          <a:lnTo>
                            <a:pt x="2848" y="2006"/>
                          </a:lnTo>
                          <a:lnTo>
                            <a:pt x="2846" y="1993"/>
                          </a:lnTo>
                          <a:lnTo>
                            <a:pt x="2845" y="1980"/>
                          </a:lnTo>
                          <a:lnTo>
                            <a:pt x="2845" y="1861"/>
                          </a:lnTo>
                          <a:lnTo>
                            <a:pt x="2807" y="1861"/>
                          </a:lnTo>
                          <a:lnTo>
                            <a:pt x="2807" y="1805"/>
                          </a:lnTo>
                          <a:lnTo>
                            <a:pt x="2845" y="1805"/>
                          </a:lnTo>
                          <a:lnTo>
                            <a:pt x="2845" y="1742"/>
                          </a:lnTo>
                          <a:lnTo>
                            <a:pt x="2905" y="1711"/>
                          </a:lnTo>
                          <a:lnTo>
                            <a:pt x="2905" y="1805"/>
                          </a:lnTo>
                          <a:lnTo>
                            <a:pt x="2960" y="1805"/>
                          </a:lnTo>
                          <a:lnTo>
                            <a:pt x="2960" y="1861"/>
                          </a:lnTo>
                          <a:lnTo>
                            <a:pt x="2905" y="1861"/>
                          </a:lnTo>
                          <a:lnTo>
                            <a:pt x="2905" y="1964"/>
                          </a:lnTo>
                          <a:close/>
                          <a:moveTo>
                            <a:pt x="2788" y="2043"/>
                          </a:moveTo>
                          <a:lnTo>
                            <a:pt x="2788" y="2043"/>
                          </a:lnTo>
                          <a:lnTo>
                            <a:pt x="2777" y="2048"/>
                          </a:lnTo>
                          <a:lnTo>
                            <a:pt x="2764" y="2052"/>
                          </a:lnTo>
                          <a:lnTo>
                            <a:pt x="2751" y="2054"/>
                          </a:lnTo>
                          <a:lnTo>
                            <a:pt x="2738" y="2055"/>
                          </a:lnTo>
                          <a:lnTo>
                            <a:pt x="2738" y="2055"/>
                          </a:lnTo>
                          <a:lnTo>
                            <a:pt x="2728" y="2054"/>
                          </a:lnTo>
                          <a:lnTo>
                            <a:pt x="2721" y="2053"/>
                          </a:lnTo>
                          <a:lnTo>
                            <a:pt x="2713" y="2051"/>
                          </a:lnTo>
                          <a:lnTo>
                            <a:pt x="2706" y="2048"/>
                          </a:lnTo>
                          <a:lnTo>
                            <a:pt x="2701" y="2045"/>
                          </a:lnTo>
                          <a:lnTo>
                            <a:pt x="2695" y="2041"/>
                          </a:lnTo>
                          <a:lnTo>
                            <a:pt x="2690" y="2036"/>
                          </a:lnTo>
                          <a:lnTo>
                            <a:pt x="2687" y="2030"/>
                          </a:lnTo>
                          <a:lnTo>
                            <a:pt x="2679" y="2019"/>
                          </a:lnTo>
                          <a:lnTo>
                            <a:pt x="2676" y="2006"/>
                          </a:lnTo>
                          <a:lnTo>
                            <a:pt x="2672" y="1993"/>
                          </a:lnTo>
                          <a:lnTo>
                            <a:pt x="2672" y="1980"/>
                          </a:lnTo>
                          <a:lnTo>
                            <a:pt x="2672" y="1861"/>
                          </a:lnTo>
                          <a:lnTo>
                            <a:pt x="2634" y="1861"/>
                          </a:lnTo>
                          <a:lnTo>
                            <a:pt x="2634" y="1805"/>
                          </a:lnTo>
                          <a:lnTo>
                            <a:pt x="2672" y="1805"/>
                          </a:lnTo>
                          <a:lnTo>
                            <a:pt x="2672" y="1742"/>
                          </a:lnTo>
                          <a:lnTo>
                            <a:pt x="2733" y="1711"/>
                          </a:lnTo>
                          <a:lnTo>
                            <a:pt x="2733" y="1805"/>
                          </a:lnTo>
                          <a:lnTo>
                            <a:pt x="2784" y="1805"/>
                          </a:lnTo>
                          <a:lnTo>
                            <a:pt x="2784" y="1861"/>
                          </a:lnTo>
                          <a:lnTo>
                            <a:pt x="2733" y="1861"/>
                          </a:lnTo>
                          <a:lnTo>
                            <a:pt x="2733" y="1964"/>
                          </a:lnTo>
                          <a:lnTo>
                            <a:pt x="2733" y="1964"/>
                          </a:lnTo>
                          <a:lnTo>
                            <a:pt x="2733" y="1973"/>
                          </a:lnTo>
                          <a:lnTo>
                            <a:pt x="2734" y="1979"/>
                          </a:lnTo>
                          <a:lnTo>
                            <a:pt x="2737" y="1985"/>
                          </a:lnTo>
                          <a:lnTo>
                            <a:pt x="2739" y="1990"/>
                          </a:lnTo>
                          <a:lnTo>
                            <a:pt x="2743" y="1993"/>
                          </a:lnTo>
                          <a:lnTo>
                            <a:pt x="2747" y="1996"/>
                          </a:lnTo>
                          <a:lnTo>
                            <a:pt x="2752" y="1997"/>
                          </a:lnTo>
                          <a:lnTo>
                            <a:pt x="2758" y="1997"/>
                          </a:lnTo>
                          <a:lnTo>
                            <a:pt x="2758" y="1997"/>
                          </a:lnTo>
                          <a:lnTo>
                            <a:pt x="2768" y="1997"/>
                          </a:lnTo>
                          <a:lnTo>
                            <a:pt x="2778" y="1995"/>
                          </a:lnTo>
                          <a:lnTo>
                            <a:pt x="2786" y="1991"/>
                          </a:lnTo>
                          <a:lnTo>
                            <a:pt x="2795" y="1986"/>
                          </a:lnTo>
                          <a:lnTo>
                            <a:pt x="2788" y="2043"/>
                          </a:lnTo>
                          <a:close/>
                          <a:moveTo>
                            <a:pt x="3384" y="1873"/>
                          </a:moveTo>
                          <a:lnTo>
                            <a:pt x="3384" y="1873"/>
                          </a:lnTo>
                          <a:lnTo>
                            <a:pt x="3376" y="1867"/>
                          </a:lnTo>
                          <a:lnTo>
                            <a:pt x="3366" y="1863"/>
                          </a:lnTo>
                          <a:lnTo>
                            <a:pt x="3355" y="1861"/>
                          </a:lnTo>
                          <a:lnTo>
                            <a:pt x="3344" y="1860"/>
                          </a:lnTo>
                          <a:lnTo>
                            <a:pt x="3344" y="1860"/>
                          </a:lnTo>
                          <a:lnTo>
                            <a:pt x="3334" y="1861"/>
                          </a:lnTo>
                          <a:lnTo>
                            <a:pt x="3325" y="1863"/>
                          </a:lnTo>
                          <a:lnTo>
                            <a:pt x="3317" y="1868"/>
                          </a:lnTo>
                          <a:lnTo>
                            <a:pt x="3311" y="1874"/>
                          </a:lnTo>
                          <a:lnTo>
                            <a:pt x="3306" y="1882"/>
                          </a:lnTo>
                          <a:lnTo>
                            <a:pt x="3304" y="1891"/>
                          </a:lnTo>
                          <a:lnTo>
                            <a:pt x="3302" y="1904"/>
                          </a:lnTo>
                          <a:lnTo>
                            <a:pt x="3300" y="1917"/>
                          </a:lnTo>
                          <a:lnTo>
                            <a:pt x="3300" y="2049"/>
                          </a:lnTo>
                          <a:lnTo>
                            <a:pt x="3241" y="2049"/>
                          </a:lnTo>
                          <a:lnTo>
                            <a:pt x="3241" y="1805"/>
                          </a:lnTo>
                          <a:lnTo>
                            <a:pt x="3300" y="1805"/>
                          </a:lnTo>
                          <a:lnTo>
                            <a:pt x="3300" y="1826"/>
                          </a:lnTo>
                          <a:lnTo>
                            <a:pt x="3300" y="1826"/>
                          </a:lnTo>
                          <a:lnTo>
                            <a:pt x="3306" y="1820"/>
                          </a:lnTo>
                          <a:lnTo>
                            <a:pt x="3313" y="1814"/>
                          </a:lnTo>
                          <a:lnTo>
                            <a:pt x="3319" y="1810"/>
                          </a:lnTo>
                          <a:lnTo>
                            <a:pt x="3326" y="1806"/>
                          </a:lnTo>
                          <a:lnTo>
                            <a:pt x="3332" y="1803"/>
                          </a:lnTo>
                          <a:lnTo>
                            <a:pt x="3339" y="1801"/>
                          </a:lnTo>
                          <a:lnTo>
                            <a:pt x="3347" y="1800"/>
                          </a:lnTo>
                          <a:lnTo>
                            <a:pt x="3355" y="1799"/>
                          </a:lnTo>
                          <a:lnTo>
                            <a:pt x="3355" y="1799"/>
                          </a:lnTo>
                          <a:lnTo>
                            <a:pt x="3367" y="1800"/>
                          </a:lnTo>
                          <a:lnTo>
                            <a:pt x="3379" y="1804"/>
                          </a:lnTo>
                          <a:lnTo>
                            <a:pt x="3390" y="1807"/>
                          </a:lnTo>
                          <a:lnTo>
                            <a:pt x="3400" y="1814"/>
                          </a:lnTo>
                          <a:lnTo>
                            <a:pt x="3384" y="1873"/>
                          </a:lnTo>
                          <a:close/>
                          <a:moveTo>
                            <a:pt x="653" y="1747"/>
                          </a:moveTo>
                          <a:lnTo>
                            <a:pt x="653" y="1770"/>
                          </a:lnTo>
                          <a:lnTo>
                            <a:pt x="592" y="1770"/>
                          </a:lnTo>
                          <a:lnTo>
                            <a:pt x="592" y="1709"/>
                          </a:lnTo>
                          <a:lnTo>
                            <a:pt x="653" y="1709"/>
                          </a:lnTo>
                          <a:lnTo>
                            <a:pt x="653" y="1747"/>
                          </a:lnTo>
                          <a:close/>
                          <a:moveTo>
                            <a:pt x="1073" y="1805"/>
                          </a:moveTo>
                          <a:lnTo>
                            <a:pt x="1134" y="1805"/>
                          </a:lnTo>
                          <a:lnTo>
                            <a:pt x="1134" y="1930"/>
                          </a:lnTo>
                          <a:lnTo>
                            <a:pt x="1134" y="2049"/>
                          </a:lnTo>
                          <a:lnTo>
                            <a:pt x="1073" y="2049"/>
                          </a:lnTo>
                          <a:lnTo>
                            <a:pt x="1073" y="1805"/>
                          </a:lnTo>
                          <a:close/>
                          <a:moveTo>
                            <a:pt x="1134" y="1739"/>
                          </a:moveTo>
                          <a:lnTo>
                            <a:pt x="1134" y="1770"/>
                          </a:lnTo>
                          <a:lnTo>
                            <a:pt x="1073" y="1770"/>
                          </a:lnTo>
                          <a:lnTo>
                            <a:pt x="1073" y="1709"/>
                          </a:lnTo>
                          <a:lnTo>
                            <a:pt x="1134" y="1709"/>
                          </a:lnTo>
                          <a:lnTo>
                            <a:pt x="1134" y="1739"/>
                          </a:lnTo>
                          <a:close/>
                          <a:moveTo>
                            <a:pt x="2796" y="2250"/>
                          </a:moveTo>
                          <a:lnTo>
                            <a:pt x="2796" y="2250"/>
                          </a:lnTo>
                          <a:lnTo>
                            <a:pt x="2790" y="2245"/>
                          </a:lnTo>
                          <a:lnTo>
                            <a:pt x="2784" y="2240"/>
                          </a:lnTo>
                          <a:lnTo>
                            <a:pt x="2778" y="2237"/>
                          </a:lnTo>
                          <a:lnTo>
                            <a:pt x="2771" y="2233"/>
                          </a:lnTo>
                          <a:lnTo>
                            <a:pt x="2764" y="2231"/>
                          </a:lnTo>
                          <a:lnTo>
                            <a:pt x="2757" y="2229"/>
                          </a:lnTo>
                          <a:lnTo>
                            <a:pt x="2741" y="2227"/>
                          </a:lnTo>
                          <a:lnTo>
                            <a:pt x="2741" y="2227"/>
                          </a:lnTo>
                          <a:lnTo>
                            <a:pt x="2730" y="2228"/>
                          </a:lnTo>
                          <a:lnTo>
                            <a:pt x="2721" y="2229"/>
                          </a:lnTo>
                          <a:lnTo>
                            <a:pt x="2711" y="2233"/>
                          </a:lnTo>
                          <a:lnTo>
                            <a:pt x="2701" y="2237"/>
                          </a:lnTo>
                          <a:lnTo>
                            <a:pt x="2693" y="2241"/>
                          </a:lnTo>
                          <a:lnTo>
                            <a:pt x="2685" y="2246"/>
                          </a:lnTo>
                          <a:lnTo>
                            <a:pt x="2678" y="2254"/>
                          </a:lnTo>
                          <a:lnTo>
                            <a:pt x="2671" y="2261"/>
                          </a:lnTo>
                          <a:lnTo>
                            <a:pt x="2666" y="2269"/>
                          </a:lnTo>
                          <a:lnTo>
                            <a:pt x="2660" y="2279"/>
                          </a:lnTo>
                          <a:lnTo>
                            <a:pt x="2656" y="2289"/>
                          </a:lnTo>
                          <a:lnTo>
                            <a:pt x="2653" y="2301"/>
                          </a:lnTo>
                          <a:lnTo>
                            <a:pt x="2649" y="2312"/>
                          </a:lnTo>
                          <a:lnTo>
                            <a:pt x="2648" y="2325"/>
                          </a:lnTo>
                          <a:lnTo>
                            <a:pt x="2647" y="2339"/>
                          </a:lnTo>
                          <a:lnTo>
                            <a:pt x="2645" y="2353"/>
                          </a:lnTo>
                          <a:lnTo>
                            <a:pt x="2645" y="2353"/>
                          </a:lnTo>
                          <a:lnTo>
                            <a:pt x="2647" y="2368"/>
                          </a:lnTo>
                          <a:lnTo>
                            <a:pt x="2648" y="2381"/>
                          </a:lnTo>
                          <a:lnTo>
                            <a:pt x="2649" y="2395"/>
                          </a:lnTo>
                          <a:lnTo>
                            <a:pt x="2653" y="2408"/>
                          </a:lnTo>
                          <a:lnTo>
                            <a:pt x="2655" y="2419"/>
                          </a:lnTo>
                          <a:lnTo>
                            <a:pt x="2660" y="2430"/>
                          </a:lnTo>
                          <a:lnTo>
                            <a:pt x="2665" y="2440"/>
                          </a:lnTo>
                          <a:lnTo>
                            <a:pt x="2671" y="2448"/>
                          </a:lnTo>
                          <a:lnTo>
                            <a:pt x="2677" y="2457"/>
                          </a:lnTo>
                          <a:lnTo>
                            <a:pt x="2684" y="2463"/>
                          </a:lnTo>
                          <a:lnTo>
                            <a:pt x="2692" y="2469"/>
                          </a:lnTo>
                          <a:lnTo>
                            <a:pt x="2700" y="2474"/>
                          </a:lnTo>
                          <a:lnTo>
                            <a:pt x="2710" y="2479"/>
                          </a:lnTo>
                          <a:lnTo>
                            <a:pt x="2720" y="2481"/>
                          </a:lnTo>
                          <a:lnTo>
                            <a:pt x="2729" y="2482"/>
                          </a:lnTo>
                          <a:lnTo>
                            <a:pt x="2740" y="2483"/>
                          </a:lnTo>
                          <a:lnTo>
                            <a:pt x="2740" y="2483"/>
                          </a:lnTo>
                          <a:lnTo>
                            <a:pt x="2747" y="2482"/>
                          </a:lnTo>
                          <a:lnTo>
                            <a:pt x="2756" y="2481"/>
                          </a:lnTo>
                          <a:lnTo>
                            <a:pt x="2763" y="2480"/>
                          </a:lnTo>
                          <a:lnTo>
                            <a:pt x="2769" y="2477"/>
                          </a:lnTo>
                          <a:lnTo>
                            <a:pt x="2777" y="2474"/>
                          </a:lnTo>
                          <a:lnTo>
                            <a:pt x="2784" y="2470"/>
                          </a:lnTo>
                          <a:lnTo>
                            <a:pt x="2790" y="2465"/>
                          </a:lnTo>
                          <a:lnTo>
                            <a:pt x="2796" y="2459"/>
                          </a:lnTo>
                          <a:lnTo>
                            <a:pt x="2796" y="2477"/>
                          </a:lnTo>
                          <a:lnTo>
                            <a:pt x="2857" y="2477"/>
                          </a:lnTo>
                          <a:lnTo>
                            <a:pt x="2857" y="2131"/>
                          </a:lnTo>
                          <a:lnTo>
                            <a:pt x="2796" y="2161"/>
                          </a:lnTo>
                          <a:lnTo>
                            <a:pt x="2796" y="2250"/>
                          </a:lnTo>
                          <a:close/>
                          <a:moveTo>
                            <a:pt x="2754" y="2427"/>
                          </a:moveTo>
                          <a:lnTo>
                            <a:pt x="2754" y="2427"/>
                          </a:lnTo>
                          <a:lnTo>
                            <a:pt x="2745" y="2426"/>
                          </a:lnTo>
                          <a:lnTo>
                            <a:pt x="2738" y="2424"/>
                          </a:lnTo>
                          <a:lnTo>
                            <a:pt x="2729" y="2420"/>
                          </a:lnTo>
                          <a:lnTo>
                            <a:pt x="2722" y="2413"/>
                          </a:lnTo>
                          <a:lnTo>
                            <a:pt x="2716" y="2403"/>
                          </a:lnTo>
                          <a:lnTo>
                            <a:pt x="2711" y="2390"/>
                          </a:lnTo>
                          <a:lnTo>
                            <a:pt x="2709" y="2373"/>
                          </a:lnTo>
                          <a:lnTo>
                            <a:pt x="2707" y="2351"/>
                          </a:lnTo>
                          <a:lnTo>
                            <a:pt x="2707" y="2351"/>
                          </a:lnTo>
                          <a:lnTo>
                            <a:pt x="2709" y="2333"/>
                          </a:lnTo>
                          <a:lnTo>
                            <a:pt x="2711" y="2317"/>
                          </a:lnTo>
                          <a:lnTo>
                            <a:pt x="2716" y="2305"/>
                          </a:lnTo>
                          <a:lnTo>
                            <a:pt x="2722" y="2296"/>
                          </a:lnTo>
                          <a:lnTo>
                            <a:pt x="2729" y="2290"/>
                          </a:lnTo>
                          <a:lnTo>
                            <a:pt x="2737" y="2285"/>
                          </a:lnTo>
                          <a:lnTo>
                            <a:pt x="2745" y="2284"/>
                          </a:lnTo>
                          <a:lnTo>
                            <a:pt x="2752" y="2283"/>
                          </a:lnTo>
                          <a:lnTo>
                            <a:pt x="2752" y="2283"/>
                          </a:lnTo>
                          <a:lnTo>
                            <a:pt x="2761" y="2284"/>
                          </a:lnTo>
                          <a:lnTo>
                            <a:pt x="2768" y="2285"/>
                          </a:lnTo>
                          <a:lnTo>
                            <a:pt x="2774" y="2288"/>
                          </a:lnTo>
                          <a:lnTo>
                            <a:pt x="2780" y="2291"/>
                          </a:lnTo>
                          <a:lnTo>
                            <a:pt x="2785" y="2295"/>
                          </a:lnTo>
                          <a:lnTo>
                            <a:pt x="2790" y="2299"/>
                          </a:lnTo>
                          <a:lnTo>
                            <a:pt x="2796" y="2307"/>
                          </a:lnTo>
                          <a:lnTo>
                            <a:pt x="2796" y="2403"/>
                          </a:lnTo>
                          <a:lnTo>
                            <a:pt x="2796" y="2403"/>
                          </a:lnTo>
                          <a:lnTo>
                            <a:pt x="2789" y="2412"/>
                          </a:lnTo>
                          <a:lnTo>
                            <a:pt x="2780" y="2419"/>
                          </a:lnTo>
                          <a:lnTo>
                            <a:pt x="2774" y="2423"/>
                          </a:lnTo>
                          <a:lnTo>
                            <a:pt x="2768" y="2425"/>
                          </a:lnTo>
                          <a:lnTo>
                            <a:pt x="2761" y="2426"/>
                          </a:lnTo>
                          <a:lnTo>
                            <a:pt x="2754" y="2427"/>
                          </a:lnTo>
                          <a:lnTo>
                            <a:pt x="2754" y="2427"/>
                          </a:lnTo>
                          <a:close/>
                          <a:moveTo>
                            <a:pt x="740" y="2301"/>
                          </a:moveTo>
                          <a:lnTo>
                            <a:pt x="740" y="2301"/>
                          </a:lnTo>
                          <a:lnTo>
                            <a:pt x="732" y="2296"/>
                          </a:lnTo>
                          <a:lnTo>
                            <a:pt x="722" y="2291"/>
                          </a:lnTo>
                          <a:lnTo>
                            <a:pt x="711" y="2289"/>
                          </a:lnTo>
                          <a:lnTo>
                            <a:pt x="700" y="2288"/>
                          </a:lnTo>
                          <a:lnTo>
                            <a:pt x="700" y="2288"/>
                          </a:lnTo>
                          <a:lnTo>
                            <a:pt x="690" y="2289"/>
                          </a:lnTo>
                          <a:lnTo>
                            <a:pt x="680" y="2291"/>
                          </a:lnTo>
                          <a:lnTo>
                            <a:pt x="673" y="2296"/>
                          </a:lnTo>
                          <a:lnTo>
                            <a:pt x="667" y="2302"/>
                          </a:lnTo>
                          <a:lnTo>
                            <a:pt x="662" y="2310"/>
                          </a:lnTo>
                          <a:lnTo>
                            <a:pt x="660" y="2319"/>
                          </a:lnTo>
                          <a:lnTo>
                            <a:pt x="657" y="2331"/>
                          </a:lnTo>
                          <a:lnTo>
                            <a:pt x="656" y="2345"/>
                          </a:lnTo>
                          <a:lnTo>
                            <a:pt x="656" y="2477"/>
                          </a:lnTo>
                          <a:lnTo>
                            <a:pt x="597" y="2477"/>
                          </a:lnTo>
                          <a:lnTo>
                            <a:pt x="597" y="2233"/>
                          </a:lnTo>
                          <a:lnTo>
                            <a:pt x="656" y="2233"/>
                          </a:lnTo>
                          <a:lnTo>
                            <a:pt x="656" y="2254"/>
                          </a:lnTo>
                          <a:lnTo>
                            <a:pt x="656" y="2254"/>
                          </a:lnTo>
                          <a:lnTo>
                            <a:pt x="662" y="2248"/>
                          </a:lnTo>
                          <a:lnTo>
                            <a:pt x="668" y="2241"/>
                          </a:lnTo>
                          <a:lnTo>
                            <a:pt x="674" y="2238"/>
                          </a:lnTo>
                          <a:lnTo>
                            <a:pt x="682" y="2234"/>
                          </a:lnTo>
                          <a:lnTo>
                            <a:pt x="688" y="2231"/>
                          </a:lnTo>
                          <a:lnTo>
                            <a:pt x="695" y="2229"/>
                          </a:lnTo>
                          <a:lnTo>
                            <a:pt x="704" y="2228"/>
                          </a:lnTo>
                          <a:lnTo>
                            <a:pt x="711" y="2227"/>
                          </a:lnTo>
                          <a:lnTo>
                            <a:pt x="711" y="2227"/>
                          </a:lnTo>
                          <a:lnTo>
                            <a:pt x="723" y="2228"/>
                          </a:lnTo>
                          <a:lnTo>
                            <a:pt x="735" y="2232"/>
                          </a:lnTo>
                          <a:lnTo>
                            <a:pt x="747" y="2237"/>
                          </a:lnTo>
                          <a:lnTo>
                            <a:pt x="757" y="2243"/>
                          </a:lnTo>
                          <a:lnTo>
                            <a:pt x="740" y="2301"/>
                          </a:lnTo>
                          <a:close/>
                          <a:moveTo>
                            <a:pt x="265" y="2233"/>
                          </a:moveTo>
                          <a:lnTo>
                            <a:pt x="324" y="2233"/>
                          </a:lnTo>
                          <a:lnTo>
                            <a:pt x="255" y="2477"/>
                          </a:lnTo>
                          <a:lnTo>
                            <a:pt x="203" y="2477"/>
                          </a:lnTo>
                          <a:lnTo>
                            <a:pt x="176" y="2376"/>
                          </a:lnTo>
                          <a:lnTo>
                            <a:pt x="176" y="2376"/>
                          </a:lnTo>
                          <a:lnTo>
                            <a:pt x="163" y="2323"/>
                          </a:lnTo>
                          <a:lnTo>
                            <a:pt x="163" y="2323"/>
                          </a:lnTo>
                          <a:lnTo>
                            <a:pt x="157" y="2348"/>
                          </a:lnTo>
                          <a:lnTo>
                            <a:pt x="149" y="2378"/>
                          </a:lnTo>
                          <a:lnTo>
                            <a:pt x="122" y="2477"/>
                          </a:lnTo>
                          <a:lnTo>
                            <a:pt x="69" y="2477"/>
                          </a:lnTo>
                          <a:lnTo>
                            <a:pt x="69" y="2476"/>
                          </a:lnTo>
                          <a:lnTo>
                            <a:pt x="0" y="2233"/>
                          </a:lnTo>
                          <a:lnTo>
                            <a:pt x="63" y="2233"/>
                          </a:lnTo>
                          <a:lnTo>
                            <a:pt x="85" y="2324"/>
                          </a:lnTo>
                          <a:lnTo>
                            <a:pt x="85" y="2324"/>
                          </a:lnTo>
                          <a:lnTo>
                            <a:pt x="91" y="2353"/>
                          </a:lnTo>
                          <a:lnTo>
                            <a:pt x="97" y="2384"/>
                          </a:lnTo>
                          <a:lnTo>
                            <a:pt x="97" y="2384"/>
                          </a:lnTo>
                          <a:lnTo>
                            <a:pt x="105" y="2353"/>
                          </a:lnTo>
                          <a:lnTo>
                            <a:pt x="112" y="2323"/>
                          </a:lnTo>
                          <a:lnTo>
                            <a:pt x="137" y="2233"/>
                          </a:lnTo>
                          <a:lnTo>
                            <a:pt x="190" y="2233"/>
                          </a:lnTo>
                          <a:lnTo>
                            <a:pt x="215" y="2323"/>
                          </a:lnTo>
                          <a:lnTo>
                            <a:pt x="215" y="2323"/>
                          </a:lnTo>
                          <a:lnTo>
                            <a:pt x="222" y="2352"/>
                          </a:lnTo>
                          <a:lnTo>
                            <a:pt x="230" y="2385"/>
                          </a:lnTo>
                          <a:lnTo>
                            <a:pt x="230" y="2385"/>
                          </a:lnTo>
                          <a:lnTo>
                            <a:pt x="235" y="2357"/>
                          </a:lnTo>
                          <a:lnTo>
                            <a:pt x="242" y="2323"/>
                          </a:lnTo>
                          <a:lnTo>
                            <a:pt x="265" y="2233"/>
                          </a:lnTo>
                          <a:close/>
                          <a:moveTo>
                            <a:pt x="447" y="2227"/>
                          </a:moveTo>
                          <a:lnTo>
                            <a:pt x="447" y="2227"/>
                          </a:lnTo>
                          <a:lnTo>
                            <a:pt x="436" y="2228"/>
                          </a:lnTo>
                          <a:lnTo>
                            <a:pt x="424" y="2229"/>
                          </a:lnTo>
                          <a:lnTo>
                            <a:pt x="413" y="2233"/>
                          </a:lnTo>
                          <a:lnTo>
                            <a:pt x="403" y="2237"/>
                          </a:lnTo>
                          <a:lnTo>
                            <a:pt x="394" y="2241"/>
                          </a:lnTo>
                          <a:lnTo>
                            <a:pt x="384" y="2248"/>
                          </a:lnTo>
                          <a:lnTo>
                            <a:pt x="375" y="2255"/>
                          </a:lnTo>
                          <a:lnTo>
                            <a:pt x="368" y="2263"/>
                          </a:lnTo>
                          <a:lnTo>
                            <a:pt x="361" y="2272"/>
                          </a:lnTo>
                          <a:lnTo>
                            <a:pt x="355" y="2282"/>
                          </a:lnTo>
                          <a:lnTo>
                            <a:pt x="349" y="2293"/>
                          </a:lnTo>
                          <a:lnTo>
                            <a:pt x="345" y="2303"/>
                          </a:lnTo>
                          <a:lnTo>
                            <a:pt x="341" y="2316"/>
                          </a:lnTo>
                          <a:lnTo>
                            <a:pt x="339" y="2328"/>
                          </a:lnTo>
                          <a:lnTo>
                            <a:pt x="337" y="2341"/>
                          </a:lnTo>
                          <a:lnTo>
                            <a:pt x="337" y="2356"/>
                          </a:lnTo>
                          <a:lnTo>
                            <a:pt x="337" y="2356"/>
                          </a:lnTo>
                          <a:lnTo>
                            <a:pt x="337" y="2369"/>
                          </a:lnTo>
                          <a:lnTo>
                            <a:pt x="339" y="2382"/>
                          </a:lnTo>
                          <a:lnTo>
                            <a:pt x="341" y="2395"/>
                          </a:lnTo>
                          <a:lnTo>
                            <a:pt x="345" y="2407"/>
                          </a:lnTo>
                          <a:lnTo>
                            <a:pt x="349" y="2418"/>
                          </a:lnTo>
                          <a:lnTo>
                            <a:pt x="355" y="2429"/>
                          </a:lnTo>
                          <a:lnTo>
                            <a:pt x="361" y="2438"/>
                          </a:lnTo>
                          <a:lnTo>
                            <a:pt x="368" y="2447"/>
                          </a:lnTo>
                          <a:lnTo>
                            <a:pt x="375" y="2455"/>
                          </a:lnTo>
                          <a:lnTo>
                            <a:pt x="384" y="2463"/>
                          </a:lnTo>
                          <a:lnTo>
                            <a:pt x="394" y="2469"/>
                          </a:lnTo>
                          <a:lnTo>
                            <a:pt x="403" y="2474"/>
                          </a:lnTo>
                          <a:lnTo>
                            <a:pt x="413" y="2477"/>
                          </a:lnTo>
                          <a:lnTo>
                            <a:pt x="424" y="2481"/>
                          </a:lnTo>
                          <a:lnTo>
                            <a:pt x="436" y="2482"/>
                          </a:lnTo>
                          <a:lnTo>
                            <a:pt x="447" y="2483"/>
                          </a:lnTo>
                          <a:lnTo>
                            <a:pt x="447" y="2483"/>
                          </a:lnTo>
                          <a:lnTo>
                            <a:pt x="459" y="2482"/>
                          </a:lnTo>
                          <a:lnTo>
                            <a:pt x="471" y="2481"/>
                          </a:lnTo>
                          <a:lnTo>
                            <a:pt x="482" y="2477"/>
                          </a:lnTo>
                          <a:lnTo>
                            <a:pt x="492" y="2474"/>
                          </a:lnTo>
                          <a:lnTo>
                            <a:pt x="502" y="2469"/>
                          </a:lnTo>
                          <a:lnTo>
                            <a:pt x="512" y="2463"/>
                          </a:lnTo>
                          <a:lnTo>
                            <a:pt x="520" y="2455"/>
                          </a:lnTo>
                          <a:lnTo>
                            <a:pt x="527" y="2447"/>
                          </a:lnTo>
                          <a:lnTo>
                            <a:pt x="535" y="2438"/>
                          </a:lnTo>
                          <a:lnTo>
                            <a:pt x="541" y="2429"/>
                          </a:lnTo>
                          <a:lnTo>
                            <a:pt x="546" y="2418"/>
                          </a:lnTo>
                          <a:lnTo>
                            <a:pt x="550" y="2407"/>
                          </a:lnTo>
                          <a:lnTo>
                            <a:pt x="554" y="2395"/>
                          </a:lnTo>
                          <a:lnTo>
                            <a:pt x="557" y="2382"/>
                          </a:lnTo>
                          <a:lnTo>
                            <a:pt x="559" y="2369"/>
                          </a:lnTo>
                          <a:lnTo>
                            <a:pt x="559" y="2356"/>
                          </a:lnTo>
                          <a:lnTo>
                            <a:pt x="559" y="2356"/>
                          </a:lnTo>
                          <a:lnTo>
                            <a:pt x="559" y="2341"/>
                          </a:lnTo>
                          <a:lnTo>
                            <a:pt x="557" y="2328"/>
                          </a:lnTo>
                          <a:lnTo>
                            <a:pt x="554" y="2316"/>
                          </a:lnTo>
                          <a:lnTo>
                            <a:pt x="550" y="2303"/>
                          </a:lnTo>
                          <a:lnTo>
                            <a:pt x="546" y="2293"/>
                          </a:lnTo>
                          <a:lnTo>
                            <a:pt x="541" y="2282"/>
                          </a:lnTo>
                          <a:lnTo>
                            <a:pt x="535" y="2272"/>
                          </a:lnTo>
                          <a:lnTo>
                            <a:pt x="527" y="2263"/>
                          </a:lnTo>
                          <a:lnTo>
                            <a:pt x="520" y="2255"/>
                          </a:lnTo>
                          <a:lnTo>
                            <a:pt x="512" y="2248"/>
                          </a:lnTo>
                          <a:lnTo>
                            <a:pt x="502" y="2241"/>
                          </a:lnTo>
                          <a:lnTo>
                            <a:pt x="492" y="2237"/>
                          </a:lnTo>
                          <a:lnTo>
                            <a:pt x="482" y="2233"/>
                          </a:lnTo>
                          <a:lnTo>
                            <a:pt x="471" y="2229"/>
                          </a:lnTo>
                          <a:lnTo>
                            <a:pt x="459" y="2228"/>
                          </a:lnTo>
                          <a:lnTo>
                            <a:pt x="447" y="2227"/>
                          </a:lnTo>
                          <a:lnTo>
                            <a:pt x="447" y="2227"/>
                          </a:lnTo>
                          <a:close/>
                          <a:moveTo>
                            <a:pt x="447" y="2426"/>
                          </a:moveTo>
                          <a:lnTo>
                            <a:pt x="447" y="2426"/>
                          </a:lnTo>
                          <a:lnTo>
                            <a:pt x="436" y="2425"/>
                          </a:lnTo>
                          <a:lnTo>
                            <a:pt x="427" y="2421"/>
                          </a:lnTo>
                          <a:lnTo>
                            <a:pt x="419" y="2415"/>
                          </a:lnTo>
                          <a:lnTo>
                            <a:pt x="412" y="2407"/>
                          </a:lnTo>
                          <a:lnTo>
                            <a:pt x="406" y="2397"/>
                          </a:lnTo>
                          <a:lnTo>
                            <a:pt x="401" y="2385"/>
                          </a:lnTo>
                          <a:lnTo>
                            <a:pt x="399" y="2370"/>
                          </a:lnTo>
                          <a:lnTo>
                            <a:pt x="399" y="2356"/>
                          </a:lnTo>
                          <a:lnTo>
                            <a:pt x="399" y="2356"/>
                          </a:lnTo>
                          <a:lnTo>
                            <a:pt x="399" y="2340"/>
                          </a:lnTo>
                          <a:lnTo>
                            <a:pt x="401" y="2325"/>
                          </a:lnTo>
                          <a:lnTo>
                            <a:pt x="406" y="2314"/>
                          </a:lnTo>
                          <a:lnTo>
                            <a:pt x="412" y="2303"/>
                          </a:lnTo>
                          <a:lnTo>
                            <a:pt x="419" y="2295"/>
                          </a:lnTo>
                          <a:lnTo>
                            <a:pt x="427" y="2289"/>
                          </a:lnTo>
                          <a:lnTo>
                            <a:pt x="436" y="2285"/>
                          </a:lnTo>
                          <a:lnTo>
                            <a:pt x="447" y="2284"/>
                          </a:lnTo>
                          <a:lnTo>
                            <a:pt x="447" y="2284"/>
                          </a:lnTo>
                          <a:lnTo>
                            <a:pt x="458" y="2285"/>
                          </a:lnTo>
                          <a:lnTo>
                            <a:pt x="468" y="2289"/>
                          </a:lnTo>
                          <a:lnTo>
                            <a:pt x="476" y="2295"/>
                          </a:lnTo>
                          <a:lnTo>
                            <a:pt x="484" y="2303"/>
                          </a:lnTo>
                          <a:lnTo>
                            <a:pt x="490" y="2314"/>
                          </a:lnTo>
                          <a:lnTo>
                            <a:pt x="493" y="2325"/>
                          </a:lnTo>
                          <a:lnTo>
                            <a:pt x="496" y="2340"/>
                          </a:lnTo>
                          <a:lnTo>
                            <a:pt x="497" y="2356"/>
                          </a:lnTo>
                          <a:lnTo>
                            <a:pt x="497" y="2356"/>
                          </a:lnTo>
                          <a:lnTo>
                            <a:pt x="496" y="2370"/>
                          </a:lnTo>
                          <a:lnTo>
                            <a:pt x="493" y="2385"/>
                          </a:lnTo>
                          <a:lnTo>
                            <a:pt x="490" y="2397"/>
                          </a:lnTo>
                          <a:lnTo>
                            <a:pt x="484" y="2407"/>
                          </a:lnTo>
                          <a:lnTo>
                            <a:pt x="476" y="2415"/>
                          </a:lnTo>
                          <a:lnTo>
                            <a:pt x="468" y="2421"/>
                          </a:lnTo>
                          <a:lnTo>
                            <a:pt x="458" y="2425"/>
                          </a:lnTo>
                          <a:lnTo>
                            <a:pt x="447" y="2426"/>
                          </a:lnTo>
                          <a:lnTo>
                            <a:pt x="447" y="2426"/>
                          </a:lnTo>
                          <a:close/>
                          <a:moveTo>
                            <a:pt x="2498" y="2301"/>
                          </a:moveTo>
                          <a:lnTo>
                            <a:pt x="2498" y="2301"/>
                          </a:lnTo>
                          <a:lnTo>
                            <a:pt x="2489" y="2296"/>
                          </a:lnTo>
                          <a:lnTo>
                            <a:pt x="2479" y="2291"/>
                          </a:lnTo>
                          <a:lnTo>
                            <a:pt x="2468" y="2289"/>
                          </a:lnTo>
                          <a:lnTo>
                            <a:pt x="2458" y="2288"/>
                          </a:lnTo>
                          <a:lnTo>
                            <a:pt x="2458" y="2288"/>
                          </a:lnTo>
                          <a:lnTo>
                            <a:pt x="2447" y="2289"/>
                          </a:lnTo>
                          <a:lnTo>
                            <a:pt x="2439" y="2291"/>
                          </a:lnTo>
                          <a:lnTo>
                            <a:pt x="2432" y="2296"/>
                          </a:lnTo>
                          <a:lnTo>
                            <a:pt x="2425" y="2302"/>
                          </a:lnTo>
                          <a:lnTo>
                            <a:pt x="2421" y="2310"/>
                          </a:lnTo>
                          <a:lnTo>
                            <a:pt x="2417" y="2319"/>
                          </a:lnTo>
                          <a:lnTo>
                            <a:pt x="2415" y="2331"/>
                          </a:lnTo>
                          <a:lnTo>
                            <a:pt x="2415" y="2345"/>
                          </a:lnTo>
                          <a:lnTo>
                            <a:pt x="2415" y="2477"/>
                          </a:lnTo>
                          <a:lnTo>
                            <a:pt x="2354" y="2477"/>
                          </a:lnTo>
                          <a:lnTo>
                            <a:pt x="2354" y="2233"/>
                          </a:lnTo>
                          <a:lnTo>
                            <a:pt x="2415" y="2233"/>
                          </a:lnTo>
                          <a:lnTo>
                            <a:pt x="2415" y="2254"/>
                          </a:lnTo>
                          <a:lnTo>
                            <a:pt x="2415" y="2254"/>
                          </a:lnTo>
                          <a:lnTo>
                            <a:pt x="2419" y="2248"/>
                          </a:lnTo>
                          <a:lnTo>
                            <a:pt x="2425" y="2241"/>
                          </a:lnTo>
                          <a:lnTo>
                            <a:pt x="2432" y="2238"/>
                          </a:lnTo>
                          <a:lnTo>
                            <a:pt x="2439" y="2234"/>
                          </a:lnTo>
                          <a:lnTo>
                            <a:pt x="2446" y="2231"/>
                          </a:lnTo>
                          <a:lnTo>
                            <a:pt x="2453" y="2229"/>
                          </a:lnTo>
                          <a:lnTo>
                            <a:pt x="2461" y="2228"/>
                          </a:lnTo>
                          <a:lnTo>
                            <a:pt x="2468" y="2227"/>
                          </a:lnTo>
                          <a:lnTo>
                            <a:pt x="2468" y="2227"/>
                          </a:lnTo>
                          <a:lnTo>
                            <a:pt x="2480" y="2228"/>
                          </a:lnTo>
                          <a:lnTo>
                            <a:pt x="2492" y="2232"/>
                          </a:lnTo>
                          <a:lnTo>
                            <a:pt x="2504" y="2237"/>
                          </a:lnTo>
                          <a:lnTo>
                            <a:pt x="2514" y="2243"/>
                          </a:lnTo>
                          <a:lnTo>
                            <a:pt x="2498" y="2301"/>
                          </a:lnTo>
                          <a:close/>
                          <a:moveTo>
                            <a:pt x="2022" y="2233"/>
                          </a:moveTo>
                          <a:lnTo>
                            <a:pt x="2082" y="2233"/>
                          </a:lnTo>
                          <a:lnTo>
                            <a:pt x="2012" y="2477"/>
                          </a:lnTo>
                          <a:lnTo>
                            <a:pt x="1960" y="2477"/>
                          </a:lnTo>
                          <a:lnTo>
                            <a:pt x="1933" y="2376"/>
                          </a:lnTo>
                          <a:lnTo>
                            <a:pt x="1933" y="2376"/>
                          </a:lnTo>
                          <a:lnTo>
                            <a:pt x="1920" y="2323"/>
                          </a:lnTo>
                          <a:lnTo>
                            <a:pt x="1920" y="2323"/>
                          </a:lnTo>
                          <a:lnTo>
                            <a:pt x="1914" y="2348"/>
                          </a:lnTo>
                          <a:lnTo>
                            <a:pt x="1907" y="2378"/>
                          </a:lnTo>
                          <a:lnTo>
                            <a:pt x="1880" y="2477"/>
                          </a:lnTo>
                          <a:lnTo>
                            <a:pt x="1828" y="2477"/>
                          </a:lnTo>
                          <a:lnTo>
                            <a:pt x="1826" y="2476"/>
                          </a:lnTo>
                          <a:lnTo>
                            <a:pt x="1758" y="2233"/>
                          </a:lnTo>
                          <a:lnTo>
                            <a:pt x="1820" y="2233"/>
                          </a:lnTo>
                          <a:lnTo>
                            <a:pt x="1843" y="2324"/>
                          </a:lnTo>
                          <a:lnTo>
                            <a:pt x="1843" y="2324"/>
                          </a:lnTo>
                          <a:lnTo>
                            <a:pt x="1849" y="2353"/>
                          </a:lnTo>
                          <a:lnTo>
                            <a:pt x="1856" y="2384"/>
                          </a:lnTo>
                          <a:lnTo>
                            <a:pt x="1856" y="2384"/>
                          </a:lnTo>
                          <a:lnTo>
                            <a:pt x="1862" y="2353"/>
                          </a:lnTo>
                          <a:lnTo>
                            <a:pt x="1870" y="2323"/>
                          </a:lnTo>
                          <a:lnTo>
                            <a:pt x="1896" y="2233"/>
                          </a:lnTo>
                          <a:lnTo>
                            <a:pt x="1947" y="2233"/>
                          </a:lnTo>
                          <a:lnTo>
                            <a:pt x="1972" y="2323"/>
                          </a:lnTo>
                          <a:lnTo>
                            <a:pt x="1972" y="2323"/>
                          </a:lnTo>
                          <a:lnTo>
                            <a:pt x="1979" y="2352"/>
                          </a:lnTo>
                          <a:lnTo>
                            <a:pt x="1987" y="2385"/>
                          </a:lnTo>
                          <a:lnTo>
                            <a:pt x="1987" y="2385"/>
                          </a:lnTo>
                          <a:lnTo>
                            <a:pt x="1993" y="2357"/>
                          </a:lnTo>
                          <a:lnTo>
                            <a:pt x="2000" y="2323"/>
                          </a:lnTo>
                          <a:lnTo>
                            <a:pt x="2022" y="2233"/>
                          </a:lnTo>
                          <a:close/>
                          <a:moveTo>
                            <a:pt x="2204" y="2227"/>
                          </a:moveTo>
                          <a:lnTo>
                            <a:pt x="2204" y="2227"/>
                          </a:lnTo>
                          <a:lnTo>
                            <a:pt x="2193" y="2228"/>
                          </a:lnTo>
                          <a:lnTo>
                            <a:pt x="2181" y="2229"/>
                          </a:lnTo>
                          <a:lnTo>
                            <a:pt x="2170" y="2233"/>
                          </a:lnTo>
                          <a:lnTo>
                            <a:pt x="2161" y="2237"/>
                          </a:lnTo>
                          <a:lnTo>
                            <a:pt x="2151" y="2241"/>
                          </a:lnTo>
                          <a:lnTo>
                            <a:pt x="2141" y="2249"/>
                          </a:lnTo>
                          <a:lnTo>
                            <a:pt x="2133" y="2255"/>
                          </a:lnTo>
                          <a:lnTo>
                            <a:pt x="2125" y="2263"/>
                          </a:lnTo>
                          <a:lnTo>
                            <a:pt x="2118" y="2272"/>
                          </a:lnTo>
                          <a:lnTo>
                            <a:pt x="2112" y="2282"/>
                          </a:lnTo>
                          <a:lnTo>
                            <a:pt x="2106" y="2293"/>
                          </a:lnTo>
                          <a:lnTo>
                            <a:pt x="2102" y="2303"/>
                          </a:lnTo>
                          <a:lnTo>
                            <a:pt x="2099" y="2316"/>
                          </a:lnTo>
                          <a:lnTo>
                            <a:pt x="2095" y="2329"/>
                          </a:lnTo>
                          <a:lnTo>
                            <a:pt x="2094" y="2341"/>
                          </a:lnTo>
                          <a:lnTo>
                            <a:pt x="2094" y="2356"/>
                          </a:lnTo>
                          <a:lnTo>
                            <a:pt x="2094" y="2356"/>
                          </a:lnTo>
                          <a:lnTo>
                            <a:pt x="2094" y="2369"/>
                          </a:lnTo>
                          <a:lnTo>
                            <a:pt x="2095" y="2382"/>
                          </a:lnTo>
                          <a:lnTo>
                            <a:pt x="2099" y="2395"/>
                          </a:lnTo>
                          <a:lnTo>
                            <a:pt x="2102" y="2407"/>
                          </a:lnTo>
                          <a:lnTo>
                            <a:pt x="2106" y="2418"/>
                          </a:lnTo>
                          <a:lnTo>
                            <a:pt x="2112" y="2429"/>
                          </a:lnTo>
                          <a:lnTo>
                            <a:pt x="2118" y="2438"/>
                          </a:lnTo>
                          <a:lnTo>
                            <a:pt x="2125" y="2447"/>
                          </a:lnTo>
                          <a:lnTo>
                            <a:pt x="2133" y="2455"/>
                          </a:lnTo>
                          <a:lnTo>
                            <a:pt x="2141" y="2463"/>
                          </a:lnTo>
                          <a:lnTo>
                            <a:pt x="2151" y="2469"/>
                          </a:lnTo>
                          <a:lnTo>
                            <a:pt x="2161" y="2474"/>
                          </a:lnTo>
                          <a:lnTo>
                            <a:pt x="2170" y="2477"/>
                          </a:lnTo>
                          <a:lnTo>
                            <a:pt x="2181" y="2481"/>
                          </a:lnTo>
                          <a:lnTo>
                            <a:pt x="2193" y="2482"/>
                          </a:lnTo>
                          <a:lnTo>
                            <a:pt x="2204" y="2483"/>
                          </a:lnTo>
                          <a:lnTo>
                            <a:pt x="2204" y="2483"/>
                          </a:lnTo>
                          <a:lnTo>
                            <a:pt x="2216" y="2482"/>
                          </a:lnTo>
                          <a:lnTo>
                            <a:pt x="2229" y="2481"/>
                          </a:lnTo>
                          <a:lnTo>
                            <a:pt x="2240" y="2477"/>
                          </a:lnTo>
                          <a:lnTo>
                            <a:pt x="2249" y="2474"/>
                          </a:lnTo>
                          <a:lnTo>
                            <a:pt x="2259" y="2469"/>
                          </a:lnTo>
                          <a:lnTo>
                            <a:pt x="2269" y="2463"/>
                          </a:lnTo>
                          <a:lnTo>
                            <a:pt x="2277" y="2455"/>
                          </a:lnTo>
                          <a:lnTo>
                            <a:pt x="2284" y="2447"/>
                          </a:lnTo>
                          <a:lnTo>
                            <a:pt x="2292" y="2438"/>
                          </a:lnTo>
                          <a:lnTo>
                            <a:pt x="2298" y="2429"/>
                          </a:lnTo>
                          <a:lnTo>
                            <a:pt x="2303" y="2418"/>
                          </a:lnTo>
                          <a:lnTo>
                            <a:pt x="2308" y="2407"/>
                          </a:lnTo>
                          <a:lnTo>
                            <a:pt x="2311" y="2395"/>
                          </a:lnTo>
                          <a:lnTo>
                            <a:pt x="2314" y="2382"/>
                          </a:lnTo>
                          <a:lnTo>
                            <a:pt x="2316" y="2369"/>
                          </a:lnTo>
                          <a:lnTo>
                            <a:pt x="2316" y="2356"/>
                          </a:lnTo>
                          <a:lnTo>
                            <a:pt x="2316" y="2356"/>
                          </a:lnTo>
                          <a:lnTo>
                            <a:pt x="2316" y="2341"/>
                          </a:lnTo>
                          <a:lnTo>
                            <a:pt x="2314" y="2329"/>
                          </a:lnTo>
                          <a:lnTo>
                            <a:pt x="2311" y="2316"/>
                          </a:lnTo>
                          <a:lnTo>
                            <a:pt x="2308" y="2303"/>
                          </a:lnTo>
                          <a:lnTo>
                            <a:pt x="2303" y="2293"/>
                          </a:lnTo>
                          <a:lnTo>
                            <a:pt x="2298" y="2282"/>
                          </a:lnTo>
                          <a:lnTo>
                            <a:pt x="2292" y="2272"/>
                          </a:lnTo>
                          <a:lnTo>
                            <a:pt x="2284" y="2263"/>
                          </a:lnTo>
                          <a:lnTo>
                            <a:pt x="2277" y="2255"/>
                          </a:lnTo>
                          <a:lnTo>
                            <a:pt x="2269" y="2249"/>
                          </a:lnTo>
                          <a:lnTo>
                            <a:pt x="2259" y="2241"/>
                          </a:lnTo>
                          <a:lnTo>
                            <a:pt x="2249" y="2237"/>
                          </a:lnTo>
                          <a:lnTo>
                            <a:pt x="2240" y="2233"/>
                          </a:lnTo>
                          <a:lnTo>
                            <a:pt x="2229" y="2229"/>
                          </a:lnTo>
                          <a:lnTo>
                            <a:pt x="2216" y="2228"/>
                          </a:lnTo>
                          <a:lnTo>
                            <a:pt x="2204" y="2227"/>
                          </a:lnTo>
                          <a:lnTo>
                            <a:pt x="2204" y="2227"/>
                          </a:lnTo>
                          <a:close/>
                          <a:moveTo>
                            <a:pt x="2204" y="2426"/>
                          </a:moveTo>
                          <a:lnTo>
                            <a:pt x="2204" y="2426"/>
                          </a:lnTo>
                          <a:lnTo>
                            <a:pt x="2193" y="2425"/>
                          </a:lnTo>
                          <a:lnTo>
                            <a:pt x="2185" y="2421"/>
                          </a:lnTo>
                          <a:lnTo>
                            <a:pt x="2176" y="2415"/>
                          </a:lnTo>
                          <a:lnTo>
                            <a:pt x="2169" y="2407"/>
                          </a:lnTo>
                          <a:lnTo>
                            <a:pt x="2163" y="2397"/>
                          </a:lnTo>
                          <a:lnTo>
                            <a:pt x="2158" y="2385"/>
                          </a:lnTo>
                          <a:lnTo>
                            <a:pt x="2156" y="2370"/>
                          </a:lnTo>
                          <a:lnTo>
                            <a:pt x="2156" y="2356"/>
                          </a:lnTo>
                          <a:lnTo>
                            <a:pt x="2156" y="2356"/>
                          </a:lnTo>
                          <a:lnTo>
                            <a:pt x="2156" y="2340"/>
                          </a:lnTo>
                          <a:lnTo>
                            <a:pt x="2158" y="2327"/>
                          </a:lnTo>
                          <a:lnTo>
                            <a:pt x="2163" y="2314"/>
                          </a:lnTo>
                          <a:lnTo>
                            <a:pt x="2169" y="2303"/>
                          </a:lnTo>
                          <a:lnTo>
                            <a:pt x="2176" y="2295"/>
                          </a:lnTo>
                          <a:lnTo>
                            <a:pt x="2185" y="2289"/>
                          </a:lnTo>
                          <a:lnTo>
                            <a:pt x="2193" y="2285"/>
                          </a:lnTo>
                          <a:lnTo>
                            <a:pt x="2204" y="2284"/>
                          </a:lnTo>
                          <a:lnTo>
                            <a:pt x="2204" y="2284"/>
                          </a:lnTo>
                          <a:lnTo>
                            <a:pt x="2215" y="2285"/>
                          </a:lnTo>
                          <a:lnTo>
                            <a:pt x="2225" y="2289"/>
                          </a:lnTo>
                          <a:lnTo>
                            <a:pt x="2233" y="2295"/>
                          </a:lnTo>
                          <a:lnTo>
                            <a:pt x="2241" y="2303"/>
                          </a:lnTo>
                          <a:lnTo>
                            <a:pt x="2247" y="2314"/>
                          </a:lnTo>
                          <a:lnTo>
                            <a:pt x="2250" y="2327"/>
                          </a:lnTo>
                          <a:lnTo>
                            <a:pt x="2253" y="2340"/>
                          </a:lnTo>
                          <a:lnTo>
                            <a:pt x="2254" y="2356"/>
                          </a:lnTo>
                          <a:lnTo>
                            <a:pt x="2254" y="2356"/>
                          </a:lnTo>
                          <a:lnTo>
                            <a:pt x="2253" y="2370"/>
                          </a:lnTo>
                          <a:lnTo>
                            <a:pt x="2250" y="2385"/>
                          </a:lnTo>
                          <a:lnTo>
                            <a:pt x="2247" y="2397"/>
                          </a:lnTo>
                          <a:lnTo>
                            <a:pt x="2241" y="2407"/>
                          </a:lnTo>
                          <a:lnTo>
                            <a:pt x="2233" y="2415"/>
                          </a:lnTo>
                          <a:lnTo>
                            <a:pt x="2225" y="2421"/>
                          </a:lnTo>
                          <a:lnTo>
                            <a:pt x="2215" y="2425"/>
                          </a:lnTo>
                          <a:lnTo>
                            <a:pt x="2204" y="2426"/>
                          </a:lnTo>
                          <a:lnTo>
                            <a:pt x="2204" y="2426"/>
                          </a:lnTo>
                          <a:close/>
                          <a:moveTo>
                            <a:pt x="921" y="2313"/>
                          </a:moveTo>
                          <a:lnTo>
                            <a:pt x="995" y="2477"/>
                          </a:lnTo>
                          <a:lnTo>
                            <a:pt x="928" y="2477"/>
                          </a:lnTo>
                          <a:lnTo>
                            <a:pt x="877" y="2364"/>
                          </a:lnTo>
                          <a:lnTo>
                            <a:pt x="845" y="2404"/>
                          </a:lnTo>
                          <a:lnTo>
                            <a:pt x="845" y="2477"/>
                          </a:lnTo>
                          <a:lnTo>
                            <a:pt x="785" y="2477"/>
                          </a:lnTo>
                          <a:lnTo>
                            <a:pt x="785" y="2161"/>
                          </a:lnTo>
                          <a:lnTo>
                            <a:pt x="845" y="2131"/>
                          </a:lnTo>
                          <a:lnTo>
                            <a:pt x="845" y="2327"/>
                          </a:lnTo>
                          <a:lnTo>
                            <a:pt x="845" y="2327"/>
                          </a:lnTo>
                          <a:lnTo>
                            <a:pt x="868" y="2295"/>
                          </a:lnTo>
                          <a:lnTo>
                            <a:pt x="916" y="2233"/>
                          </a:lnTo>
                          <a:lnTo>
                            <a:pt x="987" y="2233"/>
                          </a:lnTo>
                          <a:lnTo>
                            <a:pt x="921" y="2313"/>
                          </a:lnTo>
                          <a:close/>
                          <a:moveTo>
                            <a:pt x="1208" y="2477"/>
                          </a:moveTo>
                          <a:lnTo>
                            <a:pt x="1147" y="2477"/>
                          </a:lnTo>
                          <a:lnTo>
                            <a:pt x="1147" y="2233"/>
                          </a:lnTo>
                          <a:lnTo>
                            <a:pt x="1208" y="2233"/>
                          </a:lnTo>
                          <a:lnTo>
                            <a:pt x="1208" y="2254"/>
                          </a:lnTo>
                          <a:lnTo>
                            <a:pt x="1208" y="2254"/>
                          </a:lnTo>
                          <a:lnTo>
                            <a:pt x="1214" y="2248"/>
                          </a:lnTo>
                          <a:lnTo>
                            <a:pt x="1220" y="2243"/>
                          </a:lnTo>
                          <a:lnTo>
                            <a:pt x="1227" y="2238"/>
                          </a:lnTo>
                          <a:lnTo>
                            <a:pt x="1235" y="2234"/>
                          </a:lnTo>
                          <a:lnTo>
                            <a:pt x="1243" y="2232"/>
                          </a:lnTo>
                          <a:lnTo>
                            <a:pt x="1252" y="2229"/>
                          </a:lnTo>
                          <a:lnTo>
                            <a:pt x="1260" y="2228"/>
                          </a:lnTo>
                          <a:lnTo>
                            <a:pt x="1270" y="2227"/>
                          </a:lnTo>
                          <a:lnTo>
                            <a:pt x="1270" y="2227"/>
                          </a:lnTo>
                          <a:lnTo>
                            <a:pt x="1281" y="2228"/>
                          </a:lnTo>
                          <a:lnTo>
                            <a:pt x="1290" y="2229"/>
                          </a:lnTo>
                          <a:lnTo>
                            <a:pt x="1299" y="2232"/>
                          </a:lnTo>
                          <a:lnTo>
                            <a:pt x="1309" y="2234"/>
                          </a:lnTo>
                          <a:lnTo>
                            <a:pt x="1316" y="2239"/>
                          </a:lnTo>
                          <a:lnTo>
                            <a:pt x="1323" y="2244"/>
                          </a:lnTo>
                          <a:lnTo>
                            <a:pt x="1331" y="2249"/>
                          </a:lnTo>
                          <a:lnTo>
                            <a:pt x="1337" y="2256"/>
                          </a:lnTo>
                          <a:lnTo>
                            <a:pt x="1342" y="2263"/>
                          </a:lnTo>
                          <a:lnTo>
                            <a:pt x="1346" y="2272"/>
                          </a:lnTo>
                          <a:lnTo>
                            <a:pt x="1350" y="2280"/>
                          </a:lnTo>
                          <a:lnTo>
                            <a:pt x="1354" y="2291"/>
                          </a:lnTo>
                          <a:lnTo>
                            <a:pt x="1356" y="2302"/>
                          </a:lnTo>
                          <a:lnTo>
                            <a:pt x="1357" y="2313"/>
                          </a:lnTo>
                          <a:lnTo>
                            <a:pt x="1359" y="2325"/>
                          </a:lnTo>
                          <a:lnTo>
                            <a:pt x="1360" y="2339"/>
                          </a:lnTo>
                          <a:lnTo>
                            <a:pt x="1360" y="2477"/>
                          </a:lnTo>
                          <a:lnTo>
                            <a:pt x="1299" y="2477"/>
                          </a:lnTo>
                          <a:lnTo>
                            <a:pt x="1299" y="2342"/>
                          </a:lnTo>
                          <a:lnTo>
                            <a:pt x="1299" y="2342"/>
                          </a:lnTo>
                          <a:lnTo>
                            <a:pt x="1298" y="2329"/>
                          </a:lnTo>
                          <a:lnTo>
                            <a:pt x="1297" y="2316"/>
                          </a:lnTo>
                          <a:lnTo>
                            <a:pt x="1293" y="2306"/>
                          </a:lnTo>
                          <a:lnTo>
                            <a:pt x="1288" y="2297"/>
                          </a:lnTo>
                          <a:lnTo>
                            <a:pt x="1282" y="2291"/>
                          </a:lnTo>
                          <a:lnTo>
                            <a:pt x="1275" y="2286"/>
                          </a:lnTo>
                          <a:lnTo>
                            <a:pt x="1265" y="2284"/>
                          </a:lnTo>
                          <a:lnTo>
                            <a:pt x="1254" y="2283"/>
                          </a:lnTo>
                          <a:lnTo>
                            <a:pt x="1254" y="2283"/>
                          </a:lnTo>
                          <a:lnTo>
                            <a:pt x="1244" y="2284"/>
                          </a:lnTo>
                          <a:lnTo>
                            <a:pt x="1235" y="2286"/>
                          </a:lnTo>
                          <a:lnTo>
                            <a:pt x="1226" y="2291"/>
                          </a:lnTo>
                          <a:lnTo>
                            <a:pt x="1220" y="2299"/>
                          </a:lnTo>
                          <a:lnTo>
                            <a:pt x="1215" y="2306"/>
                          </a:lnTo>
                          <a:lnTo>
                            <a:pt x="1212" y="2317"/>
                          </a:lnTo>
                          <a:lnTo>
                            <a:pt x="1209" y="2329"/>
                          </a:lnTo>
                          <a:lnTo>
                            <a:pt x="1208" y="2342"/>
                          </a:lnTo>
                          <a:lnTo>
                            <a:pt x="1208" y="2477"/>
                          </a:lnTo>
                          <a:close/>
                          <a:moveTo>
                            <a:pt x="1551" y="2250"/>
                          </a:moveTo>
                          <a:lnTo>
                            <a:pt x="1551" y="2250"/>
                          </a:lnTo>
                          <a:lnTo>
                            <a:pt x="1544" y="2245"/>
                          </a:lnTo>
                          <a:lnTo>
                            <a:pt x="1538" y="2240"/>
                          </a:lnTo>
                          <a:lnTo>
                            <a:pt x="1532" y="2237"/>
                          </a:lnTo>
                          <a:lnTo>
                            <a:pt x="1525" y="2233"/>
                          </a:lnTo>
                          <a:lnTo>
                            <a:pt x="1518" y="2231"/>
                          </a:lnTo>
                          <a:lnTo>
                            <a:pt x="1510" y="2229"/>
                          </a:lnTo>
                          <a:lnTo>
                            <a:pt x="1503" y="2228"/>
                          </a:lnTo>
                          <a:lnTo>
                            <a:pt x="1496" y="2227"/>
                          </a:lnTo>
                          <a:lnTo>
                            <a:pt x="1496" y="2227"/>
                          </a:lnTo>
                          <a:lnTo>
                            <a:pt x="1485" y="2228"/>
                          </a:lnTo>
                          <a:lnTo>
                            <a:pt x="1475" y="2229"/>
                          </a:lnTo>
                          <a:lnTo>
                            <a:pt x="1465" y="2232"/>
                          </a:lnTo>
                          <a:lnTo>
                            <a:pt x="1456" y="2237"/>
                          </a:lnTo>
                          <a:lnTo>
                            <a:pt x="1447" y="2240"/>
                          </a:lnTo>
                          <a:lnTo>
                            <a:pt x="1440" y="2246"/>
                          </a:lnTo>
                          <a:lnTo>
                            <a:pt x="1433" y="2254"/>
                          </a:lnTo>
                          <a:lnTo>
                            <a:pt x="1425" y="2261"/>
                          </a:lnTo>
                          <a:lnTo>
                            <a:pt x="1419" y="2269"/>
                          </a:lnTo>
                          <a:lnTo>
                            <a:pt x="1414" y="2279"/>
                          </a:lnTo>
                          <a:lnTo>
                            <a:pt x="1410" y="2289"/>
                          </a:lnTo>
                          <a:lnTo>
                            <a:pt x="1406" y="2301"/>
                          </a:lnTo>
                          <a:lnTo>
                            <a:pt x="1404" y="2312"/>
                          </a:lnTo>
                          <a:lnTo>
                            <a:pt x="1401" y="2325"/>
                          </a:lnTo>
                          <a:lnTo>
                            <a:pt x="1400" y="2339"/>
                          </a:lnTo>
                          <a:lnTo>
                            <a:pt x="1400" y="2352"/>
                          </a:lnTo>
                          <a:lnTo>
                            <a:pt x="1400" y="2352"/>
                          </a:lnTo>
                          <a:lnTo>
                            <a:pt x="1400" y="2368"/>
                          </a:lnTo>
                          <a:lnTo>
                            <a:pt x="1401" y="2381"/>
                          </a:lnTo>
                          <a:lnTo>
                            <a:pt x="1404" y="2395"/>
                          </a:lnTo>
                          <a:lnTo>
                            <a:pt x="1406" y="2408"/>
                          </a:lnTo>
                          <a:lnTo>
                            <a:pt x="1410" y="2419"/>
                          </a:lnTo>
                          <a:lnTo>
                            <a:pt x="1414" y="2430"/>
                          </a:lnTo>
                          <a:lnTo>
                            <a:pt x="1419" y="2440"/>
                          </a:lnTo>
                          <a:lnTo>
                            <a:pt x="1425" y="2448"/>
                          </a:lnTo>
                          <a:lnTo>
                            <a:pt x="1431" y="2457"/>
                          </a:lnTo>
                          <a:lnTo>
                            <a:pt x="1439" y="2463"/>
                          </a:lnTo>
                          <a:lnTo>
                            <a:pt x="1446" y="2469"/>
                          </a:lnTo>
                          <a:lnTo>
                            <a:pt x="1455" y="2474"/>
                          </a:lnTo>
                          <a:lnTo>
                            <a:pt x="1464" y="2477"/>
                          </a:lnTo>
                          <a:lnTo>
                            <a:pt x="1474" y="2481"/>
                          </a:lnTo>
                          <a:lnTo>
                            <a:pt x="1484" y="2482"/>
                          </a:lnTo>
                          <a:lnTo>
                            <a:pt x="1495" y="2483"/>
                          </a:lnTo>
                          <a:lnTo>
                            <a:pt x="1495" y="2483"/>
                          </a:lnTo>
                          <a:lnTo>
                            <a:pt x="1502" y="2482"/>
                          </a:lnTo>
                          <a:lnTo>
                            <a:pt x="1510" y="2481"/>
                          </a:lnTo>
                          <a:lnTo>
                            <a:pt x="1518" y="2480"/>
                          </a:lnTo>
                          <a:lnTo>
                            <a:pt x="1525" y="2477"/>
                          </a:lnTo>
                          <a:lnTo>
                            <a:pt x="1531" y="2474"/>
                          </a:lnTo>
                          <a:lnTo>
                            <a:pt x="1538" y="2470"/>
                          </a:lnTo>
                          <a:lnTo>
                            <a:pt x="1544" y="2465"/>
                          </a:lnTo>
                          <a:lnTo>
                            <a:pt x="1551" y="2459"/>
                          </a:lnTo>
                          <a:lnTo>
                            <a:pt x="1551" y="2465"/>
                          </a:lnTo>
                          <a:lnTo>
                            <a:pt x="1551" y="2465"/>
                          </a:lnTo>
                          <a:lnTo>
                            <a:pt x="1551" y="2475"/>
                          </a:lnTo>
                          <a:lnTo>
                            <a:pt x="1549" y="2486"/>
                          </a:lnTo>
                          <a:lnTo>
                            <a:pt x="1546" y="2497"/>
                          </a:lnTo>
                          <a:lnTo>
                            <a:pt x="1543" y="2502"/>
                          </a:lnTo>
                          <a:lnTo>
                            <a:pt x="1541" y="2506"/>
                          </a:lnTo>
                          <a:lnTo>
                            <a:pt x="1536" y="2511"/>
                          </a:lnTo>
                          <a:lnTo>
                            <a:pt x="1531" y="2516"/>
                          </a:lnTo>
                          <a:lnTo>
                            <a:pt x="1525" y="2520"/>
                          </a:lnTo>
                          <a:lnTo>
                            <a:pt x="1518" y="2524"/>
                          </a:lnTo>
                          <a:lnTo>
                            <a:pt x="1508" y="2526"/>
                          </a:lnTo>
                          <a:lnTo>
                            <a:pt x="1498" y="2528"/>
                          </a:lnTo>
                          <a:lnTo>
                            <a:pt x="1486" y="2530"/>
                          </a:lnTo>
                          <a:lnTo>
                            <a:pt x="1472" y="2530"/>
                          </a:lnTo>
                          <a:lnTo>
                            <a:pt x="1469" y="2530"/>
                          </a:lnTo>
                          <a:lnTo>
                            <a:pt x="1491" y="2577"/>
                          </a:lnTo>
                          <a:lnTo>
                            <a:pt x="1492" y="2577"/>
                          </a:lnTo>
                          <a:lnTo>
                            <a:pt x="1492" y="2577"/>
                          </a:lnTo>
                          <a:lnTo>
                            <a:pt x="1507" y="2577"/>
                          </a:lnTo>
                          <a:lnTo>
                            <a:pt x="1520" y="2576"/>
                          </a:lnTo>
                          <a:lnTo>
                            <a:pt x="1532" y="2572"/>
                          </a:lnTo>
                          <a:lnTo>
                            <a:pt x="1544" y="2570"/>
                          </a:lnTo>
                          <a:lnTo>
                            <a:pt x="1555" y="2565"/>
                          </a:lnTo>
                          <a:lnTo>
                            <a:pt x="1565" y="2560"/>
                          </a:lnTo>
                          <a:lnTo>
                            <a:pt x="1574" y="2554"/>
                          </a:lnTo>
                          <a:lnTo>
                            <a:pt x="1581" y="2547"/>
                          </a:lnTo>
                          <a:lnTo>
                            <a:pt x="1588" y="2538"/>
                          </a:lnTo>
                          <a:lnTo>
                            <a:pt x="1594" y="2530"/>
                          </a:lnTo>
                          <a:lnTo>
                            <a:pt x="1599" y="2519"/>
                          </a:lnTo>
                          <a:lnTo>
                            <a:pt x="1603" y="2508"/>
                          </a:lnTo>
                          <a:lnTo>
                            <a:pt x="1606" y="2497"/>
                          </a:lnTo>
                          <a:lnTo>
                            <a:pt x="1609" y="2483"/>
                          </a:lnTo>
                          <a:lnTo>
                            <a:pt x="1610" y="2470"/>
                          </a:lnTo>
                          <a:lnTo>
                            <a:pt x="1610" y="2455"/>
                          </a:lnTo>
                          <a:lnTo>
                            <a:pt x="1610" y="2233"/>
                          </a:lnTo>
                          <a:lnTo>
                            <a:pt x="1551" y="2233"/>
                          </a:lnTo>
                          <a:lnTo>
                            <a:pt x="1551" y="2250"/>
                          </a:lnTo>
                          <a:close/>
                          <a:moveTo>
                            <a:pt x="1551" y="2307"/>
                          </a:moveTo>
                          <a:lnTo>
                            <a:pt x="1551" y="2403"/>
                          </a:lnTo>
                          <a:lnTo>
                            <a:pt x="1551" y="2403"/>
                          </a:lnTo>
                          <a:lnTo>
                            <a:pt x="1542" y="2412"/>
                          </a:lnTo>
                          <a:lnTo>
                            <a:pt x="1534" y="2420"/>
                          </a:lnTo>
                          <a:lnTo>
                            <a:pt x="1527" y="2423"/>
                          </a:lnTo>
                          <a:lnTo>
                            <a:pt x="1521" y="2425"/>
                          </a:lnTo>
                          <a:lnTo>
                            <a:pt x="1515" y="2426"/>
                          </a:lnTo>
                          <a:lnTo>
                            <a:pt x="1507" y="2427"/>
                          </a:lnTo>
                          <a:lnTo>
                            <a:pt x="1507" y="2427"/>
                          </a:lnTo>
                          <a:lnTo>
                            <a:pt x="1499" y="2426"/>
                          </a:lnTo>
                          <a:lnTo>
                            <a:pt x="1491" y="2424"/>
                          </a:lnTo>
                          <a:lnTo>
                            <a:pt x="1484" y="2420"/>
                          </a:lnTo>
                          <a:lnTo>
                            <a:pt x="1476" y="2413"/>
                          </a:lnTo>
                          <a:lnTo>
                            <a:pt x="1470" y="2403"/>
                          </a:lnTo>
                          <a:lnTo>
                            <a:pt x="1465" y="2390"/>
                          </a:lnTo>
                          <a:lnTo>
                            <a:pt x="1463" y="2373"/>
                          </a:lnTo>
                          <a:lnTo>
                            <a:pt x="1462" y="2351"/>
                          </a:lnTo>
                          <a:lnTo>
                            <a:pt x="1462" y="2351"/>
                          </a:lnTo>
                          <a:lnTo>
                            <a:pt x="1463" y="2333"/>
                          </a:lnTo>
                          <a:lnTo>
                            <a:pt x="1465" y="2317"/>
                          </a:lnTo>
                          <a:lnTo>
                            <a:pt x="1470" y="2305"/>
                          </a:lnTo>
                          <a:lnTo>
                            <a:pt x="1476" y="2296"/>
                          </a:lnTo>
                          <a:lnTo>
                            <a:pt x="1484" y="2290"/>
                          </a:lnTo>
                          <a:lnTo>
                            <a:pt x="1491" y="2285"/>
                          </a:lnTo>
                          <a:lnTo>
                            <a:pt x="1499" y="2284"/>
                          </a:lnTo>
                          <a:lnTo>
                            <a:pt x="1507" y="2283"/>
                          </a:lnTo>
                          <a:lnTo>
                            <a:pt x="1507" y="2283"/>
                          </a:lnTo>
                          <a:lnTo>
                            <a:pt x="1515" y="2284"/>
                          </a:lnTo>
                          <a:lnTo>
                            <a:pt x="1523" y="2285"/>
                          </a:lnTo>
                          <a:lnTo>
                            <a:pt x="1529" y="2288"/>
                          </a:lnTo>
                          <a:lnTo>
                            <a:pt x="1535" y="2291"/>
                          </a:lnTo>
                          <a:lnTo>
                            <a:pt x="1540" y="2295"/>
                          </a:lnTo>
                          <a:lnTo>
                            <a:pt x="1543" y="2299"/>
                          </a:lnTo>
                          <a:lnTo>
                            <a:pt x="1551" y="2307"/>
                          </a:lnTo>
                          <a:lnTo>
                            <a:pt x="1551" y="2307"/>
                          </a:lnTo>
                          <a:close/>
                          <a:moveTo>
                            <a:pt x="1033" y="2233"/>
                          </a:moveTo>
                          <a:lnTo>
                            <a:pt x="1094" y="2233"/>
                          </a:lnTo>
                          <a:lnTo>
                            <a:pt x="1094" y="2341"/>
                          </a:lnTo>
                          <a:lnTo>
                            <a:pt x="1094" y="2477"/>
                          </a:lnTo>
                          <a:lnTo>
                            <a:pt x="1033" y="2477"/>
                          </a:lnTo>
                          <a:lnTo>
                            <a:pt x="1033" y="2233"/>
                          </a:lnTo>
                          <a:close/>
                          <a:moveTo>
                            <a:pt x="1094" y="2167"/>
                          </a:moveTo>
                          <a:lnTo>
                            <a:pt x="1094" y="2198"/>
                          </a:lnTo>
                          <a:lnTo>
                            <a:pt x="1033" y="2198"/>
                          </a:lnTo>
                          <a:lnTo>
                            <a:pt x="1033" y="2137"/>
                          </a:lnTo>
                          <a:lnTo>
                            <a:pt x="1094" y="2137"/>
                          </a:lnTo>
                          <a:lnTo>
                            <a:pt x="1094" y="2167"/>
                          </a:lnTo>
                          <a:close/>
                          <a:moveTo>
                            <a:pt x="2542" y="2161"/>
                          </a:moveTo>
                          <a:lnTo>
                            <a:pt x="2603" y="2131"/>
                          </a:lnTo>
                          <a:lnTo>
                            <a:pt x="2603" y="2352"/>
                          </a:lnTo>
                          <a:lnTo>
                            <a:pt x="2603" y="2477"/>
                          </a:lnTo>
                          <a:lnTo>
                            <a:pt x="2542" y="2477"/>
                          </a:lnTo>
                          <a:lnTo>
                            <a:pt x="2542" y="2161"/>
                          </a:lnTo>
                          <a:close/>
                          <a:moveTo>
                            <a:pt x="437" y="834"/>
                          </a:moveTo>
                          <a:lnTo>
                            <a:pt x="936" y="834"/>
                          </a:lnTo>
                          <a:lnTo>
                            <a:pt x="936" y="544"/>
                          </a:lnTo>
                          <a:lnTo>
                            <a:pt x="437" y="544"/>
                          </a:lnTo>
                          <a:lnTo>
                            <a:pt x="437" y="317"/>
                          </a:lnTo>
                          <a:lnTo>
                            <a:pt x="989" y="317"/>
                          </a:lnTo>
                          <a:lnTo>
                            <a:pt x="806" y="0"/>
                          </a:lnTo>
                          <a:lnTo>
                            <a:pt x="24" y="0"/>
                          </a:lnTo>
                          <a:lnTo>
                            <a:pt x="24" y="1378"/>
                          </a:lnTo>
                          <a:lnTo>
                            <a:pt x="1126" y="1378"/>
                          </a:lnTo>
                          <a:lnTo>
                            <a:pt x="1126" y="1061"/>
                          </a:lnTo>
                          <a:lnTo>
                            <a:pt x="437" y="1061"/>
                          </a:lnTo>
                          <a:lnTo>
                            <a:pt x="437" y="834"/>
                          </a:lnTo>
                          <a:close/>
                          <a:moveTo>
                            <a:pt x="1860" y="0"/>
                          </a:moveTo>
                          <a:lnTo>
                            <a:pt x="1626" y="450"/>
                          </a:lnTo>
                          <a:lnTo>
                            <a:pt x="1393" y="0"/>
                          </a:lnTo>
                          <a:lnTo>
                            <a:pt x="936" y="0"/>
                          </a:lnTo>
                          <a:lnTo>
                            <a:pt x="1417" y="834"/>
                          </a:lnTo>
                          <a:lnTo>
                            <a:pt x="1417" y="1378"/>
                          </a:lnTo>
                          <a:lnTo>
                            <a:pt x="1829" y="1378"/>
                          </a:lnTo>
                          <a:lnTo>
                            <a:pt x="1829" y="834"/>
                          </a:lnTo>
                          <a:lnTo>
                            <a:pt x="2311" y="0"/>
                          </a:lnTo>
                          <a:lnTo>
                            <a:pt x="186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</p:grpSp>
              <p:sp>
                <p:nvSpPr>
                  <p:cNvPr id="56" name="Content Placeholder 5">
                    <a:extLst>
                      <a:ext uri="{FF2B5EF4-FFF2-40B4-BE49-F238E27FC236}">
                        <a16:creationId xmlns:a16="http://schemas.microsoft.com/office/drawing/2014/main" id="{76FD0A82-08D0-4B15-8815-06FC24CFAE7C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4368" y="75105"/>
                    <a:ext cx="1458345" cy="152383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b="1" kern="0">
                        <a:solidFill>
                          <a:srgbClr val="FFE600"/>
                        </a:solidFill>
                        <a:latin typeface="EYInterstate Bold" panose="02000803030000020004" pitchFamily="2" charset="0"/>
                        <a:ea typeface="+mn-ea"/>
                        <a:cs typeface="+mn-cs"/>
                      </a:rPr>
                      <a:t>Context, Scope and Objectives</a:t>
                    </a:r>
                  </a:p>
                </p:txBody>
              </p:sp>
              <p:sp>
                <p:nvSpPr>
                  <p:cNvPr id="57" name="Content Placeholder 5">
                    <a:extLst>
                      <a:ext uri="{FF2B5EF4-FFF2-40B4-BE49-F238E27FC236}">
                        <a16:creationId xmlns:a16="http://schemas.microsoft.com/office/drawing/2014/main" id="{4CC987F7-98C1-4F3A-A54E-504A2C5F0A43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11986" y="51130"/>
                    <a:ext cx="1206296" cy="200331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+mj-lt"/>
                      <a:buNone/>
                      <a:tabLst>
                        <a:tab pos="4876815" algn="r"/>
                      </a:tabLst>
                    </a:pPr>
                    <a:r>
                      <a:rPr lang="en-US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Key Success Factors &amp; Challenges </a:t>
                    </a:r>
                  </a:p>
                </p:txBody>
              </p:sp>
              <p:sp>
                <p:nvSpPr>
                  <p:cNvPr id="58" name="Content Placeholder 5">
                    <a:extLst>
                      <a:ext uri="{FF2B5EF4-FFF2-40B4-BE49-F238E27FC236}">
                        <a16:creationId xmlns:a16="http://schemas.microsoft.com/office/drawing/2014/main" id="{638E734B-C256-40EC-BC30-4375723D7F8F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11169709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Appendices</a:t>
                    </a:r>
                  </a:p>
                </p:txBody>
              </p:sp>
              <p:sp>
                <p:nvSpPr>
                  <p:cNvPr id="59" name="Content Placeholder 5">
                    <a:extLst>
                      <a:ext uri="{FF2B5EF4-FFF2-40B4-BE49-F238E27FC236}">
                        <a16:creationId xmlns:a16="http://schemas.microsoft.com/office/drawing/2014/main" id="{696E86C3-81B8-48B5-AD76-9E0C8E8CA73D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5947426" y="83518"/>
                    <a:ext cx="1023162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Proposed</a:t>
                    </a: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 Approach</a:t>
                    </a:r>
                  </a:p>
                </p:txBody>
              </p:sp>
              <p:sp>
                <p:nvSpPr>
                  <p:cNvPr id="60" name="Content Placeholder 5">
                    <a:extLst>
                      <a:ext uri="{FF2B5EF4-FFF2-40B4-BE49-F238E27FC236}">
                        <a16:creationId xmlns:a16="http://schemas.microsoft.com/office/drawing/2014/main" id="{80F54FE1-7BE6-415B-A29F-F78679A66F97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7262461" y="75105"/>
                    <a:ext cx="1138227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Team &amp; </a:t>
                    </a: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Goverance</a:t>
                    </a:r>
                    <a:endParaRPr lang="fr-FR" sz="800" kern="0">
                      <a:solidFill>
                        <a:schemeClr val="bg2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Content Placeholder 5">
                    <a:extLst>
                      <a:ext uri="{FF2B5EF4-FFF2-40B4-BE49-F238E27FC236}">
                        <a16:creationId xmlns:a16="http://schemas.microsoft.com/office/drawing/2014/main" id="{73848AC0-0B69-4616-BD86-9936B0831808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4484077" y="75105"/>
                    <a:ext cx="1097554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Scope &amp; Assumptions</a:t>
                    </a:r>
                  </a:p>
                </p:txBody>
              </p:sp>
              <p:sp>
                <p:nvSpPr>
                  <p:cNvPr id="62" name="Content Placeholder 5">
                    <a:extLst>
                      <a:ext uri="{FF2B5EF4-FFF2-40B4-BE49-F238E27FC236}">
                        <a16:creationId xmlns:a16="http://schemas.microsoft.com/office/drawing/2014/main" id="{14A4A39E-20BE-4E75-A26E-57480542C5CA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8757114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Teams Profiles</a:t>
                    </a:r>
                  </a:p>
                </p:txBody>
              </p:sp>
              <p:sp>
                <p:nvSpPr>
                  <p:cNvPr id="63" name="Content Placeholder 5">
                    <a:extLst>
                      <a:ext uri="{FF2B5EF4-FFF2-40B4-BE49-F238E27FC236}">
                        <a16:creationId xmlns:a16="http://schemas.microsoft.com/office/drawing/2014/main" id="{15BC967D-2097-4ED4-B82A-D85DF409926B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9963409" y="75105"/>
                    <a:ext cx="866515" cy="176356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Key Credentials</a:t>
                    </a:r>
                  </a:p>
                </p:txBody>
              </p:sp>
            </p:grpSp>
          </p:grpSp>
          <p:sp>
            <p:nvSpPr>
              <p:cNvPr id="52" name="Content Placeholder 5">
                <a:extLst>
                  <a:ext uri="{FF2B5EF4-FFF2-40B4-BE49-F238E27FC236}">
                    <a16:creationId xmlns:a16="http://schemas.microsoft.com/office/drawing/2014/main" id="{63E792A2-3E52-4F4A-A2AD-B6E1C28F4C5C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1608265" y="75105"/>
                <a:ext cx="1097554" cy="135989"/>
              </a:xfrm>
              <a:prstGeom prst="rect">
                <a:avLst/>
              </a:prstGeom>
            </p:spPr>
            <p:txBody>
              <a:bodyPr anchor="ctr"/>
              <a:lstStyle>
                <a:lvl1pPr algn="l" defTabSz="995363" rtl="0" fontAlgn="base">
                  <a:lnSpc>
                    <a:spcPts val="2100"/>
                  </a:lnSpc>
                  <a:spcBef>
                    <a:spcPct val="0"/>
                  </a:spcBef>
                  <a:spcAft>
                    <a:spcPct val="40000"/>
                  </a:spcAft>
                  <a:defRPr sz="1400" b="0">
                    <a:solidFill>
                      <a:srgbClr val="646464"/>
                    </a:solidFill>
                    <a:latin typeface="+mj-lt"/>
                    <a:ea typeface="+mn-ea"/>
                    <a:cs typeface="+mn-cs"/>
                  </a:defRPr>
                </a:lvl1pPr>
                <a:lvl2pPr marL="1588" algn="l" defTabSz="995363" rtl="0"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lang="en-US" sz="1200" b="1" dirty="0" smtClean="0">
                    <a:solidFill>
                      <a:srgbClr val="646464"/>
                    </a:solidFill>
                    <a:latin typeface="+mn-lt"/>
                  </a:defRPr>
                </a:lvl2pPr>
                <a:lvl3pPr marL="3175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sz="1000">
                    <a:solidFill>
                      <a:srgbClr val="000000"/>
                    </a:solidFill>
                    <a:latin typeface="+mn-lt"/>
                  </a:defRPr>
                </a:lvl3pPr>
                <a:lvl4pPr marL="152400" indent="-147638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FFD200"/>
                  </a:buClr>
                  <a:buSzPct val="75000"/>
                  <a:buFont typeface="Arial" charset="0"/>
                  <a:buChar char="►"/>
                  <a:defRPr sz="1000">
                    <a:solidFill>
                      <a:srgbClr val="000000"/>
                    </a:solidFill>
                    <a:latin typeface="+mn-lt"/>
                  </a:defRPr>
                </a:lvl4pPr>
                <a:lvl5pPr marL="2968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5pPr>
                <a:lvl6pPr marL="7540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6pPr>
                <a:lvl7pPr marL="12112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7pPr>
                <a:lvl8pPr marL="16684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8pPr>
                <a:lvl9pPr marL="21256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lvl="2" indent="0" algn="ctr" defTabSz="8293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140000"/>
                  <a:buFont typeface="Arial" charset="0"/>
                  <a:buNone/>
                  <a:tabLst>
                    <a:tab pos="4876815" algn="r"/>
                  </a:tabLst>
                </a:pPr>
                <a:r>
                  <a:rPr lang="fr-FR" sz="800" kern="0">
                    <a:solidFill>
                      <a:schemeClr val="bg2"/>
                    </a:solidFill>
                    <a:latin typeface="EYInterstate Light" panose="02000506000000020004" pitchFamily="2" charset="0"/>
                    <a:ea typeface="+mn-ea"/>
                    <a:cs typeface="+mn-cs"/>
                  </a:rPr>
                  <a:t>Scope &amp; Assumptions</a:t>
                </a:r>
              </a:p>
            </p:txBody>
          </p:sp>
        </p:grp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1C34547-4154-4B10-B325-9BCCD1909144}"/>
                </a:ext>
              </a:extLst>
            </p:cNvPr>
            <p:cNvSpPr/>
            <p:nvPr userDrawn="1"/>
          </p:nvSpPr>
          <p:spPr>
            <a:xfrm>
              <a:off x="0" y="0"/>
              <a:ext cx="12192000" cy="350540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>
                <a:solidFill>
                  <a:schemeClr val="tx1"/>
                </a:solidFill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48BB249-0302-41D9-A400-78C9E9F1065B}"/>
                </a:ext>
              </a:extLst>
            </p:cNvPr>
            <p:cNvGrpSpPr/>
            <p:nvPr userDrawn="1"/>
          </p:nvGrpSpPr>
          <p:grpSpPr>
            <a:xfrm>
              <a:off x="81557" y="51129"/>
              <a:ext cx="167539" cy="200331"/>
              <a:chOff x="784680" y="68072"/>
              <a:chExt cx="167539" cy="200331"/>
            </a:xfrm>
          </p:grpSpPr>
          <p:sp>
            <p:nvSpPr>
              <p:cNvPr id="48" name="Freeform 6">
                <a:extLst>
                  <a:ext uri="{FF2B5EF4-FFF2-40B4-BE49-F238E27FC236}">
                    <a16:creationId xmlns:a16="http://schemas.microsoft.com/office/drawing/2014/main" id="{76366279-A917-4E90-BE85-22957DDBB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680" y="68072"/>
                <a:ext cx="134278" cy="50020"/>
              </a:xfrm>
              <a:custGeom>
                <a:avLst/>
                <a:gdLst>
                  <a:gd name="T0" fmla="*/ 2723 w 2723"/>
                  <a:gd name="T1" fmla="*/ 0 h 994"/>
                  <a:gd name="T2" fmla="*/ 0 w 2723"/>
                  <a:gd name="T3" fmla="*/ 994 h 994"/>
                  <a:gd name="T4" fmla="*/ 2723 w 2723"/>
                  <a:gd name="T5" fmla="*/ 513 h 994"/>
                  <a:gd name="T6" fmla="*/ 2723 w 2723"/>
                  <a:gd name="T7" fmla="*/ 0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23" h="994">
                    <a:moveTo>
                      <a:pt x="2723" y="0"/>
                    </a:moveTo>
                    <a:lnTo>
                      <a:pt x="0" y="994"/>
                    </a:lnTo>
                    <a:lnTo>
                      <a:pt x="2723" y="513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rgbClr val="F7D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sp>
            <p:nvSpPr>
              <p:cNvPr id="49" name="Freeform 7">
                <a:extLst>
                  <a:ext uri="{FF2B5EF4-FFF2-40B4-BE49-F238E27FC236}">
                    <a16:creationId xmlns:a16="http://schemas.microsoft.com/office/drawing/2014/main" id="{60C41441-A1B4-4564-8B7F-A6EDB18662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680" y="138954"/>
                <a:ext cx="167539" cy="129449"/>
              </a:xfrm>
              <a:custGeom>
                <a:avLst/>
                <a:gdLst>
                  <a:gd name="T0" fmla="*/ 256 w 3400"/>
                  <a:gd name="T1" fmla="*/ 1749 h 2577"/>
                  <a:gd name="T2" fmla="*/ 278 w 3400"/>
                  <a:gd name="T3" fmla="*/ 1978 h 2577"/>
                  <a:gd name="T4" fmla="*/ 166 w 3400"/>
                  <a:gd name="T5" fmla="*/ 1993 h 2577"/>
                  <a:gd name="T6" fmla="*/ 386 w 3400"/>
                  <a:gd name="T7" fmla="*/ 1940 h 2577"/>
                  <a:gd name="T8" fmla="*/ 458 w 3400"/>
                  <a:gd name="T9" fmla="*/ 2046 h 2577"/>
                  <a:gd name="T10" fmla="*/ 1255 w 3400"/>
                  <a:gd name="T11" fmla="*/ 1820 h 2577"/>
                  <a:gd name="T12" fmla="*/ 1339 w 3400"/>
                  <a:gd name="T13" fmla="*/ 1914 h 2577"/>
                  <a:gd name="T14" fmla="*/ 767 w 3400"/>
                  <a:gd name="T15" fmla="*/ 1703 h 2577"/>
                  <a:gd name="T16" fmla="*/ 813 w 3400"/>
                  <a:gd name="T17" fmla="*/ 1884 h 2577"/>
                  <a:gd name="T18" fmla="*/ 947 w 3400"/>
                  <a:gd name="T19" fmla="*/ 2042 h 2577"/>
                  <a:gd name="T20" fmla="*/ 916 w 3400"/>
                  <a:gd name="T21" fmla="*/ 1855 h 2577"/>
                  <a:gd name="T22" fmla="*/ 2225 w 3400"/>
                  <a:gd name="T23" fmla="*/ 2049 h 2577"/>
                  <a:gd name="T24" fmla="*/ 2376 w 3400"/>
                  <a:gd name="T25" fmla="*/ 1924 h 2577"/>
                  <a:gd name="T26" fmla="*/ 2312 w 3400"/>
                  <a:gd name="T27" fmla="*/ 1906 h 2577"/>
                  <a:gd name="T28" fmla="*/ 2267 w 3400"/>
                  <a:gd name="T29" fmla="*/ 1855 h 2577"/>
                  <a:gd name="T30" fmla="*/ 1441 w 3400"/>
                  <a:gd name="T31" fmla="*/ 1911 h 2577"/>
                  <a:gd name="T32" fmla="*/ 1591 w 3400"/>
                  <a:gd name="T33" fmla="*/ 2031 h 2577"/>
                  <a:gd name="T34" fmla="*/ 1622 w 3400"/>
                  <a:gd name="T35" fmla="*/ 2119 h 2577"/>
                  <a:gd name="T36" fmla="*/ 1507 w 3400"/>
                  <a:gd name="T37" fmla="*/ 1962 h 2577"/>
                  <a:gd name="T38" fmla="*/ 1902 w 3400"/>
                  <a:gd name="T39" fmla="*/ 1848 h 2577"/>
                  <a:gd name="T40" fmla="*/ 1797 w 3400"/>
                  <a:gd name="T41" fmla="*/ 1958 h 2577"/>
                  <a:gd name="T42" fmla="*/ 2006 w 3400"/>
                  <a:gd name="T43" fmla="*/ 1884 h 2577"/>
                  <a:gd name="T44" fmla="*/ 1857 w 3400"/>
                  <a:gd name="T45" fmla="*/ 1968 h 2577"/>
                  <a:gd name="T46" fmla="*/ 1881 w 3400"/>
                  <a:gd name="T47" fmla="*/ 2002 h 2577"/>
                  <a:gd name="T48" fmla="*/ 2467 w 3400"/>
                  <a:gd name="T49" fmla="*/ 1946 h 2577"/>
                  <a:gd name="T50" fmla="*/ 2452 w 3400"/>
                  <a:gd name="T51" fmla="*/ 1821 h 2577"/>
                  <a:gd name="T52" fmla="*/ 2521 w 3400"/>
                  <a:gd name="T53" fmla="*/ 2055 h 2577"/>
                  <a:gd name="T54" fmla="*/ 2555 w 3400"/>
                  <a:gd name="T55" fmla="*/ 1883 h 2577"/>
                  <a:gd name="T56" fmla="*/ 3202 w 3400"/>
                  <a:gd name="T57" fmla="*/ 1928 h 2577"/>
                  <a:gd name="T58" fmla="*/ 3006 w 3400"/>
                  <a:gd name="T59" fmla="*/ 1854 h 2577"/>
                  <a:gd name="T60" fmla="*/ 3140 w 3400"/>
                  <a:gd name="T61" fmla="*/ 2049 h 2577"/>
                  <a:gd name="T62" fmla="*/ 2905 w 3400"/>
                  <a:gd name="T63" fmla="*/ 1964 h 2577"/>
                  <a:gd name="T64" fmla="*/ 2868 w 3400"/>
                  <a:gd name="T65" fmla="*/ 2041 h 2577"/>
                  <a:gd name="T66" fmla="*/ 2713 w 3400"/>
                  <a:gd name="T67" fmla="*/ 2051 h 2577"/>
                  <a:gd name="T68" fmla="*/ 2747 w 3400"/>
                  <a:gd name="T69" fmla="*/ 1996 h 2577"/>
                  <a:gd name="T70" fmla="*/ 3300 w 3400"/>
                  <a:gd name="T71" fmla="*/ 1805 h 2577"/>
                  <a:gd name="T72" fmla="*/ 1073 w 3400"/>
                  <a:gd name="T73" fmla="*/ 2049 h 2577"/>
                  <a:gd name="T74" fmla="*/ 2660 w 3400"/>
                  <a:gd name="T75" fmla="*/ 2279 h 2577"/>
                  <a:gd name="T76" fmla="*/ 2763 w 3400"/>
                  <a:gd name="T77" fmla="*/ 2480 h 2577"/>
                  <a:gd name="T78" fmla="*/ 2737 w 3400"/>
                  <a:gd name="T79" fmla="*/ 2285 h 2577"/>
                  <a:gd name="T80" fmla="*/ 690 w 3400"/>
                  <a:gd name="T81" fmla="*/ 2289 h 2577"/>
                  <a:gd name="T82" fmla="*/ 740 w 3400"/>
                  <a:gd name="T83" fmla="*/ 2301 h 2577"/>
                  <a:gd name="T84" fmla="*/ 222 w 3400"/>
                  <a:gd name="T85" fmla="*/ 2352 h 2577"/>
                  <a:gd name="T86" fmla="*/ 341 w 3400"/>
                  <a:gd name="T87" fmla="*/ 2395 h 2577"/>
                  <a:gd name="T88" fmla="*/ 554 w 3400"/>
                  <a:gd name="T89" fmla="*/ 2395 h 2577"/>
                  <a:gd name="T90" fmla="*/ 412 w 3400"/>
                  <a:gd name="T91" fmla="*/ 2407 h 2577"/>
                  <a:gd name="T92" fmla="*/ 484 w 3400"/>
                  <a:gd name="T93" fmla="*/ 2407 h 2577"/>
                  <a:gd name="T94" fmla="*/ 2419 w 3400"/>
                  <a:gd name="T95" fmla="*/ 2248 h 2577"/>
                  <a:gd name="T96" fmla="*/ 1758 w 3400"/>
                  <a:gd name="T97" fmla="*/ 2233 h 2577"/>
                  <a:gd name="T98" fmla="*/ 2133 w 3400"/>
                  <a:gd name="T99" fmla="*/ 2255 h 2577"/>
                  <a:gd name="T100" fmla="*/ 2204 w 3400"/>
                  <a:gd name="T101" fmla="*/ 2483 h 2577"/>
                  <a:gd name="T102" fmla="*/ 2269 w 3400"/>
                  <a:gd name="T103" fmla="*/ 2249 h 2577"/>
                  <a:gd name="T104" fmla="*/ 2204 w 3400"/>
                  <a:gd name="T105" fmla="*/ 2284 h 2577"/>
                  <a:gd name="T106" fmla="*/ 845 w 3400"/>
                  <a:gd name="T107" fmla="*/ 2131 h 2577"/>
                  <a:gd name="T108" fmla="*/ 1323 w 3400"/>
                  <a:gd name="T109" fmla="*/ 2244 h 2577"/>
                  <a:gd name="T110" fmla="*/ 1220 w 3400"/>
                  <a:gd name="T111" fmla="*/ 2299 h 2577"/>
                  <a:gd name="T112" fmla="*/ 1410 w 3400"/>
                  <a:gd name="T113" fmla="*/ 2289 h 2577"/>
                  <a:gd name="T114" fmla="*/ 1525 w 3400"/>
                  <a:gd name="T115" fmla="*/ 2477 h 2577"/>
                  <a:gd name="T116" fmla="*/ 1544 w 3400"/>
                  <a:gd name="T117" fmla="*/ 2570 h 2577"/>
                  <a:gd name="T118" fmla="*/ 1491 w 3400"/>
                  <a:gd name="T119" fmla="*/ 2424 h 2577"/>
                  <a:gd name="T120" fmla="*/ 1094 w 3400"/>
                  <a:gd name="T121" fmla="*/ 2341 h 2577"/>
                  <a:gd name="T122" fmla="*/ 437 w 3400"/>
                  <a:gd name="T123" fmla="*/ 1061 h 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00" h="2577">
                    <a:moveTo>
                      <a:pt x="283" y="1942"/>
                    </a:moveTo>
                    <a:lnTo>
                      <a:pt x="283" y="1942"/>
                    </a:lnTo>
                    <a:lnTo>
                      <a:pt x="283" y="1934"/>
                    </a:lnTo>
                    <a:lnTo>
                      <a:pt x="282" y="1927"/>
                    </a:lnTo>
                    <a:lnTo>
                      <a:pt x="278" y="1912"/>
                    </a:lnTo>
                    <a:lnTo>
                      <a:pt x="272" y="1900"/>
                    </a:lnTo>
                    <a:lnTo>
                      <a:pt x="265" y="1890"/>
                    </a:lnTo>
                    <a:lnTo>
                      <a:pt x="256" y="1883"/>
                    </a:lnTo>
                    <a:lnTo>
                      <a:pt x="248" y="1877"/>
                    </a:lnTo>
                    <a:lnTo>
                      <a:pt x="241" y="1872"/>
                    </a:lnTo>
                    <a:lnTo>
                      <a:pt x="233" y="1868"/>
                    </a:lnTo>
                    <a:lnTo>
                      <a:pt x="233" y="1868"/>
                    </a:lnTo>
                    <a:lnTo>
                      <a:pt x="242" y="1862"/>
                    </a:lnTo>
                    <a:lnTo>
                      <a:pt x="249" y="1856"/>
                    </a:lnTo>
                    <a:lnTo>
                      <a:pt x="255" y="1849"/>
                    </a:lnTo>
                    <a:lnTo>
                      <a:pt x="261" y="1840"/>
                    </a:lnTo>
                    <a:lnTo>
                      <a:pt x="266" y="1832"/>
                    </a:lnTo>
                    <a:lnTo>
                      <a:pt x="269" y="1822"/>
                    </a:lnTo>
                    <a:lnTo>
                      <a:pt x="271" y="1812"/>
                    </a:lnTo>
                    <a:lnTo>
                      <a:pt x="271" y="1801"/>
                    </a:lnTo>
                    <a:lnTo>
                      <a:pt x="271" y="1801"/>
                    </a:lnTo>
                    <a:lnTo>
                      <a:pt x="271" y="1792"/>
                    </a:lnTo>
                    <a:lnTo>
                      <a:pt x="270" y="1782"/>
                    </a:lnTo>
                    <a:lnTo>
                      <a:pt x="267" y="1773"/>
                    </a:lnTo>
                    <a:lnTo>
                      <a:pt x="265" y="1765"/>
                    </a:lnTo>
                    <a:lnTo>
                      <a:pt x="261" y="1756"/>
                    </a:lnTo>
                    <a:lnTo>
                      <a:pt x="256" y="1749"/>
                    </a:lnTo>
                    <a:lnTo>
                      <a:pt x="250" y="1743"/>
                    </a:lnTo>
                    <a:lnTo>
                      <a:pt x="244" y="1737"/>
                    </a:lnTo>
                    <a:lnTo>
                      <a:pt x="237" y="1732"/>
                    </a:lnTo>
                    <a:lnTo>
                      <a:pt x="230" y="1727"/>
                    </a:lnTo>
                    <a:lnTo>
                      <a:pt x="221" y="1724"/>
                    </a:lnTo>
                    <a:lnTo>
                      <a:pt x="211" y="1720"/>
                    </a:lnTo>
                    <a:lnTo>
                      <a:pt x="202" y="1718"/>
                    </a:lnTo>
                    <a:lnTo>
                      <a:pt x="191" y="1715"/>
                    </a:lnTo>
                    <a:lnTo>
                      <a:pt x="180" y="1715"/>
                    </a:lnTo>
                    <a:lnTo>
                      <a:pt x="168" y="1714"/>
                    </a:lnTo>
                    <a:lnTo>
                      <a:pt x="24" y="1714"/>
                    </a:lnTo>
                    <a:lnTo>
                      <a:pt x="24" y="2049"/>
                    </a:lnTo>
                    <a:lnTo>
                      <a:pt x="166" y="2049"/>
                    </a:lnTo>
                    <a:lnTo>
                      <a:pt x="166" y="2049"/>
                    </a:lnTo>
                    <a:lnTo>
                      <a:pt x="180" y="2049"/>
                    </a:lnTo>
                    <a:lnTo>
                      <a:pt x="192" y="2048"/>
                    </a:lnTo>
                    <a:lnTo>
                      <a:pt x="204" y="2046"/>
                    </a:lnTo>
                    <a:lnTo>
                      <a:pt x="215" y="2042"/>
                    </a:lnTo>
                    <a:lnTo>
                      <a:pt x="226" y="2038"/>
                    </a:lnTo>
                    <a:lnTo>
                      <a:pt x="236" y="2034"/>
                    </a:lnTo>
                    <a:lnTo>
                      <a:pt x="244" y="2028"/>
                    </a:lnTo>
                    <a:lnTo>
                      <a:pt x="252" y="2021"/>
                    </a:lnTo>
                    <a:lnTo>
                      <a:pt x="259" y="2014"/>
                    </a:lnTo>
                    <a:lnTo>
                      <a:pt x="265" y="2006"/>
                    </a:lnTo>
                    <a:lnTo>
                      <a:pt x="271" y="1997"/>
                    </a:lnTo>
                    <a:lnTo>
                      <a:pt x="275" y="1987"/>
                    </a:lnTo>
                    <a:lnTo>
                      <a:pt x="278" y="1978"/>
                    </a:lnTo>
                    <a:lnTo>
                      <a:pt x="281" y="1967"/>
                    </a:lnTo>
                    <a:lnTo>
                      <a:pt x="282" y="1955"/>
                    </a:lnTo>
                    <a:lnTo>
                      <a:pt x="283" y="1942"/>
                    </a:lnTo>
                    <a:lnTo>
                      <a:pt x="283" y="1942"/>
                    </a:lnTo>
                    <a:close/>
                    <a:moveTo>
                      <a:pt x="166" y="1993"/>
                    </a:moveTo>
                    <a:lnTo>
                      <a:pt x="86" y="1993"/>
                    </a:lnTo>
                    <a:lnTo>
                      <a:pt x="86" y="1897"/>
                    </a:lnTo>
                    <a:lnTo>
                      <a:pt x="166" y="1897"/>
                    </a:lnTo>
                    <a:lnTo>
                      <a:pt x="166" y="1897"/>
                    </a:lnTo>
                    <a:lnTo>
                      <a:pt x="179" y="1899"/>
                    </a:lnTo>
                    <a:lnTo>
                      <a:pt x="188" y="1900"/>
                    </a:lnTo>
                    <a:lnTo>
                      <a:pt x="197" y="1904"/>
                    </a:lnTo>
                    <a:lnTo>
                      <a:pt x="204" y="1910"/>
                    </a:lnTo>
                    <a:lnTo>
                      <a:pt x="210" y="1916"/>
                    </a:lnTo>
                    <a:lnTo>
                      <a:pt x="214" y="1924"/>
                    </a:lnTo>
                    <a:lnTo>
                      <a:pt x="216" y="1934"/>
                    </a:lnTo>
                    <a:lnTo>
                      <a:pt x="218" y="1945"/>
                    </a:lnTo>
                    <a:lnTo>
                      <a:pt x="218" y="1945"/>
                    </a:lnTo>
                    <a:lnTo>
                      <a:pt x="216" y="1956"/>
                    </a:lnTo>
                    <a:lnTo>
                      <a:pt x="214" y="1966"/>
                    </a:lnTo>
                    <a:lnTo>
                      <a:pt x="209" y="1974"/>
                    </a:lnTo>
                    <a:lnTo>
                      <a:pt x="204" y="1980"/>
                    </a:lnTo>
                    <a:lnTo>
                      <a:pt x="197" y="1986"/>
                    </a:lnTo>
                    <a:lnTo>
                      <a:pt x="188" y="1990"/>
                    </a:lnTo>
                    <a:lnTo>
                      <a:pt x="177" y="1992"/>
                    </a:lnTo>
                    <a:lnTo>
                      <a:pt x="166" y="1993"/>
                    </a:lnTo>
                    <a:lnTo>
                      <a:pt x="166" y="1993"/>
                    </a:lnTo>
                    <a:close/>
                    <a:moveTo>
                      <a:pt x="165" y="1843"/>
                    </a:moveTo>
                    <a:lnTo>
                      <a:pt x="86" y="1843"/>
                    </a:lnTo>
                    <a:lnTo>
                      <a:pt x="86" y="1771"/>
                    </a:lnTo>
                    <a:lnTo>
                      <a:pt x="163" y="1771"/>
                    </a:lnTo>
                    <a:lnTo>
                      <a:pt x="163" y="1771"/>
                    </a:lnTo>
                    <a:lnTo>
                      <a:pt x="173" y="1772"/>
                    </a:lnTo>
                    <a:lnTo>
                      <a:pt x="182" y="1773"/>
                    </a:lnTo>
                    <a:lnTo>
                      <a:pt x="190" y="1776"/>
                    </a:lnTo>
                    <a:lnTo>
                      <a:pt x="196" y="1780"/>
                    </a:lnTo>
                    <a:lnTo>
                      <a:pt x="201" y="1786"/>
                    </a:lnTo>
                    <a:lnTo>
                      <a:pt x="204" y="1792"/>
                    </a:lnTo>
                    <a:lnTo>
                      <a:pt x="205" y="1799"/>
                    </a:lnTo>
                    <a:lnTo>
                      <a:pt x="207" y="1807"/>
                    </a:lnTo>
                    <a:lnTo>
                      <a:pt x="207" y="1807"/>
                    </a:lnTo>
                    <a:lnTo>
                      <a:pt x="207" y="1814"/>
                    </a:lnTo>
                    <a:lnTo>
                      <a:pt x="205" y="1820"/>
                    </a:lnTo>
                    <a:lnTo>
                      <a:pt x="203" y="1826"/>
                    </a:lnTo>
                    <a:lnTo>
                      <a:pt x="199" y="1831"/>
                    </a:lnTo>
                    <a:lnTo>
                      <a:pt x="193" y="1835"/>
                    </a:lnTo>
                    <a:lnTo>
                      <a:pt x="186" y="1839"/>
                    </a:lnTo>
                    <a:lnTo>
                      <a:pt x="177" y="1842"/>
                    </a:lnTo>
                    <a:lnTo>
                      <a:pt x="165" y="1843"/>
                    </a:lnTo>
                    <a:lnTo>
                      <a:pt x="165" y="1843"/>
                    </a:lnTo>
                    <a:close/>
                    <a:moveTo>
                      <a:pt x="326" y="1944"/>
                    </a:moveTo>
                    <a:lnTo>
                      <a:pt x="326" y="1805"/>
                    </a:lnTo>
                    <a:lnTo>
                      <a:pt x="386" y="1805"/>
                    </a:lnTo>
                    <a:lnTo>
                      <a:pt x="386" y="1940"/>
                    </a:lnTo>
                    <a:lnTo>
                      <a:pt x="386" y="1940"/>
                    </a:lnTo>
                    <a:lnTo>
                      <a:pt x="386" y="1953"/>
                    </a:lnTo>
                    <a:lnTo>
                      <a:pt x="389" y="1967"/>
                    </a:lnTo>
                    <a:lnTo>
                      <a:pt x="392" y="1976"/>
                    </a:lnTo>
                    <a:lnTo>
                      <a:pt x="397" y="1985"/>
                    </a:lnTo>
                    <a:lnTo>
                      <a:pt x="403" y="1991"/>
                    </a:lnTo>
                    <a:lnTo>
                      <a:pt x="411" y="1996"/>
                    </a:lnTo>
                    <a:lnTo>
                      <a:pt x="420" y="1998"/>
                    </a:lnTo>
                    <a:lnTo>
                      <a:pt x="431" y="2000"/>
                    </a:lnTo>
                    <a:lnTo>
                      <a:pt x="431" y="2000"/>
                    </a:lnTo>
                    <a:lnTo>
                      <a:pt x="442" y="1998"/>
                    </a:lnTo>
                    <a:lnTo>
                      <a:pt x="451" y="1996"/>
                    </a:lnTo>
                    <a:lnTo>
                      <a:pt x="459" y="1991"/>
                    </a:lnTo>
                    <a:lnTo>
                      <a:pt x="465" y="1985"/>
                    </a:lnTo>
                    <a:lnTo>
                      <a:pt x="470" y="1976"/>
                    </a:lnTo>
                    <a:lnTo>
                      <a:pt x="474" y="1966"/>
                    </a:lnTo>
                    <a:lnTo>
                      <a:pt x="476" y="1953"/>
                    </a:lnTo>
                    <a:lnTo>
                      <a:pt x="476" y="1940"/>
                    </a:lnTo>
                    <a:lnTo>
                      <a:pt x="476" y="1805"/>
                    </a:lnTo>
                    <a:lnTo>
                      <a:pt x="537" y="1805"/>
                    </a:lnTo>
                    <a:lnTo>
                      <a:pt x="537" y="2049"/>
                    </a:lnTo>
                    <a:lnTo>
                      <a:pt x="476" y="2049"/>
                    </a:lnTo>
                    <a:lnTo>
                      <a:pt x="476" y="2030"/>
                    </a:lnTo>
                    <a:lnTo>
                      <a:pt x="476" y="2030"/>
                    </a:lnTo>
                    <a:lnTo>
                      <a:pt x="471" y="2036"/>
                    </a:lnTo>
                    <a:lnTo>
                      <a:pt x="464" y="2041"/>
                    </a:lnTo>
                    <a:lnTo>
                      <a:pt x="458" y="2046"/>
                    </a:lnTo>
                    <a:lnTo>
                      <a:pt x="451" y="2048"/>
                    </a:lnTo>
                    <a:lnTo>
                      <a:pt x="444" y="2052"/>
                    </a:lnTo>
                    <a:lnTo>
                      <a:pt x="435" y="2053"/>
                    </a:lnTo>
                    <a:lnTo>
                      <a:pt x="427" y="2054"/>
                    </a:lnTo>
                    <a:lnTo>
                      <a:pt x="418" y="2055"/>
                    </a:lnTo>
                    <a:lnTo>
                      <a:pt x="418" y="2055"/>
                    </a:lnTo>
                    <a:lnTo>
                      <a:pt x="403" y="2054"/>
                    </a:lnTo>
                    <a:lnTo>
                      <a:pt x="391" y="2052"/>
                    </a:lnTo>
                    <a:lnTo>
                      <a:pt x="380" y="2048"/>
                    </a:lnTo>
                    <a:lnTo>
                      <a:pt x="369" y="2043"/>
                    </a:lnTo>
                    <a:lnTo>
                      <a:pt x="361" y="2037"/>
                    </a:lnTo>
                    <a:lnTo>
                      <a:pt x="354" y="2031"/>
                    </a:lnTo>
                    <a:lnTo>
                      <a:pt x="348" y="2023"/>
                    </a:lnTo>
                    <a:lnTo>
                      <a:pt x="341" y="2014"/>
                    </a:lnTo>
                    <a:lnTo>
                      <a:pt x="338" y="2006"/>
                    </a:lnTo>
                    <a:lnTo>
                      <a:pt x="334" y="1997"/>
                    </a:lnTo>
                    <a:lnTo>
                      <a:pt x="329" y="1978"/>
                    </a:lnTo>
                    <a:lnTo>
                      <a:pt x="327" y="1959"/>
                    </a:lnTo>
                    <a:lnTo>
                      <a:pt x="326" y="1944"/>
                    </a:lnTo>
                    <a:lnTo>
                      <a:pt x="326" y="1944"/>
                    </a:lnTo>
                    <a:close/>
                    <a:moveTo>
                      <a:pt x="1249" y="2049"/>
                    </a:moveTo>
                    <a:lnTo>
                      <a:pt x="1188" y="2049"/>
                    </a:lnTo>
                    <a:lnTo>
                      <a:pt x="1188" y="1805"/>
                    </a:lnTo>
                    <a:lnTo>
                      <a:pt x="1249" y="1805"/>
                    </a:lnTo>
                    <a:lnTo>
                      <a:pt x="1249" y="1826"/>
                    </a:lnTo>
                    <a:lnTo>
                      <a:pt x="1249" y="1826"/>
                    </a:lnTo>
                    <a:lnTo>
                      <a:pt x="1255" y="1820"/>
                    </a:lnTo>
                    <a:lnTo>
                      <a:pt x="1261" y="1814"/>
                    </a:lnTo>
                    <a:lnTo>
                      <a:pt x="1269" y="1810"/>
                    </a:lnTo>
                    <a:lnTo>
                      <a:pt x="1276" y="1806"/>
                    </a:lnTo>
                    <a:lnTo>
                      <a:pt x="1284" y="1803"/>
                    </a:lnTo>
                    <a:lnTo>
                      <a:pt x="1292" y="1801"/>
                    </a:lnTo>
                    <a:lnTo>
                      <a:pt x="1301" y="1800"/>
                    </a:lnTo>
                    <a:lnTo>
                      <a:pt x="1310" y="1799"/>
                    </a:lnTo>
                    <a:lnTo>
                      <a:pt x="1310" y="1799"/>
                    </a:lnTo>
                    <a:lnTo>
                      <a:pt x="1321" y="1800"/>
                    </a:lnTo>
                    <a:lnTo>
                      <a:pt x="1331" y="1801"/>
                    </a:lnTo>
                    <a:lnTo>
                      <a:pt x="1340" y="1804"/>
                    </a:lnTo>
                    <a:lnTo>
                      <a:pt x="1349" y="1806"/>
                    </a:lnTo>
                    <a:lnTo>
                      <a:pt x="1357" y="1810"/>
                    </a:lnTo>
                    <a:lnTo>
                      <a:pt x="1365" y="1816"/>
                    </a:lnTo>
                    <a:lnTo>
                      <a:pt x="1371" y="1821"/>
                    </a:lnTo>
                    <a:lnTo>
                      <a:pt x="1377" y="1828"/>
                    </a:lnTo>
                    <a:lnTo>
                      <a:pt x="1383" y="1835"/>
                    </a:lnTo>
                    <a:lnTo>
                      <a:pt x="1386" y="1844"/>
                    </a:lnTo>
                    <a:lnTo>
                      <a:pt x="1391" y="1852"/>
                    </a:lnTo>
                    <a:lnTo>
                      <a:pt x="1394" y="1862"/>
                    </a:lnTo>
                    <a:lnTo>
                      <a:pt x="1396" y="1873"/>
                    </a:lnTo>
                    <a:lnTo>
                      <a:pt x="1399" y="1885"/>
                    </a:lnTo>
                    <a:lnTo>
                      <a:pt x="1400" y="1897"/>
                    </a:lnTo>
                    <a:lnTo>
                      <a:pt x="1400" y="1911"/>
                    </a:lnTo>
                    <a:lnTo>
                      <a:pt x="1400" y="2049"/>
                    </a:lnTo>
                    <a:lnTo>
                      <a:pt x="1339" y="2049"/>
                    </a:lnTo>
                    <a:lnTo>
                      <a:pt x="1339" y="1914"/>
                    </a:lnTo>
                    <a:lnTo>
                      <a:pt x="1339" y="1914"/>
                    </a:lnTo>
                    <a:lnTo>
                      <a:pt x="1339" y="1900"/>
                    </a:lnTo>
                    <a:lnTo>
                      <a:pt x="1337" y="1888"/>
                    </a:lnTo>
                    <a:lnTo>
                      <a:pt x="1333" y="1878"/>
                    </a:lnTo>
                    <a:lnTo>
                      <a:pt x="1328" y="1869"/>
                    </a:lnTo>
                    <a:lnTo>
                      <a:pt x="1322" y="1863"/>
                    </a:lnTo>
                    <a:lnTo>
                      <a:pt x="1315" y="1859"/>
                    </a:lnTo>
                    <a:lnTo>
                      <a:pt x="1306" y="1856"/>
                    </a:lnTo>
                    <a:lnTo>
                      <a:pt x="1295" y="1855"/>
                    </a:lnTo>
                    <a:lnTo>
                      <a:pt x="1295" y="1855"/>
                    </a:lnTo>
                    <a:lnTo>
                      <a:pt x="1284" y="1856"/>
                    </a:lnTo>
                    <a:lnTo>
                      <a:pt x="1275" y="1859"/>
                    </a:lnTo>
                    <a:lnTo>
                      <a:pt x="1267" y="1863"/>
                    </a:lnTo>
                    <a:lnTo>
                      <a:pt x="1261" y="1869"/>
                    </a:lnTo>
                    <a:lnTo>
                      <a:pt x="1255" y="1878"/>
                    </a:lnTo>
                    <a:lnTo>
                      <a:pt x="1252" y="1889"/>
                    </a:lnTo>
                    <a:lnTo>
                      <a:pt x="1249" y="1901"/>
                    </a:lnTo>
                    <a:lnTo>
                      <a:pt x="1249" y="1914"/>
                    </a:lnTo>
                    <a:lnTo>
                      <a:pt x="1249" y="2049"/>
                    </a:lnTo>
                    <a:close/>
                    <a:moveTo>
                      <a:pt x="653" y="1927"/>
                    </a:moveTo>
                    <a:lnTo>
                      <a:pt x="653" y="2049"/>
                    </a:lnTo>
                    <a:lnTo>
                      <a:pt x="592" y="2049"/>
                    </a:lnTo>
                    <a:lnTo>
                      <a:pt x="592" y="1805"/>
                    </a:lnTo>
                    <a:lnTo>
                      <a:pt x="653" y="1805"/>
                    </a:lnTo>
                    <a:lnTo>
                      <a:pt x="653" y="1927"/>
                    </a:lnTo>
                    <a:close/>
                    <a:moveTo>
                      <a:pt x="706" y="1733"/>
                    </a:moveTo>
                    <a:lnTo>
                      <a:pt x="767" y="1703"/>
                    </a:lnTo>
                    <a:lnTo>
                      <a:pt x="767" y="1924"/>
                    </a:lnTo>
                    <a:lnTo>
                      <a:pt x="767" y="2049"/>
                    </a:lnTo>
                    <a:lnTo>
                      <a:pt x="706" y="2049"/>
                    </a:lnTo>
                    <a:lnTo>
                      <a:pt x="706" y="1733"/>
                    </a:lnTo>
                    <a:close/>
                    <a:moveTo>
                      <a:pt x="959" y="1822"/>
                    </a:moveTo>
                    <a:lnTo>
                      <a:pt x="959" y="1822"/>
                    </a:lnTo>
                    <a:lnTo>
                      <a:pt x="954" y="1816"/>
                    </a:lnTo>
                    <a:lnTo>
                      <a:pt x="948" y="1812"/>
                    </a:lnTo>
                    <a:lnTo>
                      <a:pt x="941" y="1807"/>
                    </a:lnTo>
                    <a:lnTo>
                      <a:pt x="934" y="1805"/>
                    </a:lnTo>
                    <a:lnTo>
                      <a:pt x="927" y="1803"/>
                    </a:lnTo>
                    <a:lnTo>
                      <a:pt x="920" y="1800"/>
                    </a:lnTo>
                    <a:lnTo>
                      <a:pt x="905" y="1799"/>
                    </a:lnTo>
                    <a:lnTo>
                      <a:pt x="905" y="1799"/>
                    </a:lnTo>
                    <a:lnTo>
                      <a:pt x="894" y="1800"/>
                    </a:lnTo>
                    <a:lnTo>
                      <a:pt x="883" y="1801"/>
                    </a:lnTo>
                    <a:lnTo>
                      <a:pt x="874" y="1804"/>
                    </a:lnTo>
                    <a:lnTo>
                      <a:pt x="865" y="1807"/>
                    </a:lnTo>
                    <a:lnTo>
                      <a:pt x="857" y="1812"/>
                    </a:lnTo>
                    <a:lnTo>
                      <a:pt x="848" y="1818"/>
                    </a:lnTo>
                    <a:lnTo>
                      <a:pt x="841" y="1826"/>
                    </a:lnTo>
                    <a:lnTo>
                      <a:pt x="835" y="1833"/>
                    </a:lnTo>
                    <a:lnTo>
                      <a:pt x="829" y="1842"/>
                    </a:lnTo>
                    <a:lnTo>
                      <a:pt x="824" y="1851"/>
                    </a:lnTo>
                    <a:lnTo>
                      <a:pt x="819" y="1861"/>
                    </a:lnTo>
                    <a:lnTo>
                      <a:pt x="815" y="1872"/>
                    </a:lnTo>
                    <a:lnTo>
                      <a:pt x="813" y="1884"/>
                    </a:lnTo>
                    <a:lnTo>
                      <a:pt x="811" y="1897"/>
                    </a:lnTo>
                    <a:lnTo>
                      <a:pt x="809" y="1911"/>
                    </a:lnTo>
                    <a:lnTo>
                      <a:pt x="809" y="1924"/>
                    </a:lnTo>
                    <a:lnTo>
                      <a:pt x="809" y="1924"/>
                    </a:lnTo>
                    <a:lnTo>
                      <a:pt x="809" y="1940"/>
                    </a:lnTo>
                    <a:lnTo>
                      <a:pt x="811" y="1953"/>
                    </a:lnTo>
                    <a:lnTo>
                      <a:pt x="813" y="1967"/>
                    </a:lnTo>
                    <a:lnTo>
                      <a:pt x="815" y="1979"/>
                    </a:lnTo>
                    <a:lnTo>
                      <a:pt x="819" y="1991"/>
                    </a:lnTo>
                    <a:lnTo>
                      <a:pt x="823" y="2002"/>
                    </a:lnTo>
                    <a:lnTo>
                      <a:pt x="828" y="2012"/>
                    </a:lnTo>
                    <a:lnTo>
                      <a:pt x="834" y="2020"/>
                    </a:lnTo>
                    <a:lnTo>
                      <a:pt x="841" y="2029"/>
                    </a:lnTo>
                    <a:lnTo>
                      <a:pt x="847" y="2035"/>
                    </a:lnTo>
                    <a:lnTo>
                      <a:pt x="855" y="2041"/>
                    </a:lnTo>
                    <a:lnTo>
                      <a:pt x="864" y="2046"/>
                    </a:lnTo>
                    <a:lnTo>
                      <a:pt x="872" y="2049"/>
                    </a:lnTo>
                    <a:lnTo>
                      <a:pt x="882" y="2053"/>
                    </a:lnTo>
                    <a:lnTo>
                      <a:pt x="893" y="2054"/>
                    </a:lnTo>
                    <a:lnTo>
                      <a:pt x="904" y="2055"/>
                    </a:lnTo>
                    <a:lnTo>
                      <a:pt x="904" y="2055"/>
                    </a:lnTo>
                    <a:lnTo>
                      <a:pt x="911" y="2054"/>
                    </a:lnTo>
                    <a:lnTo>
                      <a:pt x="919" y="2053"/>
                    </a:lnTo>
                    <a:lnTo>
                      <a:pt x="926" y="2052"/>
                    </a:lnTo>
                    <a:lnTo>
                      <a:pt x="933" y="2049"/>
                    </a:lnTo>
                    <a:lnTo>
                      <a:pt x="939" y="2046"/>
                    </a:lnTo>
                    <a:lnTo>
                      <a:pt x="947" y="2042"/>
                    </a:lnTo>
                    <a:lnTo>
                      <a:pt x="953" y="2037"/>
                    </a:lnTo>
                    <a:lnTo>
                      <a:pt x="959" y="2031"/>
                    </a:lnTo>
                    <a:lnTo>
                      <a:pt x="959" y="2049"/>
                    </a:lnTo>
                    <a:lnTo>
                      <a:pt x="1020" y="2049"/>
                    </a:lnTo>
                    <a:lnTo>
                      <a:pt x="1020" y="1703"/>
                    </a:lnTo>
                    <a:lnTo>
                      <a:pt x="959" y="1733"/>
                    </a:lnTo>
                    <a:lnTo>
                      <a:pt x="959" y="1822"/>
                    </a:lnTo>
                    <a:close/>
                    <a:moveTo>
                      <a:pt x="916" y="2000"/>
                    </a:moveTo>
                    <a:lnTo>
                      <a:pt x="916" y="2000"/>
                    </a:lnTo>
                    <a:lnTo>
                      <a:pt x="909" y="1998"/>
                    </a:lnTo>
                    <a:lnTo>
                      <a:pt x="900" y="1996"/>
                    </a:lnTo>
                    <a:lnTo>
                      <a:pt x="893" y="1992"/>
                    </a:lnTo>
                    <a:lnTo>
                      <a:pt x="886" y="1985"/>
                    </a:lnTo>
                    <a:lnTo>
                      <a:pt x="880" y="1975"/>
                    </a:lnTo>
                    <a:lnTo>
                      <a:pt x="875" y="1962"/>
                    </a:lnTo>
                    <a:lnTo>
                      <a:pt x="871" y="1945"/>
                    </a:lnTo>
                    <a:lnTo>
                      <a:pt x="870" y="1923"/>
                    </a:lnTo>
                    <a:lnTo>
                      <a:pt x="870" y="1923"/>
                    </a:lnTo>
                    <a:lnTo>
                      <a:pt x="871" y="1904"/>
                    </a:lnTo>
                    <a:lnTo>
                      <a:pt x="875" y="1889"/>
                    </a:lnTo>
                    <a:lnTo>
                      <a:pt x="880" y="1877"/>
                    </a:lnTo>
                    <a:lnTo>
                      <a:pt x="886" y="1868"/>
                    </a:lnTo>
                    <a:lnTo>
                      <a:pt x="892" y="1861"/>
                    </a:lnTo>
                    <a:lnTo>
                      <a:pt x="900" y="1857"/>
                    </a:lnTo>
                    <a:lnTo>
                      <a:pt x="908" y="1855"/>
                    </a:lnTo>
                    <a:lnTo>
                      <a:pt x="916" y="1855"/>
                    </a:lnTo>
                    <a:lnTo>
                      <a:pt x="916" y="1855"/>
                    </a:lnTo>
                    <a:lnTo>
                      <a:pt x="924" y="1855"/>
                    </a:lnTo>
                    <a:lnTo>
                      <a:pt x="931" y="1857"/>
                    </a:lnTo>
                    <a:lnTo>
                      <a:pt x="938" y="1860"/>
                    </a:lnTo>
                    <a:lnTo>
                      <a:pt x="943" y="1863"/>
                    </a:lnTo>
                    <a:lnTo>
                      <a:pt x="948" y="1867"/>
                    </a:lnTo>
                    <a:lnTo>
                      <a:pt x="953" y="1871"/>
                    </a:lnTo>
                    <a:lnTo>
                      <a:pt x="959" y="1879"/>
                    </a:lnTo>
                    <a:lnTo>
                      <a:pt x="959" y="1975"/>
                    </a:lnTo>
                    <a:lnTo>
                      <a:pt x="959" y="1975"/>
                    </a:lnTo>
                    <a:lnTo>
                      <a:pt x="951" y="1984"/>
                    </a:lnTo>
                    <a:lnTo>
                      <a:pt x="943" y="1991"/>
                    </a:lnTo>
                    <a:lnTo>
                      <a:pt x="938" y="1995"/>
                    </a:lnTo>
                    <a:lnTo>
                      <a:pt x="931" y="1997"/>
                    </a:lnTo>
                    <a:lnTo>
                      <a:pt x="925" y="1998"/>
                    </a:lnTo>
                    <a:lnTo>
                      <a:pt x="916" y="2000"/>
                    </a:lnTo>
                    <a:lnTo>
                      <a:pt x="916" y="2000"/>
                    </a:lnTo>
                    <a:close/>
                    <a:moveTo>
                      <a:pt x="2278" y="1799"/>
                    </a:moveTo>
                    <a:lnTo>
                      <a:pt x="2278" y="1799"/>
                    </a:lnTo>
                    <a:lnTo>
                      <a:pt x="2272" y="1800"/>
                    </a:lnTo>
                    <a:lnTo>
                      <a:pt x="2265" y="1801"/>
                    </a:lnTo>
                    <a:lnTo>
                      <a:pt x="2250" y="1805"/>
                    </a:lnTo>
                    <a:lnTo>
                      <a:pt x="2237" y="1812"/>
                    </a:lnTo>
                    <a:lnTo>
                      <a:pt x="2225" y="1822"/>
                    </a:lnTo>
                    <a:lnTo>
                      <a:pt x="2225" y="1709"/>
                    </a:lnTo>
                    <a:lnTo>
                      <a:pt x="2164" y="1739"/>
                    </a:lnTo>
                    <a:lnTo>
                      <a:pt x="2164" y="2049"/>
                    </a:lnTo>
                    <a:lnTo>
                      <a:pt x="2225" y="2049"/>
                    </a:lnTo>
                    <a:lnTo>
                      <a:pt x="2225" y="2031"/>
                    </a:lnTo>
                    <a:lnTo>
                      <a:pt x="2225" y="2031"/>
                    </a:lnTo>
                    <a:lnTo>
                      <a:pt x="2230" y="2037"/>
                    </a:lnTo>
                    <a:lnTo>
                      <a:pt x="2237" y="2042"/>
                    </a:lnTo>
                    <a:lnTo>
                      <a:pt x="2243" y="2046"/>
                    </a:lnTo>
                    <a:lnTo>
                      <a:pt x="2250" y="2049"/>
                    </a:lnTo>
                    <a:lnTo>
                      <a:pt x="2257" y="2052"/>
                    </a:lnTo>
                    <a:lnTo>
                      <a:pt x="2265" y="2053"/>
                    </a:lnTo>
                    <a:lnTo>
                      <a:pt x="2272" y="2054"/>
                    </a:lnTo>
                    <a:lnTo>
                      <a:pt x="2280" y="2055"/>
                    </a:lnTo>
                    <a:lnTo>
                      <a:pt x="2280" y="2055"/>
                    </a:lnTo>
                    <a:lnTo>
                      <a:pt x="2291" y="2054"/>
                    </a:lnTo>
                    <a:lnTo>
                      <a:pt x="2302" y="2053"/>
                    </a:lnTo>
                    <a:lnTo>
                      <a:pt x="2311" y="2051"/>
                    </a:lnTo>
                    <a:lnTo>
                      <a:pt x="2321" y="2046"/>
                    </a:lnTo>
                    <a:lnTo>
                      <a:pt x="2329" y="2041"/>
                    </a:lnTo>
                    <a:lnTo>
                      <a:pt x="2337" y="2036"/>
                    </a:lnTo>
                    <a:lnTo>
                      <a:pt x="2344" y="2029"/>
                    </a:lnTo>
                    <a:lnTo>
                      <a:pt x="2350" y="2021"/>
                    </a:lnTo>
                    <a:lnTo>
                      <a:pt x="2356" y="2012"/>
                    </a:lnTo>
                    <a:lnTo>
                      <a:pt x="2361" y="2002"/>
                    </a:lnTo>
                    <a:lnTo>
                      <a:pt x="2365" y="1991"/>
                    </a:lnTo>
                    <a:lnTo>
                      <a:pt x="2368" y="1980"/>
                    </a:lnTo>
                    <a:lnTo>
                      <a:pt x="2372" y="1968"/>
                    </a:lnTo>
                    <a:lnTo>
                      <a:pt x="2373" y="1955"/>
                    </a:lnTo>
                    <a:lnTo>
                      <a:pt x="2374" y="1940"/>
                    </a:lnTo>
                    <a:lnTo>
                      <a:pt x="2376" y="1924"/>
                    </a:lnTo>
                    <a:lnTo>
                      <a:pt x="2376" y="1924"/>
                    </a:lnTo>
                    <a:lnTo>
                      <a:pt x="2374" y="1911"/>
                    </a:lnTo>
                    <a:lnTo>
                      <a:pt x="2373" y="1897"/>
                    </a:lnTo>
                    <a:lnTo>
                      <a:pt x="2371" y="1884"/>
                    </a:lnTo>
                    <a:lnTo>
                      <a:pt x="2368" y="1872"/>
                    </a:lnTo>
                    <a:lnTo>
                      <a:pt x="2365" y="1861"/>
                    </a:lnTo>
                    <a:lnTo>
                      <a:pt x="2360" y="1851"/>
                    </a:lnTo>
                    <a:lnTo>
                      <a:pt x="2355" y="1842"/>
                    </a:lnTo>
                    <a:lnTo>
                      <a:pt x="2349" y="1833"/>
                    </a:lnTo>
                    <a:lnTo>
                      <a:pt x="2343" y="1826"/>
                    </a:lnTo>
                    <a:lnTo>
                      <a:pt x="2336" y="1818"/>
                    </a:lnTo>
                    <a:lnTo>
                      <a:pt x="2327" y="1812"/>
                    </a:lnTo>
                    <a:lnTo>
                      <a:pt x="2319" y="1807"/>
                    </a:lnTo>
                    <a:lnTo>
                      <a:pt x="2310" y="1804"/>
                    </a:lnTo>
                    <a:lnTo>
                      <a:pt x="2300" y="1801"/>
                    </a:lnTo>
                    <a:lnTo>
                      <a:pt x="2289" y="1800"/>
                    </a:lnTo>
                    <a:lnTo>
                      <a:pt x="2278" y="1799"/>
                    </a:lnTo>
                    <a:lnTo>
                      <a:pt x="2278" y="1799"/>
                    </a:lnTo>
                    <a:close/>
                    <a:moveTo>
                      <a:pt x="2267" y="1855"/>
                    </a:moveTo>
                    <a:lnTo>
                      <a:pt x="2267" y="1855"/>
                    </a:lnTo>
                    <a:lnTo>
                      <a:pt x="2276" y="1856"/>
                    </a:lnTo>
                    <a:lnTo>
                      <a:pt x="2284" y="1859"/>
                    </a:lnTo>
                    <a:lnTo>
                      <a:pt x="2292" y="1863"/>
                    </a:lnTo>
                    <a:lnTo>
                      <a:pt x="2299" y="1871"/>
                    </a:lnTo>
                    <a:lnTo>
                      <a:pt x="2305" y="1879"/>
                    </a:lnTo>
                    <a:lnTo>
                      <a:pt x="2309" y="1891"/>
                    </a:lnTo>
                    <a:lnTo>
                      <a:pt x="2312" y="1906"/>
                    </a:lnTo>
                    <a:lnTo>
                      <a:pt x="2314" y="1923"/>
                    </a:lnTo>
                    <a:lnTo>
                      <a:pt x="2314" y="1923"/>
                    </a:lnTo>
                    <a:lnTo>
                      <a:pt x="2312" y="1941"/>
                    </a:lnTo>
                    <a:lnTo>
                      <a:pt x="2310" y="1957"/>
                    </a:lnTo>
                    <a:lnTo>
                      <a:pt x="2308" y="1969"/>
                    </a:lnTo>
                    <a:lnTo>
                      <a:pt x="2303" y="1980"/>
                    </a:lnTo>
                    <a:lnTo>
                      <a:pt x="2295" y="1989"/>
                    </a:lnTo>
                    <a:lnTo>
                      <a:pt x="2288" y="1995"/>
                    </a:lnTo>
                    <a:lnTo>
                      <a:pt x="2280" y="1998"/>
                    </a:lnTo>
                    <a:lnTo>
                      <a:pt x="2269" y="2000"/>
                    </a:lnTo>
                    <a:lnTo>
                      <a:pt x="2269" y="2000"/>
                    </a:lnTo>
                    <a:lnTo>
                      <a:pt x="2260" y="1998"/>
                    </a:lnTo>
                    <a:lnTo>
                      <a:pt x="2253" y="1997"/>
                    </a:lnTo>
                    <a:lnTo>
                      <a:pt x="2247" y="1993"/>
                    </a:lnTo>
                    <a:lnTo>
                      <a:pt x="2241" y="1991"/>
                    </a:lnTo>
                    <a:lnTo>
                      <a:pt x="2231" y="1983"/>
                    </a:lnTo>
                    <a:lnTo>
                      <a:pt x="2225" y="1976"/>
                    </a:lnTo>
                    <a:lnTo>
                      <a:pt x="2225" y="1879"/>
                    </a:lnTo>
                    <a:lnTo>
                      <a:pt x="2225" y="1879"/>
                    </a:lnTo>
                    <a:lnTo>
                      <a:pt x="2229" y="1874"/>
                    </a:lnTo>
                    <a:lnTo>
                      <a:pt x="2233" y="1869"/>
                    </a:lnTo>
                    <a:lnTo>
                      <a:pt x="2238" y="1865"/>
                    </a:lnTo>
                    <a:lnTo>
                      <a:pt x="2243" y="1861"/>
                    </a:lnTo>
                    <a:lnTo>
                      <a:pt x="2249" y="1859"/>
                    </a:lnTo>
                    <a:lnTo>
                      <a:pt x="2255" y="1856"/>
                    </a:lnTo>
                    <a:lnTo>
                      <a:pt x="2261" y="1855"/>
                    </a:lnTo>
                    <a:lnTo>
                      <a:pt x="2267" y="1855"/>
                    </a:lnTo>
                    <a:lnTo>
                      <a:pt x="2267" y="1855"/>
                    </a:lnTo>
                    <a:close/>
                    <a:moveTo>
                      <a:pt x="1591" y="1822"/>
                    </a:moveTo>
                    <a:lnTo>
                      <a:pt x="1591" y="1822"/>
                    </a:lnTo>
                    <a:lnTo>
                      <a:pt x="1586" y="1817"/>
                    </a:lnTo>
                    <a:lnTo>
                      <a:pt x="1580" y="1812"/>
                    </a:lnTo>
                    <a:lnTo>
                      <a:pt x="1572" y="1809"/>
                    </a:lnTo>
                    <a:lnTo>
                      <a:pt x="1566" y="1805"/>
                    </a:lnTo>
                    <a:lnTo>
                      <a:pt x="1559" y="1803"/>
                    </a:lnTo>
                    <a:lnTo>
                      <a:pt x="1552" y="1800"/>
                    </a:lnTo>
                    <a:lnTo>
                      <a:pt x="1544" y="1800"/>
                    </a:lnTo>
                    <a:lnTo>
                      <a:pt x="1537" y="1799"/>
                    </a:lnTo>
                    <a:lnTo>
                      <a:pt x="1537" y="1799"/>
                    </a:lnTo>
                    <a:lnTo>
                      <a:pt x="1526" y="1800"/>
                    </a:lnTo>
                    <a:lnTo>
                      <a:pt x="1515" y="1801"/>
                    </a:lnTo>
                    <a:lnTo>
                      <a:pt x="1506" y="1804"/>
                    </a:lnTo>
                    <a:lnTo>
                      <a:pt x="1497" y="1807"/>
                    </a:lnTo>
                    <a:lnTo>
                      <a:pt x="1489" y="1812"/>
                    </a:lnTo>
                    <a:lnTo>
                      <a:pt x="1480" y="1818"/>
                    </a:lnTo>
                    <a:lnTo>
                      <a:pt x="1473" y="1826"/>
                    </a:lnTo>
                    <a:lnTo>
                      <a:pt x="1467" y="1833"/>
                    </a:lnTo>
                    <a:lnTo>
                      <a:pt x="1461" y="1842"/>
                    </a:lnTo>
                    <a:lnTo>
                      <a:pt x="1456" y="1851"/>
                    </a:lnTo>
                    <a:lnTo>
                      <a:pt x="1451" y="1861"/>
                    </a:lnTo>
                    <a:lnTo>
                      <a:pt x="1447" y="1872"/>
                    </a:lnTo>
                    <a:lnTo>
                      <a:pt x="1445" y="1884"/>
                    </a:lnTo>
                    <a:lnTo>
                      <a:pt x="1442" y="1897"/>
                    </a:lnTo>
                    <a:lnTo>
                      <a:pt x="1441" y="1911"/>
                    </a:lnTo>
                    <a:lnTo>
                      <a:pt x="1441" y="1924"/>
                    </a:lnTo>
                    <a:lnTo>
                      <a:pt x="1441" y="1924"/>
                    </a:lnTo>
                    <a:lnTo>
                      <a:pt x="1441" y="1940"/>
                    </a:lnTo>
                    <a:lnTo>
                      <a:pt x="1442" y="1953"/>
                    </a:lnTo>
                    <a:lnTo>
                      <a:pt x="1445" y="1967"/>
                    </a:lnTo>
                    <a:lnTo>
                      <a:pt x="1447" y="1979"/>
                    </a:lnTo>
                    <a:lnTo>
                      <a:pt x="1451" y="1991"/>
                    </a:lnTo>
                    <a:lnTo>
                      <a:pt x="1455" y="2002"/>
                    </a:lnTo>
                    <a:lnTo>
                      <a:pt x="1461" y="2012"/>
                    </a:lnTo>
                    <a:lnTo>
                      <a:pt x="1465" y="2020"/>
                    </a:lnTo>
                    <a:lnTo>
                      <a:pt x="1473" y="2029"/>
                    </a:lnTo>
                    <a:lnTo>
                      <a:pt x="1479" y="2035"/>
                    </a:lnTo>
                    <a:lnTo>
                      <a:pt x="1487" y="2041"/>
                    </a:lnTo>
                    <a:lnTo>
                      <a:pt x="1496" y="2046"/>
                    </a:lnTo>
                    <a:lnTo>
                      <a:pt x="1504" y="2049"/>
                    </a:lnTo>
                    <a:lnTo>
                      <a:pt x="1514" y="2053"/>
                    </a:lnTo>
                    <a:lnTo>
                      <a:pt x="1525" y="2054"/>
                    </a:lnTo>
                    <a:lnTo>
                      <a:pt x="1536" y="2054"/>
                    </a:lnTo>
                    <a:lnTo>
                      <a:pt x="1536" y="2054"/>
                    </a:lnTo>
                    <a:lnTo>
                      <a:pt x="1543" y="2054"/>
                    </a:lnTo>
                    <a:lnTo>
                      <a:pt x="1551" y="2053"/>
                    </a:lnTo>
                    <a:lnTo>
                      <a:pt x="1558" y="2052"/>
                    </a:lnTo>
                    <a:lnTo>
                      <a:pt x="1565" y="2049"/>
                    </a:lnTo>
                    <a:lnTo>
                      <a:pt x="1572" y="2046"/>
                    </a:lnTo>
                    <a:lnTo>
                      <a:pt x="1578" y="2041"/>
                    </a:lnTo>
                    <a:lnTo>
                      <a:pt x="1585" y="2037"/>
                    </a:lnTo>
                    <a:lnTo>
                      <a:pt x="1591" y="2031"/>
                    </a:lnTo>
                    <a:lnTo>
                      <a:pt x="1591" y="2037"/>
                    </a:lnTo>
                    <a:lnTo>
                      <a:pt x="1591" y="2037"/>
                    </a:lnTo>
                    <a:lnTo>
                      <a:pt x="1591" y="2047"/>
                    </a:lnTo>
                    <a:lnTo>
                      <a:pt x="1589" y="2058"/>
                    </a:lnTo>
                    <a:lnTo>
                      <a:pt x="1587" y="2069"/>
                    </a:lnTo>
                    <a:lnTo>
                      <a:pt x="1585" y="2074"/>
                    </a:lnTo>
                    <a:lnTo>
                      <a:pt x="1581" y="2079"/>
                    </a:lnTo>
                    <a:lnTo>
                      <a:pt x="1577" y="2083"/>
                    </a:lnTo>
                    <a:lnTo>
                      <a:pt x="1572" y="2088"/>
                    </a:lnTo>
                    <a:lnTo>
                      <a:pt x="1565" y="2092"/>
                    </a:lnTo>
                    <a:lnTo>
                      <a:pt x="1558" y="2094"/>
                    </a:lnTo>
                    <a:lnTo>
                      <a:pt x="1549" y="2098"/>
                    </a:lnTo>
                    <a:lnTo>
                      <a:pt x="1538" y="2099"/>
                    </a:lnTo>
                    <a:lnTo>
                      <a:pt x="1526" y="2102"/>
                    </a:lnTo>
                    <a:lnTo>
                      <a:pt x="1513" y="2102"/>
                    </a:lnTo>
                    <a:lnTo>
                      <a:pt x="1510" y="2102"/>
                    </a:lnTo>
                    <a:lnTo>
                      <a:pt x="1531" y="2149"/>
                    </a:lnTo>
                    <a:lnTo>
                      <a:pt x="1532" y="2149"/>
                    </a:lnTo>
                    <a:lnTo>
                      <a:pt x="1532" y="2149"/>
                    </a:lnTo>
                    <a:lnTo>
                      <a:pt x="1547" y="2149"/>
                    </a:lnTo>
                    <a:lnTo>
                      <a:pt x="1560" y="2147"/>
                    </a:lnTo>
                    <a:lnTo>
                      <a:pt x="1574" y="2144"/>
                    </a:lnTo>
                    <a:lnTo>
                      <a:pt x="1585" y="2141"/>
                    </a:lnTo>
                    <a:lnTo>
                      <a:pt x="1595" y="2137"/>
                    </a:lnTo>
                    <a:lnTo>
                      <a:pt x="1605" y="2132"/>
                    </a:lnTo>
                    <a:lnTo>
                      <a:pt x="1614" y="2125"/>
                    </a:lnTo>
                    <a:lnTo>
                      <a:pt x="1622" y="2119"/>
                    </a:lnTo>
                    <a:lnTo>
                      <a:pt x="1630" y="2110"/>
                    </a:lnTo>
                    <a:lnTo>
                      <a:pt x="1634" y="2100"/>
                    </a:lnTo>
                    <a:lnTo>
                      <a:pt x="1640" y="2091"/>
                    </a:lnTo>
                    <a:lnTo>
                      <a:pt x="1644" y="2080"/>
                    </a:lnTo>
                    <a:lnTo>
                      <a:pt x="1648" y="2068"/>
                    </a:lnTo>
                    <a:lnTo>
                      <a:pt x="1650" y="2055"/>
                    </a:lnTo>
                    <a:lnTo>
                      <a:pt x="1651" y="2042"/>
                    </a:lnTo>
                    <a:lnTo>
                      <a:pt x="1651" y="2026"/>
                    </a:lnTo>
                    <a:lnTo>
                      <a:pt x="1651" y="1805"/>
                    </a:lnTo>
                    <a:lnTo>
                      <a:pt x="1591" y="1805"/>
                    </a:lnTo>
                    <a:lnTo>
                      <a:pt x="1591" y="1822"/>
                    </a:lnTo>
                    <a:close/>
                    <a:moveTo>
                      <a:pt x="1591" y="1879"/>
                    </a:moveTo>
                    <a:lnTo>
                      <a:pt x="1591" y="1975"/>
                    </a:lnTo>
                    <a:lnTo>
                      <a:pt x="1591" y="1975"/>
                    </a:lnTo>
                    <a:lnTo>
                      <a:pt x="1583" y="1984"/>
                    </a:lnTo>
                    <a:lnTo>
                      <a:pt x="1574" y="1992"/>
                    </a:lnTo>
                    <a:lnTo>
                      <a:pt x="1569" y="1995"/>
                    </a:lnTo>
                    <a:lnTo>
                      <a:pt x="1563" y="1997"/>
                    </a:lnTo>
                    <a:lnTo>
                      <a:pt x="1555" y="1998"/>
                    </a:lnTo>
                    <a:lnTo>
                      <a:pt x="1548" y="2000"/>
                    </a:lnTo>
                    <a:lnTo>
                      <a:pt x="1548" y="2000"/>
                    </a:lnTo>
                    <a:lnTo>
                      <a:pt x="1540" y="1998"/>
                    </a:lnTo>
                    <a:lnTo>
                      <a:pt x="1532" y="1996"/>
                    </a:lnTo>
                    <a:lnTo>
                      <a:pt x="1524" y="1991"/>
                    </a:lnTo>
                    <a:lnTo>
                      <a:pt x="1518" y="1985"/>
                    </a:lnTo>
                    <a:lnTo>
                      <a:pt x="1512" y="1975"/>
                    </a:lnTo>
                    <a:lnTo>
                      <a:pt x="1507" y="1962"/>
                    </a:lnTo>
                    <a:lnTo>
                      <a:pt x="1503" y="1945"/>
                    </a:lnTo>
                    <a:lnTo>
                      <a:pt x="1502" y="1923"/>
                    </a:lnTo>
                    <a:lnTo>
                      <a:pt x="1502" y="1923"/>
                    </a:lnTo>
                    <a:lnTo>
                      <a:pt x="1503" y="1904"/>
                    </a:lnTo>
                    <a:lnTo>
                      <a:pt x="1507" y="1889"/>
                    </a:lnTo>
                    <a:lnTo>
                      <a:pt x="1512" y="1877"/>
                    </a:lnTo>
                    <a:lnTo>
                      <a:pt x="1518" y="1868"/>
                    </a:lnTo>
                    <a:lnTo>
                      <a:pt x="1524" y="1861"/>
                    </a:lnTo>
                    <a:lnTo>
                      <a:pt x="1532" y="1857"/>
                    </a:lnTo>
                    <a:lnTo>
                      <a:pt x="1540" y="1855"/>
                    </a:lnTo>
                    <a:lnTo>
                      <a:pt x="1548" y="1855"/>
                    </a:lnTo>
                    <a:lnTo>
                      <a:pt x="1548" y="1855"/>
                    </a:lnTo>
                    <a:lnTo>
                      <a:pt x="1555" y="1855"/>
                    </a:lnTo>
                    <a:lnTo>
                      <a:pt x="1563" y="1857"/>
                    </a:lnTo>
                    <a:lnTo>
                      <a:pt x="1570" y="1860"/>
                    </a:lnTo>
                    <a:lnTo>
                      <a:pt x="1575" y="1862"/>
                    </a:lnTo>
                    <a:lnTo>
                      <a:pt x="1580" y="1867"/>
                    </a:lnTo>
                    <a:lnTo>
                      <a:pt x="1585" y="1871"/>
                    </a:lnTo>
                    <a:lnTo>
                      <a:pt x="1591" y="1879"/>
                    </a:lnTo>
                    <a:lnTo>
                      <a:pt x="1591" y="1879"/>
                    </a:lnTo>
                    <a:close/>
                    <a:moveTo>
                      <a:pt x="1840" y="1865"/>
                    </a:moveTo>
                    <a:lnTo>
                      <a:pt x="1840" y="1865"/>
                    </a:lnTo>
                    <a:lnTo>
                      <a:pt x="1854" y="1857"/>
                    </a:lnTo>
                    <a:lnTo>
                      <a:pt x="1869" y="1852"/>
                    </a:lnTo>
                    <a:lnTo>
                      <a:pt x="1885" y="1849"/>
                    </a:lnTo>
                    <a:lnTo>
                      <a:pt x="1902" y="1848"/>
                    </a:lnTo>
                    <a:lnTo>
                      <a:pt x="1902" y="1848"/>
                    </a:lnTo>
                    <a:lnTo>
                      <a:pt x="1913" y="1849"/>
                    </a:lnTo>
                    <a:lnTo>
                      <a:pt x="1921" y="1850"/>
                    </a:lnTo>
                    <a:lnTo>
                      <a:pt x="1928" y="1852"/>
                    </a:lnTo>
                    <a:lnTo>
                      <a:pt x="1935" y="1857"/>
                    </a:lnTo>
                    <a:lnTo>
                      <a:pt x="1939" y="1862"/>
                    </a:lnTo>
                    <a:lnTo>
                      <a:pt x="1943" y="1868"/>
                    </a:lnTo>
                    <a:lnTo>
                      <a:pt x="1945" y="1874"/>
                    </a:lnTo>
                    <a:lnTo>
                      <a:pt x="1945" y="1883"/>
                    </a:lnTo>
                    <a:lnTo>
                      <a:pt x="1945" y="1900"/>
                    </a:lnTo>
                    <a:lnTo>
                      <a:pt x="1945" y="1900"/>
                    </a:lnTo>
                    <a:lnTo>
                      <a:pt x="1935" y="1895"/>
                    </a:lnTo>
                    <a:lnTo>
                      <a:pt x="1921" y="1891"/>
                    </a:lnTo>
                    <a:lnTo>
                      <a:pt x="1908" y="1889"/>
                    </a:lnTo>
                    <a:lnTo>
                      <a:pt x="1893" y="1888"/>
                    </a:lnTo>
                    <a:lnTo>
                      <a:pt x="1893" y="1888"/>
                    </a:lnTo>
                    <a:lnTo>
                      <a:pt x="1876" y="1889"/>
                    </a:lnTo>
                    <a:lnTo>
                      <a:pt x="1859" y="1893"/>
                    </a:lnTo>
                    <a:lnTo>
                      <a:pt x="1843" y="1897"/>
                    </a:lnTo>
                    <a:lnTo>
                      <a:pt x="1835" y="1901"/>
                    </a:lnTo>
                    <a:lnTo>
                      <a:pt x="1828" y="1906"/>
                    </a:lnTo>
                    <a:lnTo>
                      <a:pt x="1822" y="1911"/>
                    </a:lnTo>
                    <a:lnTo>
                      <a:pt x="1815" y="1917"/>
                    </a:lnTo>
                    <a:lnTo>
                      <a:pt x="1809" y="1923"/>
                    </a:lnTo>
                    <a:lnTo>
                      <a:pt x="1805" y="1930"/>
                    </a:lnTo>
                    <a:lnTo>
                      <a:pt x="1801" y="1939"/>
                    </a:lnTo>
                    <a:lnTo>
                      <a:pt x="1798" y="1948"/>
                    </a:lnTo>
                    <a:lnTo>
                      <a:pt x="1797" y="1958"/>
                    </a:lnTo>
                    <a:lnTo>
                      <a:pt x="1796" y="1968"/>
                    </a:lnTo>
                    <a:lnTo>
                      <a:pt x="1796" y="1968"/>
                    </a:lnTo>
                    <a:lnTo>
                      <a:pt x="1797" y="1980"/>
                    </a:lnTo>
                    <a:lnTo>
                      <a:pt x="1798" y="1991"/>
                    </a:lnTo>
                    <a:lnTo>
                      <a:pt x="1801" y="2000"/>
                    </a:lnTo>
                    <a:lnTo>
                      <a:pt x="1805" y="2009"/>
                    </a:lnTo>
                    <a:lnTo>
                      <a:pt x="1808" y="2017"/>
                    </a:lnTo>
                    <a:lnTo>
                      <a:pt x="1814" y="2024"/>
                    </a:lnTo>
                    <a:lnTo>
                      <a:pt x="1819" y="2030"/>
                    </a:lnTo>
                    <a:lnTo>
                      <a:pt x="1826" y="2036"/>
                    </a:lnTo>
                    <a:lnTo>
                      <a:pt x="1832" y="2041"/>
                    </a:lnTo>
                    <a:lnTo>
                      <a:pt x="1840" y="2045"/>
                    </a:lnTo>
                    <a:lnTo>
                      <a:pt x="1856" y="2051"/>
                    </a:lnTo>
                    <a:lnTo>
                      <a:pt x="1871" y="2054"/>
                    </a:lnTo>
                    <a:lnTo>
                      <a:pt x="1887" y="2055"/>
                    </a:lnTo>
                    <a:lnTo>
                      <a:pt x="1887" y="2055"/>
                    </a:lnTo>
                    <a:lnTo>
                      <a:pt x="1901" y="2053"/>
                    </a:lnTo>
                    <a:lnTo>
                      <a:pt x="1909" y="2052"/>
                    </a:lnTo>
                    <a:lnTo>
                      <a:pt x="1916" y="2049"/>
                    </a:lnTo>
                    <a:lnTo>
                      <a:pt x="1925" y="2046"/>
                    </a:lnTo>
                    <a:lnTo>
                      <a:pt x="1932" y="2041"/>
                    </a:lnTo>
                    <a:lnTo>
                      <a:pt x="1939" y="2036"/>
                    </a:lnTo>
                    <a:lnTo>
                      <a:pt x="1945" y="2030"/>
                    </a:lnTo>
                    <a:lnTo>
                      <a:pt x="1945" y="2049"/>
                    </a:lnTo>
                    <a:lnTo>
                      <a:pt x="2006" y="2049"/>
                    </a:lnTo>
                    <a:lnTo>
                      <a:pt x="2006" y="1884"/>
                    </a:lnTo>
                    <a:lnTo>
                      <a:pt x="2006" y="1884"/>
                    </a:lnTo>
                    <a:lnTo>
                      <a:pt x="2006" y="1874"/>
                    </a:lnTo>
                    <a:lnTo>
                      <a:pt x="2005" y="1866"/>
                    </a:lnTo>
                    <a:lnTo>
                      <a:pt x="2003" y="1857"/>
                    </a:lnTo>
                    <a:lnTo>
                      <a:pt x="2000" y="1849"/>
                    </a:lnTo>
                    <a:lnTo>
                      <a:pt x="1995" y="1842"/>
                    </a:lnTo>
                    <a:lnTo>
                      <a:pt x="1992" y="1834"/>
                    </a:lnTo>
                    <a:lnTo>
                      <a:pt x="1986" y="1828"/>
                    </a:lnTo>
                    <a:lnTo>
                      <a:pt x="1979" y="1822"/>
                    </a:lnTo>
                    <a:lnTo>
                      <a:pt x="1973" y="1817"/>
                    </a:lnTo>
                    <a:lnTo>
                      <a:pt x="1966" y="1812"/>
                    </a:lnTo>
                    <a:lnTo>
                      <a:pt x="1958" y="1809"/>
                    </a:lnTo>
                    <a:lnTo>
                      <a:pt x="1949" y="1805"/>
                    </a:lnTo>
                    <a:lnTo>
                      <a:pt x="1939" y="1803"/>
                    </a:lnTo>
                    <a:lnTo>
                      <a:pt x="1930" y="1801"/>
                    </a:lnTo>
                    <a:lnTo>
                      <a:pt x="1919" y="1800"/>
                    </a:lnTo>
                    <a:lnTo>
                      <a:pt x="1908" y="1799"/>
                    </a:lnTo>
                    <a:lnTo>
                      <a:pt x="1908" y="1799"/>
                    </a:lnTo>
                    <a:lnTo>
                      <a:pt x="1894" y="1800"/>
                    </a:lnTo>
                    <a:lnTo>
                      <a:pt x="1883" y="1800"/>
                    </a:lnTo>
                    <a:lnTo>
                      <a:pt x="1871" y="1803"/>
                    </a:lnTo>
                    <a:lnTo>
                      <a:pt x="1859" y="1805"/>
                    </a:lnTo>
                    <a:lnTo>
                      <a:pt x="1848" y="1809"/>
                    </a:lnTo>
                    <a:lnTo>
                      <a:pt x="1837" y="1812"/>
                    </a:lnTo>
                    <a:lnTo>
                      <a:pt x="1826" y="1817"/>
                    </a:lnTo>
                    <a:lnTo>
                      <a:pt x="1815" y="1823"/>
                    </a:lnTo>
                    <a:lnTo>
                      <a:pt x="1840" y="1865"/>
                    </a:lnTo>
                    <a:close/>
                    <a:moveTo>
                      <a:pt x="1857" y="1968"/>
                    </a:moveTo>
                    <a:lnTo>
                      <a:pt x="1857" y="1968"/>
                    </a:lnTo>
                    <a:lnTo>
                      <a:pt x="1857" y="1961"/>
                    </a:lnTo>
                    <a:lnTo>
                      <a:pt x="1859" y="1953"/>
                    </a:lnTo>
                    <a:lnTo>
                      <a:pt x="1863" y="1947"/>
                    </a:lnTo>
                    <a:lnTo>
                      <a:pt x="1868" y="1942"/>
                    </a:lnTo>
                    <a:lnTo>
                      <a:pt x="1874" y="1939"/>
                    </a:lnTo>
                    <a:lnTo>
                      <a:pt x="1881" y="1936"/>
                    </a:lnTo>
                    <a:lnTo>
                      <a:pt x="1890" y="1934"/>
                    </a:lnTo>
                    <a:lnTo>
                      <a:pt x="1898" y="1934"/>
                    </a:lnTo>
                    <a:lnTo>
                      <a:pt x="1898" y="1934"/>
                    </a:lnTo>
                    <a:lnTo>
                      <a:pt x="1911" y="1934"/>
                    </a:lnTo>
                    <a:lnTo>
                      <a:pt x="1924" y="1936"/>
                    </a:lnTo>
                    <a:lnTo>
                      <a:pt x="1935" y="1940"/>
                    </a:lnTo>
                    <a:lnTo>
                      <a:pt x="1945" y="1946"/>
                    </a:lnTo>
                    <a:lnTo>
                      <a:pt x="1945" y="1979"/>
                    </a:lnTo>
                    <a:lnTo>
                      <a:pt x="1945" y="1979"/>
                    </a:lnTo>
                    <a:lnTo>
                      <a:pt x="1943" y="1984"/>
                    </a:lnTo>
                    <a:lnTo>
                      <a:pt x="1938" y="1989"/>
                    </a:lnTo>
                    <a:lnTo>
                      <a:pt x="1933" y="1993"/>
                    </a:lnTo>
                    <a:lnTo>
                      <a:pt x="1927" y="1997"/>
                    </a:lnTo>
                    <a:lnTo>
                      <a:pt x="1921" y="2001"/>
                    </a:lnTo>
                    <a:lnTo>
                      <a:pt x="1914" y="2003"/>
                    </a:lnTo>
                    <a:lnTo>
                      <a:pt x="1907" y="2004"/>
                    </a:lnTo>
                    <a:lnTo>
                      <a:pt x="1898" y="2006"/>
                    </a:lnTo>
                    <a:lnTo>
                      <a:pt x="1898" y="2006"/>
                    </a:lnTo>
                    <a:lnTo>
                      <a:pt x="1890" y="2004"/>
                    </a:lnTo>
                    <a:lnTo>
                      <a:pt x="1881" y="2002"/>
                    </a:lnTo>
                    <a:lnTo>
                      <a:pt x="1874" y="2000"/>
                    </a:lnTo>
                    <a:lnTo>
                      <a:pt x="1868" y="1995"/>
                    </a:lnTo>
                    <a:lnTo>
                      <a:pt x="1863" y="1990"/>
                    </a:lnTo>
                    <a:lnTo>
                      <a:pt x="1859" y="1984"/>
                    </a:lnTo>
                    <a:lnTo>
                      <a:pt x="1858" y="1976"/>
                    </a:lnTo>
                    <a:lnTo>
                      <a:pt x="1857" y="1968"/>
                    </a:lnTo>
                    <a:lnTo>
                      <a:pt x="1857" y="1968"/>
                    </a:lnTo>
                    <a:close/>
                    <a:moveTo>
                      <a:pt x="2569" y="1979"/>
                    </a:moveTo>
                    <a:lnTo>
                      <a:pt x="2569" y="1979"/>
                    </a:lnTo>
                    <a:lnTo>
                      <a:pt x="2560" y="1986"/>
                    </a:lnTo>
                    <a:lnTo>
                      <a:pt x="2549" y="1992"/>
                    </a:lnTo>
                    <a:lnTo>
                      <a:pt x="2543" y="1995"/>
                    </a:lnTo>
                    <a:lnTo>
                      <a:pt x="2536" y="1997"/>
                    </a:lnTo>
                    <a:lnTo>
                      <a:pt x="2529" y="1998"/>
                    </a:lnTo>
                    <a:lnTo>
                      <a:pt x="2521" y="2000"/>
                    </a:lnTo>
                    <a:lnTo>
                      <a:pt x="2521" y="2000"/>
                    </a:lnTo>
                    <a:lnTo>
                      <a:pt x="2515" y="1998"/>
                    </a:lnTo>
                    <a:lnTo>
                      <a:pt x="2508" y="1998"/>
                    </a:lnTo>
                    <a:lnTo>
                      <a:pt x="2500" y="1996"/>
                    </a:lnTo>
                    <a:lnTo>
                      <a:pt x="2490" y="1991"/>
                    </a:lnTo>
                    <a:lnTo>
                      <a:pt x="2481" y="1985"/>
                    </a:lnTo>
                    <a:lnTo>
                      <a:pt x="2478" y="1980"/>
                    </a:lnTo>
                    <a:lnTo>
                      <a:pt x="2474" y="1975"/>
                    </a:lnTo>
                    <a:lnTo>
                      <a:pt x="2472" y="1969"/>
                    </a:lnTo>
                    <a:lnTo>
                      <a:pt x="2469" y="1962"/>
                    </a:lnTo>
                    <a:lnTo>
                      <a:pt x="2468" y="1955"/>
                    </a:lnTo>
                    <a:lnTo>
                      <a:pt x="2467" y="1946"/>
                    </a:lnTo>
                    <a:lnTo>
                      <a:pt x="2616" y="1946"/>
                    </a:lnTo>
                    <a:lnTo>
                      <a:pt x="2616" y="1946"/>
                    </a:lnTo>
                    <a:lnTo>
                      <a:pt x="2617" y="1928"/>
                    </a:lnTo>
                    <a:lnTo>
                      <a:pt x="2617" y="1928"/>
                    </a:lnTo>
                    <a:lnTo>
                      <a:pt x="2617" y="1913"/>
                    </a:lnTo>
                    <a:lnTo>
                      <a:pt x="2615" y="1900"/>
                    </a:lnTo>
                    <a:lnTo>
                      <a:pt x="2614" y="1886"/>
                    </a:lnTo>
                    <a:lnTo>
                      <a:pt x="2610" y="1874"/>
                    </a:lnTo>
                    <a:lnTo>
                      <a:pt x="2607" y="1863"/>
                    </a:lnTo>
                    <a:lnTo>
                      <a:pt x="2602" y="1852"/>
                    </a:lnTo>
                    <a:lnTo>
                      <a:pt x="2596" y="1843"/>
                    </a:lnTo>
                    <a:lnTo>
                      <a:pt x="2589" y="1834"/>
                    </a:lnTo>
                    <a:lnTo>
                      <a:pt x="2582" y="1826"/>
                    </a:lnTo>
                    <a:lnTo>
                      <a:pt x="2575" y="1820"/>
                    </a:lnTo>
                    <a:lnTo>
                      <a:pt x="2566" y="1814"/>
                    </a:lnTo>
                    <a:lnTo>
                      <a:pt x="2557" y="1809"/>
                    </a:lnTo>
                    <a:lnTo>
                      <a:pt x="2547" y="1805"/>
                    </a:lnTo>
                    <a:lnTo>
                      <a:pt x="2537" y="1801"/>
                    </a:lnTo>
                    <a:lnTo>
                      <a:pt x="2526" y="1800"/>
                    </a:lnTo>
                    <a:lnTo>
                      <a:pt x="2514" y="1799"/>
                    </a:lnTo>
                    <a:lnTo>
                      <a:pt x="2514" y="1799"/>
                    </a:lnTo>
                    <a:lnTo>
                      <a:pt x="2503" y="1800"/>
                    </a:lnTo>
                    <a:lnTo>
                      <a:pt x="2492" y="1801"/>
                    </a:lnTo>
                    <a:lnTo>
                      <a:pt x="2481" y="1805"/>
                    </a:lnTo>
                    <a:lnTo>
                      <a:pt x="2470" y="1809"/>
                    </a:lnTo>
                    <a:lnTo>
                      <a:pt x="2461" y="1814"/>
                    </a:lnTo>
                    <a:lnTo>
                      <a:pt x="2452" y="1821"/>
                    </a:lnTo>
                    <a:lnTo>
                      <a:pt x="2444" y="1827"/>
                    </a:lnTo>
                    <a:lnTo>
                      <a:pt x="2436" y="1835"/>
                    </a:lnTo>
                    <a:lnTo>
                      <a:pt x="2429" y="1844"/>
                    </a:lnTo>
                    <a:lnTo>
                      <a:pt x="2423" y="1854"/>
                    </a:lnTo>
                    <a:lnTo>
                      <a:pt x="2418" y="1865"/>
                    </a:lnTo>
                    <a:lnTo>
                      <a:pt x="2413" y="1876"/>
                    </a:lnTo>
                    <a:lnTo>
                      <a:pt x="2410" y="1888"/>
                    </a:lnTo>
                    <a:lnTo>
                      <a:pt x="2407" y="1901"/>
                    </a:lnTo>
                    <a:lnTo>
                      <a:pt x="2406" y="1913"/>
                    </a:lnTo>
                    <a:lnTo>
                      <a:pt x="2405" y="1928"/>
                    </a:lnTo>
                    <a:lnTo>
                      <a:pt x="2405" y="1928"/>
                    </a:lnTo>
                    <a:lnTo>
                      <a:pt x="2406" y="1941"/>
                    </a:lnTo>
                    <a:lnTo>
                      <a:pt x="2407" y="1955"/>
                    </a:lnTo>
                    <a:lnTo>
                      <a:pt x="2410" y="1968"/>
                    </a:lnTo>
                    <a:lnTo>
                      <a:pt x="2413" y="1980"/>
                    </a:lnTo>
                    <a:lnTo>
                      <a:pt x="2418" y="1991"/>
                    </a:lnTo>
                    <a:lnTo>
                      <a:pt x="2423" y="2002"/>
                    </a:lnTo>
                    <a:lnTo>
                      <a:pt x="2429" y="2012"/>
                    </a:lnTo>
                    <a:lnTo>
                      <a:pt x="2436" y="2020"/>
                    </a:lnTo>
                    <a:lnTo>
                      <a:pt x="2445" y="2028"/>
                    </a:lnTo>
                    <a:lnTo>
                      <a:pt x="2453" y="2035"/>
                    </a:lnTo>
                    <a:lnTo>
                      <a:pt x="2463" y="2041"/>
                    </a:lnTo>
                    <a:lnTo>
                      <a:pt x="2473" y="2046"/>
                    </a:lnTo>
                    <a:lnTo>
                      <a:pt x="2484" y="2049"/>
                    </a:lnTo>
                    <a:lnTo>
                      <a:pt x="2496" y="2053"/>
                    </a:lnTo>
                    <a:lnTo>
                      <a:pt x="2508" y="2054"/>
                    </a:lnTo>
                    <a:lnTo>
                      <a:pt x="2521" y="2055"/>
                    </a:lnTo>
                    <a:lnTo>
                      <a:pt x="2521" y="2055"/>
                    </a:lnTo>
                    <a:lnTo>
                      <a:pt x="2534" y="2054"/>
                    </a:lnTo>
                    <a:lnTo>
                      <a:pt x="2545" y="2053"/>
                    </a:lnTo>
                    <a:lnTo>
                      <a:pt x="2557" y="2049"/>
                    </a:lnTo>
                    <a:lnTo>
                      <a:pt x="2568" y="2046"/>
                    </a:lnTo>
                    <a:lnTo>
                      <a:pt x="2579" y="2040"/>
                    </a:lnTo>
                    <a:lnTo>
                      <a:pt x="2588" y="2034"/>
                    </a:lnTo>
                    <a:lnTo>
                      <a:pt x="2598" y="2025"/>
                    </a:lnTo>
                    <a:lnTo>
                      <a:pt x="2608" y="2017"/>
                    </a:lnTo>
                    <a:lnTo>
                      <a:pt x="2569" y="1979"/>
                    </a:lnTo>
                    <a:close/>
                    <a:moveTo>
                      <a:pt x="2468" y="1901"/>
                    </a:moveTo>
                    <a:lnTo>
                      <a:pt x="2468" y="1901"/>
                    </a:lnTo>
                    <a:lnTo>
                      <a:pt x="2469" y="1890"/>
                    </a:lnTo>
                    <a:lnTo>
                      <a:pt x="2472" y="1880"/>
                    </a:lnTo>
                    <a:lnTo>
                      <a:pt x="2475" y="1872"/>
                    </a:lnTo>
                    <a:lnTo>
                      <a:pt x="2481" y="1865"/>
                    </a:lnTo>
                    <a:lnTo>
                      <a:pt x="2487" y="1859"/>
                    </a:lnTo>
                    <a:lnTo>
                      <a:pt x="2495" y="1855"/>
                    </a:lnTo>
                    <a:lnTo>
                      <a:pt x="2503" y="1851"/>
                    </a:lnTo>
                    <a:lnTo>
                      <a:pt x="2513" y="1851"/>
                    </a:lnTo>
                    <a:lnTo>
                      <a:pt x="2513" y="1851"/>
                    </a:lnTo>
                    <a:lnTo>
                      <a:pt x="2524" y="1852"/>
                    </a:lnTo>
                    <a:lnTo>
                      <a:pt x="2534" y="1855"/>
                    </a:lnTo>
                    <a:lnTo>
                      <a:pt x="2541" y="1860"/>
                    </a:lnTo>
                    <a:lnTo>
                      <a:pt x="2547" y="1867"/>
                    </a:lnTo>
                    <a:lnTo>
                      <a:pt x="2552" y="1874"/>
                    </a:lnTo>
                    <a:lnTo>
                      <a:pt x="2555" y="1883"/>
                    </a:lnTo>
                    <a:lnTo>
                      <a:pt x="2558" y="1893"/>
                    </a:lnTo>
                    <a:lnTo>
                      <a:pt x="2559" y="1901"/>
                    </a:lnTo>
                    <a:lnTo>
                      <a:pt x="2468" y="1901"/>
                    </a:lnTo>
                    <a:close/>
                    <a:moveTo>
                      <a:pt x="3153" y="1979"/>
                    </a:moveTo>
                    <a:lnTo>
                      <a:pt x="3153" y="1979"/>
                    </a:lnTo>
                    <a:lnTo>
                      <a:pt x="3144" y="1986"/>
                    </a:lnTo>
                    <a:lnTo>
                      <a:pt x="3134" y="1992"/>
                    </a:lnTo>
                    <a:lnTo>
                      <a:pt x="3127" y="1995"/>
                    </a:lnTo>
                    <a:lnTo>
                      <a:pt x="3121" y="1997"/>
                    </a:lnTo>
                    <a:lnTo>
                      <a:pt x="3113" y="1998"/>
                    </a:lnTo>
                    <a:lnTo>
                      <a:pt x="3105" y="2000"/>
                    </a:lnTo>
                    <a:lnTo>
                      <a:pt x="3105" y="2000"/>
                    </a:lnTo>
                    <a:lnTo>
                      <a:pt x="3099" y="1998"/>
                    </a:lnTo>
                    <a:lnTo>
                      <a:pt x="3091" y="1998"/>
                    </a:lnTo>
                    <a:lnTo>
                      <a:pt x="3083" y="1996"/>
                    </a:lnTo>
                    <a:lnTo>
                      <a:pt x="3074" y="1991"/>
                    </a:lnTo>
                    <a:lnTo>
                      <a:pt x="3066" y="1985"/>
                    </a:lnTo>
                    <a:lnTo>
                      <a:pt x="3062" y="1980"/>
                    </a:lnTo>
                    <a:lnTo>
                      <a:pt x="3059" y="1975"/>
                    </a:lnTo>
                    <a:lnTo>
                      <a:pt x="3056" y="1969"/>
                    </a:lnTo>
                    <a:lnTo>
                      <a:pt x="3054" y="1962"/>
                    </a:lnTo>
                    <a:lnTo>
                      <a:pt x="3051" y="1955"/>
                    </a:lnTo>
                    <a:lnTo>
                      <a:pt x="3050" y="1946"/>
                    </a:lnTo>
                    <a:lnTo>
                      <a:pt x="3201" y="1946"/>
                    </a:lnTo>
                    <a:lnTo>
                      <a:pt x="3201" y="1946"/>
                    </a:lnTo>
                    <a:lnTo>
                      <a:pt x="3202" y="1928"/>
                    </a:lnTo>
                    <a:lnTo>
                      <a:pt x="3202" y="1928"/>
                    </a:lnTo>
                    <a:lnTo>
                      <a:pt x="3201" y="1913"/>
                    </a:lnTo>
                    <a:lnTo>
                      <a:pt x="3199" y="1900"/>
                    </a:lnTo>
                    <a:lnTo>
                      <a:pt x="3197" y="1886"/>
                    </a:lnTo>
                    <a:lnTo>
                      <a:pt x="3195" y="1874"/>
                    </a:lnTo>
                    <a:lnTo>
                      <a:pt x="3190" y="1863"/>
                    </a:lnTo>
                    <a:lnTo>
                      <a:pt x="3185" y="1852"/>
                    </a:lnTo>
                    <a:lnTo>
                      <a:pt x="3180" y="1843"/>
                    </a:lnTo>
                    <a:lnTo>
                      <a:pt x="3174" y="1834"/>
                    </a:lnTo>
                    <a:lnTo>
                      <a:pt x="3167" y="1826"/>
                    </a:lnTo>
                    <a:lnTo>
                      <a:pt x="3158" y="1820"/>
                    </a:lnTo>
                    <a:lnTo>
                      <a:pt x="3150" y="1814"/>
                    </a:lnTo>
                    <a:lnTo>
                      <a:pt x="3141" y="1809"/>
                    </a:lnTo>
                    <a:lnTo>
                      <a:pt x="3131" y="1805"/>
                    </a:lnTo>
                    <a:lnTo>
                      <a:pt x="3121" y="1801"/>
                    </a:lnTo>
                    <a:lnTo>
                      <a:pt x="3110" y="1800"/>
                    </a:lnTo>
                    <a:lnTo>
                      <a:pt x="3099" y="1799"/>
                    </a:lnTo>
                    <a:lnTo>
                      <a:pt x="3099" y="1799"/>
                    </a:lnTo>
                    <a:lnTo>
                      <a:pt x="3086" y="1800"/>
                    </a:lnTo>
                    <a:lnTo>
                      <a:pt x="3076" y="1801"/>
                    </a:lnTo>
                    <a:lnTo>
                      <a:pt x="3065" y="1805"/>
                    </a:lnTo>
                    <a:lnTo>
                      <a:pt x="3055" y="1809"/>
                    </a:lnTo>
                    <a:lnTo>
                      <a:pt x="3045" y="1814"/>
                    </a:lnTo>
                    <a:lnTo>
                      <a:pt x="3035" y="1821"/>
                    </a:lnTo>
                    <a:lnTo>
                      <a:pt x="3028" y="1827"/>
                    </a:lnTo>
                    <a:lnTo>
                      <a:pt x="3020" y="1835"/>
                    </a:lnTo>
                    <a:lnTo>
                      <a:pt x="3012" y="1844"/>
                    </a:lnTo>
                    <a:lnTo>
                      <a:pt x="3006" y="1854"/>
                    </a:lnTo>
                    <a:lnTo>
                      <a:pt x="3001" y="1865"/>
                    </a:lnTo>
                    <a:lnTo>
                      <a:pt x="2997" y="1876"/>
                    </a:lnTo>
                    <a:lnTo>
                      <a:pt x="2994" y="1888"/>
                    </a:lnTo>
                    <a:lnTo>
                      <a:pt x="2990" y="1901"/>
                    </a:lnTo>
                    <a:lnTo>
                      <a:pt x="2989" y="1913"/>
                    </a:lnTo>
                    <a:lnTo>
                      <a:pt x="2989" y="1928"/>
                    </a:lnTo>
                    <a:lnTo>
                      <a:pt x="2989" y="1928"/>
                    </a:lnTo>
                    <a:lnTo>
                      <a:pt x="2989" y="1941"/>
                    </a:lnTo>
                    <a:lnTo>
                      <a:pt x="2990" y="1955"/>
                    </a:lnTo>
                    <a:lnTo>
                      <a:pt x="2993" y="1968"/>
                    </a:lnTo>
                    <a:lnTo>
                      <a:pt x="2997" y="1980"/>
                    </a:lnTo>
                    <a:lnTo>
                      <a:pt x="3001" y="1991"/>
                    </a:lnTo>
                    <a:lnTo>
                      <a:pt x="3008" y="2002"/>
                    </a:lnTo>
                    <a:lnTo>
                      <a:pt x="3014" y="2012"/>
                    </a:lnTo>
                    <a:lnTo>
                      <a:pt x="3021" y="2020"/>
                    </a:lnTo>
                    <a:lnTo>
                      <a:pt x="3028" y="2028"/>
                    </a:lnTo>
                    <a:lnTo>
                      <a:pt x="3037" y="2035"/>
                    </a:lnTo>
                    <a:lnTo>
                      <a:pt x="3046" y="2041"/>
                    </a:lnTo>
                    <a:lnTo>
                      <a:pt x="3057" y="2046"/>
                    </a:lnTo>
                    <a:lnTo>
                      <a:pt x="3068" y="2049"/>
                    </a:lnTo>
                    <a:lnTo>
                      <a:pt x="3079" y="2053"/>
                    </a:lnTo>
                    <a:lnTo>
                      <a:pt x="3093" y="2054"/>
                    </a:lnTo>
                    <a:lnTo>
                      <a:pt x="3105" y="2055"/>
                    </a:lnTo>
                    <a:lnTo>
                      <a:pt x="3105" y="2055"/>
                    </a:lnTo>
                    <a:lnTo>
                      <a:pt x="3117" y="2054"/>
                    </a:lnTo>
                    <a:lnTo>
                      <a:pt x="3129" y="2053"/>
                    </a:lnTo>
                    <a:lnTo>
                      <a:pt x="3140" y="2049"/>
                    </a:lnTo>
                    <a:lnTo>
                      <a:pt x="3151" y="2046"/>
                    </a:lnTo>
                    <a:lnTo>
                      <a:pt x="3162" y="2040"/>
                    </a:lnTo>
                    <a:lnTo>
                      <a:pt x="3173" y="2034"/>
                    </a:lnTo>
                    <a:lnTo>
                      <a:pt x="3182" y="2025"/>
                    </a:lnTo>
                    <a:lnTo>
                      <a:pt x="3191" y="2017"/>
                    </a:lnTo>
                    <a:lnTo>
                      <a:pt x="3153" y="1979"/>
                    </a:lnTo>
                    <a:close/>
                    <a:moveTo>
                      <a:pt x="3051" y="1901"/>
                    </a:moveTo>
                    <a:lnTo>
                      <a:pt x="3051" y="1901"/>
                    </a:lnTo>
                    <a:lnTo>
                      <a:pt x="3052" y="1890"/>
                    </a:lnTo>
                    <a:lnTo>
                      <a:pt x="3056" y="1880"/>
                    </a:lnTo>
                    <a:lnTo>
                      <a:pt x="3060" y="1872"/>
                    </a:lnTo>
                    <a:lnTo>
                      <a:pt x="3065" y="1865"/>
                    </a:lnTo>
                    <a:lnTo>
                      <a:pt x="3072" y="1859"/>
                    </a:lnTo>
                    <a:lnTo>
                      <a:pt x="3079" y="1855"/>
                    </a:lnTo>
                    <a:lnTo>
                      <a:pt x="3088" y="1851"/>
                    </a:lnTo>
                    <a:lnTo>
                      <a:pt x="3097" y="1851"/>
                    </a:lnTo>
                    <a:lnTo>
                      <a:pt x="3097" y="1851"/>
                    </a:lnTo>
                    <a:lnTo>
                      <a:pt x="3108" y="1852"/>
                    </a:lnTo>
                    <a:lnTo>
                      <a:pt x="3117" y="1855"/>
                    </a:lnTo>
                    <a:lnTo>
                      <a:pt x="3125" y="1860"/>
                    </a:lnTo>
                    <a:lnTo>
                      <a:pt x="3131" y="1867"/>
                    </a:lnTo>
                    <a:lnTo>
                      <a:pt x="3136" y="1874"/>
                    </a:lnTo>
                    <a:lnTo>
                      <a:pt x="3140" y="1883"/>
                    </a:lnTo>
                    <a:lnTo>
                      <a:pt x="3142" y="1893"/>
                    </a:lnTo>
                    <a:lnTo>
                      <a:pt x="3144" y="1901"/>
                    </a:lnTo>
                    <a:lnTo>
                      <a:pt x="3051" y="1901"/>
                    </a:lnTo>
                    <a:close/>
                    <a:moveTo>
                      <a:pt x="2905" y="1964"/>
                    </a:moveTo>
                    <a:lnTo>
                      <a:pt x="2905" y="1964"/>
                    </a:lnTo>
                    <a:lnTo>
                      <a:pt x="2905" y="1973"/>
                    </a:lnTo>
                    <a:lnTo>
                      <a:pt x="2907" y="1979"/>
                    </a:lnTo>
                    <a:lnTo>
                      <a:pt x="2909" y="1985"/>
                    </a:lnTo>
                    <a:lnTo>
                      <a:pt x="2912" y="1990"/>
                    </a:lnTo>
                    <a:lnTo>
                      <a:pt x="2915" y="1993"/>
                    </a:lnTo>
                    <a:lnTo>
                      <a:pt x="2920" y="1996"/>
                    </a:lnTo>
                    <a:lnTo>
                      <a:pt x="2925" y="1997"/>
                    </a:lnTo>
                    <a:lnTo>
                      <a:pt x="2932" y="1997"/>
                    </a:lnTo>
                    <a:lnTo>
                      <a:pt x="2932" y="1997"/>
                    </a:lnTo>
                    <a:lnTo>
                      <a:pt x="2941" y="1997"/>
                    </a:lnTo>
                    <a:lnTo>
                      <a:pt x="2950" y="1995"/>
                    </a:lnTo>
                    <a:lnTo>
                      <a:pt x="2960" y="1991"/>
                    </a:lnTo>
                    <a:lnTo>
                      <a:pt x="2969" y="1986"/>
                    </a:lnTo>
                    <a:lnTo>
                      <a:pt x="2961" y="2043"/>
                    </a:lnTo>
                    <a:lnTo>
                      <a:pt x="2961" y="2043"/>
                    </a:lnTo>
                    <a:lnTo>
                      <a:pt x="2950" y="2048"/>
                    </a:lnTo>
                    <a:lnTo>
                      <a:pt x="2937" y="2052"/>
                    </a:lnTo>
                    <a:lnTo>
                      <a:pt x="2924" y="2054"/>
                    </a:lnTo>
                    <a:lnTo>
                      <a:pt x="2910" y="2055"/>
                    </a:lnTo>
                    <a:lnTo>
                      <a:pt x="2910" y="2055"/>
                    </a:lnTo>
                    <a:lnTo>
                      <a:pt x="2902" y="2054"/>
                    </a:lnTo>
                    <a:lnTo>
                      <a:pt x="2893" y="2053"/>
                    </a:lnTo>
                    <a:lnTo>
                      <a:pt x="2886" y="2051"/>
                    </a:lnTo>
                    <a:lnTo>
                      <a:pt x="2880" y="2048"/>
                    </a:lnTo>
                    <a:lnTo>
                      <a:pt x="2874" y="2045"/>
                    </a:lnTo>
                    <a:lnTo>
                      <a:pt x="2868" y="2041"/>
                    </a:lnTo>
                    <a:lnTo>
                      <a:pt x="2864" y="2036"/>
                    </a:lnTo>
                    <a:lnTo>
                      <a:pt x="2859" y="2030"/>
                    </a:lnTo>
                    <a:lnTo>
                      <a:pt x="2853" y="2019"/>
                    </a:lnTo>
                    <a:lnTo>
                      <a:pt x="2848" y="2006"/>
                    </a:lnTo>
                    <a:lnTo>
                      <a:pt x="2846" y="1993"/>
                    </a:lnTo>
                    <a:lnTo>
                      <a:pt x="2845" y="1980"/>
                    </a:lnTo>
                    <a:lnTo>
                      <a:pt x="2845" y="1861"/>
                    </a:lnTo>
                    <a:lnTo>
                      <a:pt x="2807" y="1861"/>
                    </a:lnTo>
                    <a:lnTo>
                      <a:pt x="2807" y="1805"/>
                    </a:lnTo>
                    <a:lnTo>
                      <a:pt x="2845" y="1805"/>
                    </a:lnTo>
                    <a:lnTo>
                      <a:pt x="2845" y="1742"/>
                    </a:lnTo>
                    <a:lnTo>
                      <a:pt x="2905" y="1711"/>
                    </a:lnTo>
                    <a:lnTo>
                      <a:pt x="2905" y="1805"/>
                    </a:lnTo>
                    <a:lnTo>
                      <a:pt x="2960" y="1805"/>
                    </a:lnTo>
                    <a:lnTo>
                      <a:pt x="2960" y="1861"/>
                    </a:lnTo>
                    <a:lnTo>
                      <a:pt x="2905" y="1861"/>
                    </a:lnTo>
                    <a:lnTo>
                      <a:pt x="2905" y="1964"/>
                    </a:lnTo>
                    <a:close/>
                    <a:moveTo>
                      <a:pt x="2788" y="2043"/>
                    </a:moveTo>
                    <a:lnTo>
                      <a:pt x="2788" y="2043"/>
                    </a:lnTo>
                    <a:lnTo>
                      <a:pt x="2777" y="2048"/>
                    </a:lnTo>
                    <a:lnTo>
                      <a:pt x="2764" y="2052"/>
                    </a:lnTo>
                    <a:lnTo>
                      <a:pt x="2751" y="2054"/>
                    </a:lnTo>
                    <a:lnTo>
                      <a:pt x="2738" y="2055"/>
                    </a:lnTo>
                    <a:lnTo>
                      <a:pt x="2738" y="2055"/>
                    </a:lnTo>
                    <a:lnTo>
                      <a:pt x="2728" y="2054"/>
                    </a:lnTo>
                    <a:lnTo>
                      <a:pt x="2721" y="2053"/>
                    </a:lnTo>
                    <a:lnTo>
                      <a:pt x="2713" y="2051"/>
                    </a:lnTo>
                    <a:lnTo>
                      <a:pt x="2706" y="2048"/>
                    </a:lnTo>
                    <a:lnTo>
                      <a:pt x="2701" y="2045"/>
                    </a:lnTo>
                    <a:lnTo>
                      <a:pt x="2695" y="2041"/>
                    </a:lnTo>
                    <a:lnTo>
                      <a:pt x="2690" y="2036"/>
                    </a:lnTo>
                    <a:lnTo>
                      <a:pt x="2687" y="2030"/>
                    </a:lnTo>
                    <a:lnTo>
                      <a:pt x="2679" y="2019"/>
                    </a:lnTo>
                    <a:lnTo>
                      <a:pt x="2676" y="2006"/>
                    </a:lnTo>
                    <a:lnTo>
                      <a:pt x="2672" y="1993"/>
                    </a:lnTo>
                    <a:lnTo>
                      <a:pt x="2672" y="1980"/>
                    </a:lnTo>
                    <a:lnTo>
                      <a:pt x="2672" y="1861"/>
                    </a:lnTo>
                    <a:lnTo>
                      <a:pt x="2634" y="1861"/>
                    </a:lnTo>
                    <a:lnTo>
                      <a:pt x="2634" y="1805"/>
                    </a:lnTo>
                    <a:lnTo>
                      <a:pt x="2672" y="1805"/>
                    </a:lnTo>
                    <a:lnTo>
                      <a:pt x="2672" y="1742"/>
                    </a:lnTo>
                    <a:lnTo>
                      <a:pt x="2733" y="1711"/>
                    </a:lnTo>
                    <a:lnTo>
                      <a:pt x="2733" y="1805"/>
                    </a:lnTo>
                    <a:lnTo>
                      <a:pt x="2784" y="1805"/>
                    </a:lnTo>
                    <a:lnTo>
                      <a:pt x="2784" y="1861"/>
                    </a:lnTo>
                    <a:lnTo>
                      <a:pt x="2733" y="1861"/>
                    </a:lnTo>
                    <a:lnTo>
                      <a:pt x="2733" y="1964"/>
                    </a:lnTo>
                    <a:lnTo>
                      <a:pt x="2733" y="1964"/>
                    </a:lnTo>
                    <a:lnTo>
                      <a:pt x="2733" y="1973"/>
                    </a:lnTo>
                    <a:lnTo>
                      <a:pt x="2734" y="1979"/>
                    </a:lnTo>
                    <a:lnTo>
                      <a:pt x="2737" y="1985"/>
                    </a:lnTo>
                    <a:lnTo>
                      <a:pt x="2739" y="1990"/>
                    </a:lnTo>
                    <a:lnTo>
                      <a:pt x="2743" y="1993"/>
                    </a:lnTo>
                    <a:lnTo>
                      <a:pt x="2747" y="1996"/>
                    </a:lnTo>
                    <a:lnTo>
                      <a:pt x="2752" y="1997"/>
                    </a:lnTo>
                    <a:lnTo>
                      <a:pt x="2758" y="1997"/>
                    </a:lnTo>
                    <a:lnTo>
                      <a:pt x="2758" y="1997"/>
                    </a:lnTo>
                    <a:lnTo>
                      <a:pt x="2768" y="1997"/>
                    </a:lnTo>
                    <a:lnTo>
                      <a:pt x="2778" y="1995"/>
                    </a:lnTo>
                    <a:lnTo>
                      <a:pt x="2786" y="1991"/>
                    </a:lnTo>
                    <a:lnTo>
                      <a:pt x="2795" y="1986"/>
                    </a:lnTo>
                    <a:lnTo>
                      <a:pt x="2788" y="2043"/>
                    </a:lnTo>
                    <a:close/>
                    <a:moveTo>
                      <a:pt x="3384" y="1873"/>
                    </a:moveTo>
                    <a:lnTo>
                      <a:pt x="3384" y="1873"/>
                    </a:lnTo>
                    <a:lnTo>
                      <a:pt x="3376" y="1867"/>
                    </a:lnTo>
                    <a:lnTo>
                      <a:pt x="3366" y="1863"/>
                    </a:lnTo>
                    <a:lnTo>
                      <a:pt x="3355" y="1861"/>
                    </a:lnTo>
                    <a:lnTo>
                      <a:pt x="3344" y="1860"/>
                    </a:lnTo>
                    <a:lnTo>
                      <a:pt x="3344" y="1860"/>
                    </a:lnTo>
                    <a:lnTo>
                      <a:pt x="3334" y="1861"/>
                    </a:lnTo>
                    <a:lnTo>
                      <a:pt x="3325" y="1863"/>
                    </a:lnTo>
                    <a:lnTo>
                      <a:pt x="3317" y="1868"/>
                    </a:lnTo>
                    <a:lnTo>
                      <a:pt x="3311" y="1874"/>
                    </a:lnTo>
                    <a:lnTo>
                      <a:pt x="3306" y="1882"/>
                    </a:lnTo>
                    <a:lnTo>
                      <a:pt x="3304" y="1891"/>
                    </a:lnTo>
                    <a:lnTo>
                      <a:pt x="3302" y="1904"/>
                    </a:lnTo>
                    <a:lnTo>
                      <a:pt x="3300" y="1917"/>
                    </a:lnTo>
                    <a:lnTo>
                      <a:pt x="3300" y="2049"/>
                    </a:lnTo>
                    <a:lnTo>
                      <a:pt x="3241" y="2049"/>
                    </a:lnTo>
                    <a:lnTo>
                      <a:pt x="3241" y="1805"/>
                    </a:lnTo>
                    <a:lnTo>
                      <a:pt x="3300" y="1805"/>
                    </a:lnTo>
                    <a:lnTo>
                      <a:pt x="3300" y="1826"/>
                    </a:lnTo>
                    <a:lnTo>
                      <a:pt x="3300" y="1826"/>
                    </a:lnTo>
                    <a:lnTo>
                      <a:pt x="3306" y="1820"/>
                    </a:lnTo>
                    <a:lnTo>
                      <a:pt x="3313" y="1814"/>
                    </a:lnTo>
                    <a:lnTo>
                      <a:pt x="3319" y="1810"/>
                    </a:lnTo>
                    <a:lnTo>
                      <a:pt x="3326" y="1806"/>
                    </a:lnTo>
                    <a:lnTo>
                      <a:pt x="3332" y="1803"/>
                    </a:lnTo>
                    <a:lnTo>
                      <a:pt x="3339" y="1801"/>
                    </a:lnTo>
                    <a:lnTo>
                      <a:pt x="3347" y="1800"/>
                    </a:lnTo>
                    <a:lnTo>
                      <a:pt x="3355" y="1799"/>
                    </a:lnTo>
                    <a:lnTo>
                      <a:pt x="3355" y="1799"/>
                    </a:lnTo>
                    <a:lnTo>
                      <a:pt x="3367" y="1800"/>
                    </a:lnTo>
                    <a:lnTo>
                      <a:pt x="3379" y="1804"/>
                    </a:lnTo>
                    <a:lnTo>
                      <a:pt x="3390" y="1807"/>
                    </a:lnTo>
                    <a:lnTo>
                      <a:pt x="3400" y="1814"/>
                    </a:lnTo>
                    <a:lnTo>
                      <a:pt x="3384" y="1873"/>
                    </a:lnTo>
                    <a:close/>
                    <a:moveTo>
                      <a:pt x="653" y="1747"/>
                    </a:moveTo>
                    <a:lnTo>
                      <a:pt x="653" y="1770"/>
                    </a:lnTo>
                    <a:lnTo>
                      <a:pt x="592" y="1770"/>
                    </a:lnTo>
                    <a:lnTo>
                      <a:pt x="592" y="1709"/>
                    </a:lnTo>
                    <a:lnTo>
                      <a:pt x="653" y="1709"/>
                    </a:lnTo>
                    <a:lnTo>
                      <a:pt x="653" y="1747"/>
                    </a:lnTo>
                    <a:close/>
                    <a:moveTo>
                      <a:pt x="1073" y="1805"/>
                    </a:moveTo>
                    <a:lnTo>
                      <a:pt x="1134" y="1805"/>
                    </a:lnTo>
                    <a:lnTo>
                      <a:pt x="1134" y="1930"/>
                    </a:lnTo>
                    <a:lnTo>
                      <a:pt x="1134" y="2049"/>
                    </a:lnTo>
                    <a:lnTo>
                      <a:pt x="1073" y="2049"/>
                    </a:lnTo>
                    <a:lnTo>
                      <a:pt x="1073" y="1805"/>
                    </a:lnTo>
                    <a:close/>
                    <a:moveTo>
                      <a:pt x="1134" y="1739"/>
                    </a:moveTo>
                    <a:lnTo>
                      <a:pt x="1134" y="1770"/>
                    </a:lnTo>
                    <a:lnTo>
                      <a:pt x="1073" y="1770"/>
                    </a:lnTo>
                    <a:lnTo>
                      <a:pt x="1073" y="1709"/>
                    </a:lnTo>
                    <a:lnTo>
                      <a:pt x="1134" y="1709"/>
                    </a:lnTo>
                    <a:lnTo>
                      <a:pt x="1134" y="1739"/>
                    </a:lnTo>
                    <a:close/>
                    <a:moveTo>
                      <a:pt x="2796" y="2250"/>
                    </a:moveTo>
                    <a:lnTo>
                      <a:pt x="2796" y="2250"/>
                    </a:lnTo>
                    <a:lnTo>
                      <a:pt x="2790" y="2245"/>
                    </a:lnTo>
                    <a:lnTo>
                      <a:pt x="2784" y="2240"/>
                    </a:lnTo>
                    <a:lnTo>
                      <a:pt x="2778" y="2237"/>
                    </a:lnTo>
                    <a:lnTo>
                      <a:pt x="2771" y="2233"/>
                    </a:lnTo>
                    <a:lnTo>
                      <a:pt x="2764" y="2231"/>
                    </a:lnTo>
                    <a:lnTo>
                      <a:pt x="2757" y="2229"/>
                    </a:lnTo>
                    <a:lnTo>
                      <a:pt x="2741" y="2227"/>
                    </a:lnTo>
                    <a:lnTo>
                      <a:pt x="2741" y="2227"/>
                    </a:lnTo>
                    <a:lnTo>
                      <a:pt x="2730" y="2228"/>
                    </a:lnTo>
                    <a:lnTo>
                      <a:pt x="2721" y="2229"/>
                    </a:lnTo>
                    <a:lnTo>
                      <a:pt x="2711" y="2233"/>
                    </a:lnTo>
                    <a:lnTo>
                      <a:pt x="2701" y="2237"/>
                    </a:lnTo>
                    <a:lnTo>
                      <a:pt x="2693" y="2241"/>
                    </a:lnTo>
                    <a:lnTo>
                      <a:pt x="2685" y="2246"/>
                    </a:lnTo>
                    <a:lnTo>
                      <a:pt x="2678" y="2254"/>
                    </a:lnTo>
                    <a:lnTo>
                      <a:pt x="2671" y="2261"/>
                    </a:lnTo>
                    <a:lnTo>
                      <a:pt x="2666" y="2269"/>
                    </a:lnTo>
                    <a:lnTo>
                      <a:pt x="2660" y="2279"/>
                    </a:lnTo>
                    <a:lnTo>
                      <a:pt x="2656" y="2289"/>
                    </a:lnTo>
                    <a:lnTo>
                      <a:pt x="2653" y="2301"/>
                    </a:lnTo>
                    <a:lnTo>
                      <a:pt x="2649" y="2312"/>
                    </a:lnTo>
                    <a:lnTo>
                      <a:pt x="2648" y="2325"/>
                    </a:lnTo>
                    <a:lnTo>
                      <a:pt x="2647" y="2339"/>
                    </a:lnTo>
                    <a:lnTo>
                      <a:pt x="2645" y="2353"/>
                    </a:lnTo>
                    <a:lnTo>
                      <a:pt x="2645" y="2353"/>
                    </a:lnTo>
                    <a:lnTo>
                      <a:pt x="2647" y="2368"/>
                    </a:lnTo>
                    <a:lnTo>
                      <a:pt x="2648" y="2381"/>
                    </a:lnTo>
                    <a:lnTo>
                      <a:pt x="2649" y="2395"/>
                    </a:lnTo>
                    <a:lnTo>
                      <a:pt x="2653" y="2408"/>
                    </a:lnTo>
                    <a:lnTo>
                      <a:pt x="2655" y="2419"/>
                    </a:lnTo>
                    <a:lnTo>
                      <a:pt x="2660" y="2430"/>
                    </a:lnTo>
                    <a:lnTo>
                      <a:pt x="2665" y="2440"/>
                    </a:lnTo>
                    <a:lnTo>
                      <a:pt x="2671" y="2448"/>
                    </a:lnTo>
                    <a:lnTo>
                      <a:pt x="2677" y="2457"/>
                    </a:lnTo>
                    <a:lnTo>
                      <a:pt x="2684" y="2463"/>
                    </a:lnTo>
                    <a:lnTo>
                      <a:pt x="2692" y="2469"/>
                    </a:lnTo>
                    <a:lnTo>
                      <a:pt x="2700" y="2474"/>
                    </a:lnTo>
                    <a:lnTo>
                      <a:pt x="2710" y="2479"/>
                    </a:lnTo>
                    <a:lnTo>
                      <a:pt x="2720" y="2481"/>
                    </a:lnTo>
                    <a:lnTo>
                      <a:pt x="2729" y="2482"/>
                    </a:lnTo>
                    <a:lnTo>
                      <a:pt x="2740" y="2483"/>
                    </a:lnTo>
                    <a:lnTo>
                      <a:pt x="2740" y="2483"/>
                    </a:lnTo>
                    <a:lnTo>
                      <a:pt x="2747" y="2482"/>
                    </a:lnTo>
                    <a:lnTo>
                      <a:pt x="2756" y="2481"/>
                    </a:lnTo>
                    <a:lnTo>
                      <a:pt x="2763" y="2480"/>
                    </a:lnTo>
                    <a:lnTo>
                      <a:pt x="2769" y="2477"/>
                    </a:lnTo>
                    <a:lnTo>
                      <a:pt x="2777" y="2474"/>
                    </a:lnTo>
                    <a:lnTo>
                      <a:pt x="2784" y="2470"/>
                    </a:lnTo>
                    <a:lnTo>
                      <a:pt x="2790" y="2465"/>
                    </a:lnTo>
                    <a:lnTo>
                      <a:pt x="2796" y="2459"/>
                    </a:lnTo>
                    <a:lnTo>
                      <a:pt x="2796" y="2477"/>
                    </a:lnTo>
                    <a:lnTo>
                      <a:pt x="2857" y="2477"/>
                    </a:lnTo>
                    <a:lnTo>
                      <a:pt x="2857" y="2131"/>
                    </a:lnTo>
                    <a:lnTo>
                      <a:pt x="2796" y="2161"/>
                    </a:lnTo>
                    <a:lnTo>
                      <a:pt x="2796" y="2250"/>
                    </a:lnTo>
                    <a:close/>
                    <a:moveTo>
                      <a:pt x="2754" y="2427"/>
                    </a:moveTo>
                    <a:lnTo>
                      <a:pt x="2754" y="2427"/>
                    </a:lnTo>
                    <a:lnTo>
                      <a:pt x="2745" y="2426"/>
                    </a:lnTo>
                    <a:lnTo>
                      <a:pt x="2738" y="2424"/>
                    </a:lnTo>
                    <a:lnTo>
                      <a:pt x="2729" y="2420"/>
                    </a:lnTo>
                    <a:lnTo>
                      <a:pt x="2722" y="2413"/>
                    </a:lnTo>
                    <a:lnTo>
                      <a:pt x="2716" y="2403"/>
                    </a:lnTo>
                    <a:lnTo>
                      <a:pt x="2711" y="2390"/>
                    </a:lnTo>
                    <a:lnTo>
                      <a:pt x="2709" y="2373"/>
                    </a:lnTo>
                    <a:lnTo>
                      <a:pt x="2707" y="2351"/>
                    </a:lnTo>
                    <a:lnTo>
                      <a:pt x="2707" y="2351"/>
                    </a:lnTo>
                    <a:lnTo>
                      <a:pt x="2709" y="2333"/>
                    </a:lnTo>
                    <a:lnTo>
                      <a:pt x="2711" y="2317"/>
                    </a:lnTo>
                    <a:lnTo>
                      <a:pt x="2716" y="2305"/>
                    </a:lnTo>
                    <a:lnTo>
                      <a:pt x="2722" y="2296"/>
                    </a:lnTo>
                    <a:lnTo>
                      <a:pt x="2729" y="2290"/>
                    </a:lnTo>
                    <a:lnTo>
                      <a:pt x="2737" y="2285"/>
                    </a:lnTo>
                    <a:lnTo>
                      <a:pt x="2745" y="2284"/>
                    </a:lnTo>
                    <a:lnTo>
                      <a:pt x="2752" y="2283"/>
                    </a:lnTo>
                    <a:lnTo>
                      <a:pt x="2752" y="2283"/>
                    </a:lnTo>
                    <a:lnTo>
                      <a:pt x="2761" y="2284"/>
                    </a:lnTo>
                    <a:lnTo>
                      <a:pt x="2768" y="2285"/>
                    </a:lnTo>
                    <a:lnTo>
                      <a:pt x="2774" y="2288"/>
                    </a:lnTo>
                    <a:lnTo>
                      <a:pt x="2780" y="2291"/>
                    </a:lnTo>
                    <a:lnTo>
                      <a:pt x="2785" y="2295"/>
                    </a:lnTo>
                    <a:lnTo>
                      <a:pt x="2790" y="2299"/>
                    </a:lnTo>
                    <a:lnTo>
                      <a:pt x="2796" y="2307"/>
                    </a:lnTo>
                    <a:lnTo>
                      <a:pt x="2796" y="2403"/>
                    </a:lnTo>
                    <a:lnTo>
                      <a:pt x="2796" y="2403"/>
                    </a:lnTo>
                    <a:lnTo>
                      <a:pt x="2789" y="2412"/>
                    </a:lnTo>
                    <a:lnTo>
                      <a:pt x="2780" y="2419"/>
                    </a:lnTo>
                    <a:lnTo>
                      <a:pt x="2774" y="2423"/>
                    </a:lnTo>
                    <a:lnTo>
                      <a:pt x="2768" y="2425"/>
                    </a:lnTo>
                    <a:lnTo>
                      <a:pt x="2761" y="2426"/>
                    </a:lnTo>
                    <a:lnTo>
                      <a:pt x="2754" y="2427"/>
                    </a:lnTo>
                    <a:lnTo>
                      <a:pt x="2754" y="2427"/>
                    </a:lnTo>
                    <a:close/>
                    <a:moveTo>
                      <a:pt x="740" y="2301"/>
                    </a:moveTo>
                    <a:lnTo>
                      <a:pt x="740" y="2301"/>
                    </a:lnTo>
                    <a:lnTo>
                      <a:pt x="732" y="2296"/>
                    </a:lnTo>
                    <a:lnTo>
                      <a:pt x="722" y="2291"/>
                    </a:lnTo>
                    <a:lnTo>
                      <a:pt x="711" y="2289"/>
                    </a:lnTo>
                    <a:lnTo>
                      <a:pt x="700" y="2288"/>
                    </a:lnTo>
                    <a:lnTo>
                      <a:pt x="700" y="2288"/>
                    </a:lnTo>
                    <a:lnTo>
                      <a:pt x="690" y="2289"/>
                    </a:lnTo>
                    <a:lnTo>
                      <a:pt x="680" y="2291"/>
                    </a:lnTo>
                    <a:lnTo>
                      <a:pt x="673" y="2296"/>
                    </a:lnTo>
                    <a:lnTo>
                      <a:pt x="667" y="2302"/>
                    </a:lnTo>
                    <a:lnTo>
                      <a:pt x="662" y="2310"/>
                    </a:lnTo>
                    <a:lnTo>
                      <a:pt x="660" y="2319"/>
                    </a:lnTo>
                    <a:lnTo>
                      <a:pt x="657" y="2331"/>
                    </a:lnTo>
                    <a:lnTo>
                      <a:pt x="656" y="2345"/>
                    </a:lnTo>
                    <a:lnTo>
                      <a:pt x="656" y="2477"/>
                    </a:lnTo>
                    <a:lnTo>
                      <a:pt x="597" y="2477"/>
                    </a:lnTo>
                    <a:lnTo>
                      <a:pt x="597" y="2233"/>
                    </a:lnTo>
                    <a:lnTo>
                      <a:pt x="656" y="2233"/>
                    </a:lnTo>
                    <a:lnTo>
                      <a:pt x="656" y="2254"/>
                    </a:lnTo>
                    <a:lnTo>
                      <a:pt x="656" y="2254"/>
                    </a:lnTo>
                    <a:lnTo>
                      <a:pt x="662" y="2248"/>
                    </a:lnTo>
                    <a:lnTo>
                      <a:pt x="668" y="2241"/>
                    </a:lnTo>
                    <a:lnTo>
                      <a:pt x="674" y="2238"/>
                    </a:lnTo>
                    <a:lnTo>
                      <a:pt x="682" y="2234"/>
                    </a:lnTo>
                    <a:lnTo>
                      <a:pt x="688" y="2231"/>
                    </a:lnTo>
                    <a:lnTo>
                      <a:pt x="695" y="2229"/>
                    </a:lnTo>
                    <a:lnTo>
                      <a:pt x="704" y="2228"/>
                    </a:lnTo>
                    <a:lnTo>
                      <a:pt x="711" y="2227"/>
                    </a:lnTo>
                    <a:lnTo>
                      <a:pt x="711" y="2227"/>
                    </a:lnTo>
                    <a:lnTo>
                      <a:pt x="723" y="2228"/>
                    </a:lnTo>
                    <a:lnTo>
                      <a:pt x="735" y="2232"/>
                    </a:lnTo>
                    <a:lnTo>
                      <a:pt x="747" y="2237"/>
                    </a:lnTo>
                    <a:lnTo>
                      <a:pt x="757" y="2243"/>
                    </a:lnTo>
                    <a:lnTo>
                      <a:pt x="740" y="2301"/>
                    </a:lnTo>
                    <a:close/>
                    <a:moveTo>
                      <a:pt x="265" y="2233"/>
                    </a:moveTo>
                    <a:lnTo>
                      <a:pt x="324" y="2233"/>
                    </a:lnTo>
                    <a:lnTo>
                      <a:pt x="255" y="2477"/>
                    </a:lnTo>
                    <a:lnTo>
                      <a:pt x="203" y="2477"/>
                    </a:lnTo>
                    <a:lnTo>
                      <a:pt x="176" y="2376"/>
                    </a:lnTo>
                    <a:lnTo>
                      <a:pt x="176" y="2376"/>
                    </a:lnTo>
                    <a:lnTo>
                      <a:pt x="163" y="2323"/>
                    </a:lnTo>
                    <a:lnTo>
                      <a:pt x="163" y="2323"/>
                    </a:lnTo>
                    <a:lnTo>
                      <a:pt x="157" y="2348"/>
                    </a:lnTo>
                    <a:lnTo>
                      <a:pt x="149" y="2378"/>
                    </a:lnTo>
                    <a:lnTo>
                      <a:pt x="122" y="2477"/>
                    </a:lnTo>
                    <a:lnTo>
                      <a:pt x="69" y="2477"/>
                    </a:lnTo>
                    <a:lnTo>
                      <a:pt x="69" y="2476"/>
                    </a:lnTo>
                    <a:lnTo>
                      <a:pt x="0" y="2233"/>
                    </a:lnTo>
                    <a:lnTo>
                      <a:pt x="63" y="2233"/>
                    </a:lnTo>
                    <a:lnTo>
                      <a:pt x="85" y="2324"/>
                    </a:lnTo>
                    <a:lnTo>
                      <a:pt x="85" y="2324"/>
                    </a:lnTo>
                    <a:lnTo>
                      <a:pt x="91" y="2353"/>
                    </a:lnTo>
                    <a:lnTo>
                      <a:pt x="97" y="2384"/>
                    </a:lnTo>
                    <a:lnTo>
                      <a:pt x="97" y="2384"/>
                    </a:lnTo>
                    <a:lnTo>
                      <a:pt x="105" y="2353"/>
                    </a:lnTo>
                    <a:lnTo>
                      <a:pt x="112" y="2323"/>
                    </a:lnTo>
                    <a:lnTo>
                      <a:pt x="137" y="2233"/>
                    </a:lnTo>
                    <a:lnTo>
                      <a:pt x="190" y="2233"/>
                    </a:lnTo>
                    <a:lnTo>
                      <a:pt x="215" y="2323"/>
                    </a:lnTo>
                    <a:lnTo>
                      <a:pt x="215" y="2323"/>
                    </a:lnTo>
                    <a:lnTo>
                      <a:pt x="222" y="2352"/>
                    </a:lnTo>
                    <a:lnTo>
                      <a:pt x="230" y="2385"/>
                    </a:lnTo>
                    <a:lnTo>
                      <a:pt x="230" y="2385"/>
                    </a:lnTo>
                    <a:lnTo>
                      <a:pt x="235" y="2357"/>
                    </a:lnTo>
                    <a:lnTo>
                      <a:pt x="242" y="2323"/>
                    </a:lnTo>
                    <a:lnTo>
                      <a:pt x="265" y="2233"/>
                    </a:lnTo>
                    <a:close/>
                    <a:moveTo>
                      <a:pt x="447" y="2227"/>
                    </a:moveTo>
                    <a:lnTo>
                      <a:pt x="447" y="2227"/>
                    </a:lnTo>
                    <a:lnTo>
                      <a:pt x="436" y="2228"/>
                    </a:lnTo>
                    <a:lnTo>
                      <a:pt x="424" y="2229"/>
                    </a:lnTo>
                    <a:lnTo>
                      <a:pt x="413" y="2233"/>
                    </a:lnTo>
                    <a:lnTo>
                      <a:pt x="403" y="2237"/>
                    </a:lnTo>
                    <a:lnTo>
                      <a:pt x="394" y="2241"/>
                    </a:lnTo>
                    <a:lnTo>
                      <a:pt x="384" y="2248"/>
                    </a:lnTo>
                    <a:lnTo>
                      <a:pt x="375" y="2255"/>
                    </a:lnTo>
                    <a:lnTo>
                      <a:pt x="368" y="2263"/>
                    </a:lnTo>
                    <a:lnTo>
                      <a:pt x="361" y="2272"/>
                    </a:lnTo>
                    <a:lnTo>
                      <a:pt x="355" y="2282"/>
                    </a:lnTo>
                    <a:lnTo>
                      <a:pt x="349" y="2293"/>
                    </a:lnTo>
                    <a:lnTo>
                      <a:pt x="345" y="2303"/>
                    </a:lnTo>
                    <a:lnTo>
                      <a:pt x="341" y="2316"/>
                    </a:lnTo>
                    <a:lnTo>
                      <a:pt x="339" y="2328"/>
                    </a:lnTo>
                    <a:lnTo>
                      <a:pt x="337" y="2341"/>
                    </a:lnTo>
                    <a:lnTo>
                      <a:pt x="337" y="2356"/>
                    </a:lnTo>
                    <a:lnTo>
                      <a:pt x="337" y="2356"/>
                    </a:lnTo>
                    <a:lnTo>
                      <a:pt x="337" y="2369"/>
                    </a:lnTo>
                    <a:lnTo>
                      <a:pt x="339" y="2382"/>
                    </a:lnTo>
                    <a:lnTo>
                      <a:pt x="341" y="2395"/>
                    </a:lnTo>
                    <a:lnTo>
                      <a:pt x="345" y="2407"/>
                    </a:lnTo>
                    <a:lnTo>
                      <a:pt x="349" y="2418"/>
                    </a:lnTo>
                    <a:lnTo>
                      <a:pt x="355" y="2429"/>
                    </a:lnTo>
                    <a:lnTo>
                      <a:pt x="361" y="2438"/>
                    </a:lnTo>
                    <a:lnTo>
                      <a:pt x="368" y="2447"/>
                    </a:lnTo>
                    <a:lnTo>
                      <a:pt x="375" y="2455"/>
                    </a:lnTo>
                    <a:lnTo>
                      <a:pt x="384" y="2463"/>
                    </a:lnTo>
                    <a:lnTo>
                      <a:pt x="394" y="2469"/>
                    </a:lnTo>
                    <a:lnTo>
                      <a:pt x="403" y="2474"/>
                    </a:lnTo>
                    <a:lnTo>
                      <a:pt x="413" y="2477"/>
                    </a:lnTo>
                    <a:lnTo>
                      <a:pt x="424" y="2481"/>
                    </a:lnTo>
                    <a:lnTo>
                      <a:pt x="436" y="2482"/>
                    </a:lnTo>
                    <a:lnTo>
                      <a:pt x="447" y="2483"/>
                    </a:lnTo>
                    <a:lnTo>
                      <a:pt x="447" y="2483"/>
                    </a:lnTo>
                    <a:lnTo>
                      <a:pt x="459" y="2482"/>
                    </a:lnTo>
                    <a:lnTo>
                      <a:pt x="471" y="2481"/>
                    </a:lnTo>
                    <a:lnTo>
                      <a:pt x="482" y="2477"/>
                    </a:lnTo>
                    <a:lnTo>
                      <a:pt x="492" y="2474"/>
                    </a:lnTo>
                    <a:lnTo>
                      <a:pt x="502" y="2469"/>
                    </a:lnTo>
                    <a:lnTo>
                      <a:pt x="512" y="2463"/>
                    </a:lnTo>
                    <a:lnTo>
                      <a:pt x="520" y="2455"/>
                    </a:lnTo>
                    <a:lnTo>
                      <a:pt x="527" y="2447"/>
                    </a:lnTo>
                    <a:lnTo>
                      <a:pt x="535" y="2438"/>
                    </a:lnTo>
                    <a:lnTo>
                      <a:pt x="541" y="2429"/>
                    </a:lnTo>
                    <a:lnTo>
                      <a:pt x="546" y="2418"/>
                    </a:lnTo>
                    <a:lnTo>
                      <a:pt x="550" y="2407"/>
                    </a:lnTo>
                    <a:lnTo>
                      <a:pt x="554" y="2395"/>
                    </a:lnTo>
                    <a:lnTo>
                      <a:pt x="557" y="2382"/>
                    </a:lnTo>
                    <a:lnTo>
                      <a:pt x="559" y="2369"/>
                    </a:lnTo>
                    <a:lnTo>
                      <a:pt x="559" y="2356"/>
                    </a:lnTo>
                    <a:lnTo>
                      <a:pt x="559" y="2356"/>
                    </a:lnTo>
                    <a:lnTo>
                      <a:pt x="559" y="2341"/>
                    </a:lnTo>
                    <a:lnTo>
                      <a:pt x="557" y="2328"/>
                    </a:lnTo>
                    <a:lnTo>
                      <a:pt x="554" y="2316"/>
                    </a:lnTo>
                    <a:lnTo>
                      <a:pt x="550" y="2303"/>
                    </a:lnTo>
                    <a:lnTo>
                      <a:pt x="546" y="2293"/>
                    </a:lnTo>
                    <a:lnTo>
                      <a:pt x="541" y="2282"/>
                    </a:lnTo>
                    <a:lnTo>
                      <a:pt x="535" y="2272"/>
                    </a:lnTo>
                    <a:lnTo>
                      <a:pt x="527" y="2263"/>
                    </a:lnTo>
                    <a:lnTo>
                      <a:pt x="520" y="2255"/>
                    </a:lnTo>
                    <a:lnTo>
                      <a:pt x="512" y="2248"/>
                    </a:lnTo>
                    <a:lnTo>
                      <a:pt x="502" y="2241"/>
                    </a:lnTo>
                    <a:lnTo>
                      <a:pt x="492" y="2237"/>
                    </a:lnTo>
                    <a:lnTo>
                      <a:pt x="482" y="2233"/>
                    </a:lnTo>
                    <a:lnTo>
                      <a:pt x="471" y="2229"/>
                    </a:lnTo>
                    <a:lnTo>
                      <a:pt x="459" y="2228"/>
                    </a:lnTo>
                    <a:lnTo>
                      <a:pt x="447" y="2227"/>
                    </a:lnTo>
                    <a:lnTo>
                      <a:pt x="447" y="2227"/>
                    </a:lnTo>
                    <a:close/>
                    <a:moveTo>
                      <a:pt x="447" y="2426"/>
                    </a:moveTo>
                    <a:lnTo>
                      <a:pt x="447" y="2426"/>
                    </a:lnTo>
                    <a:lnTo>
                      <a:pt x="436" y="2425"/>
                    </a:lnTo>
                    <a:lnTo>
                      <a:pt x="427" y="2421"/>
                    </a:lnTo>
                    <a:lnTo>
                      <a:pt x="419" y="2415"/>
                    </a:lnTo>
                    <a:lnTo>
                      <a:pt x="412" y="2407"/>
                    </a:lnTo>
                    <a:lnTo>
                      <a:pt x="406" y="2397"/>
                    </a:lnTo>
                    <a:lnTo>
                      <a:pt x="401" y="2385"/>
                    </a:lnTo>
                    <a:lnTo>
                      <a:pt x="399" y="2370"/>
                    </a:lnTo>
                    <a:lnTo>
                      <a:pt x="399" y="2356"/>
                    </a:lnTo>
                    <a:lnTo>
                      <a:pt x="399" y="2356"/>
                    </a:lnTo>
                    <a:lnTo>
                      <a:pt x="399" y="2340"/>
                    </a:lnTo>
                    <a:lnTo>
                      <a:pt x="401" y="2325"/>
                    </a:lnTo>
                    <a:lnTo>
                      <a:pt x="406" y="2314"/>
                    </a:lnTo>
                    <a:lnTo>
                      <a:pt x="412" y="2303"/>
                    </a:lnTo>
                    <a:lnTo>
                      <a:pt x="419" y="2295"/>
                    </a:lnTo>
                    <a:lnTo>
                      <a:pt x="427" y="2289"/>
                    </a:lnTo>
                    <a:lnTo>
                      <a:pt x="436" y="2285"/>
                    </a:lnTo>
                    <a:lnTo>
                      <a:pt x="447" y="2284"/>
                    </a:lnTo>
                    <a:lnTo>
                      <a:pt x="447" y="2284"/>
                    </a:lnTo>
                    <a:lnTo>
                      <a:pt x="458" y="2285"/>
                    </a:lnTo>
                    <a:lnTo>
                      <a:pt x="468" y="2289"/>
                    </a:lnTo>
                    <a:lnTo>
                      <a:pt x="476" y="2295"/>
                    </a:lnTo>
                    <a:lnTo>
                      <a:pt x="484" y="2303"/>
                    </a:lnTo>
                    <a:lnTo>
                      <a:pt x="490" y="2314"/>
                    </a:lnTo>
                    <a:lnTo>
                      <a:pt x="493" y="2325"/>
                    </a:lnTo>
                    <a:lnTo>
                      <a:pt x="496" y="2340"/>
                    </a:lnTo>
                    <a:lnTo>
                      <a:pt x="497" y="2356"/>
                    </a:lnTo>
                    <a:lnTo>
                      <a:pt x="497" y="2356"/>
                    </a:lnTo>
                    <a:lnTo>
                      <a:pt x="496" y="2370"/>
                    </a:lnTo>
                    <a:lnTo>
                      <a:pt x="493" y="2385"/>
                    </a:lnTo>
                    <a:lnTo>
                      <a:pt x="490" y="2397"/>
                    </a:lnTo>
                    <a:lnTo>
                      <a:pt x="484" y="2407"/>
                    </a:lnTo>
                    <a:lnTo>
                      <a:pt x="476" y="2415"/>
                    </a:lnTo>
                    <a:lnTo>
                      <a:pt x="468" y="2421"/>
                    </a:lnTo>
                    <a:lnTo>
                      <a:pt x="458" y="2425"/>
                    </a:lnTo>
                    <a:lnTo>
                      <a:pt x="447" y="2426"/>
                    </a:lnTo>
                    <a:lnTo>
                      <a:pt x="447" y="2426"/>
                    </a:lnTo>
                    <a:close/>
                    <a:moveTo>
                      <a:pt x="2498" y="2301"/>
                    </a:moveTo>
                    <a:lnTo>
                      <a:pt x="2498" y="2301"/>
                    </a:lnTo>
                    <a:lnTo>
                      <a:pt x="2489" y="2296"/>
                    </a:lnTo>
                    <a:lnTo>
                      <a:pt x="2479" y="2291"/>
                    </a:lnTo>
                    <a:lnTo>
                      <a:pt x="2468" y="2289"/>
                    </a:lnTo>
                    <a:lnTo>
                      <a:pt x="2458" y="2288"/>
                    </a:lnTo>
                    <a:lnTo>
                      <a:pt x="2458" y="2288"/>
                    </a:lnTo>
                    <a:lnTo>
                      <a:pt x="2447" y="2289"/>
                    </a:lnTo>
                    <a:lnTo>
                      <a:pt x="2439" y="2291"/>
                    </a:lnTo>
                    <a:lnTo>
                      <a:pt x="2432" y="2296"/>
                    </a:lnTo>
                    <a:lnTo>
                      <a:pt x="2425" y="2302"/>
                    </a:lnTo>
                    <a:lnTo>
                      <a:pt x="2421" y="2310"/>
                    </a:lnTo>
                    <a:lnTo>
                      <a:pt x="2417" y="2319"/>
                    </a:lnTo>
                    <a:lnTo>
                      <a:pt x="2415" y="2331"/>
                    </a:lnTo>
                    <a:lnTo>
                      <a:pt x="2415" y="2345"/>
                    </a:lnTo>
                    <a:lnTo>
                      <a:pt x="2415" y="2477"/>
                    </a:lnTo>
                    <a:lnTo>
                      <a:pt x="2354" y="2477"/>
                    </a:lnTo>
                    <a:lnTo>
                      <a:pt x="2354" y="2233"/>
                    </a:lnTo>
                    <a:lnTo>
                      <a:pt x="2415" y="2233"/>
                    </a:lnTo>
                    <a:lnTo>
                      <a:pt x="2415" y="2254"/>
                    </a:lnTo>
                    <a:lnTo>
                      <a:pt x="2415" y="2254"/>
                    </a:lnTo>
                    <a:lnTo>
                      <a:pt x="2419" y="2248"/>
                    </a:lnTo>
                    <a:lnTo>
                      <a:pt x="2425" y="2241"/>
                    </a:lnTo>
                    <a:lnTo>
                      <a:pt x="2432" y="2238"/>
                    </a:lnTo>
                    <a:lnTo>
                      <a:pt x="2439" y="2234"/>
                    </a:lnTo>
                    <a:lnTo>
                      <a:pt x="2446" y="2231"/>
                    </a:lnTo>
                    <a:lnTo>
                      <a:pt x="2453" y="2229"/>
                    </a:lnTo>
                    <a:lnTo>
                      <a:pt x="2461" y="2228"/>
                    </a:lnTo>
                    <a:lnTo>
                      <a:pt x="2468" y="2227"/>
                    </a:lnTo>
                    <a:lnTo>
                      <a:pt x="2468" y="2227"/>
                    </a:lnTo>
                    <a:lnTo>
                      <a:pt x="2480" y="2228"/>
                    </a:lnTo>
                    <a:lnTo>
                      <a:pt x="2492" y="2232"/>
                    </a:lnTo>
                    <a:lnTo>
                      <a:pt x="2504" y="2237"/>
                    </a:lnTo>
                    <a:lnTo>
                      <a:pt x="2514" y="2243"/>
                    </a:lnTo>
                    <a:lnTo>
                      <a:pt x="2498" y="2301"/>
                    </a:lnTo>
                    <a:close/>
                    <a:moveTo>
                      <a:pt x="2022" y="2233"/>
                    </a:moveTo>
                    <a:lnTo>
                      <a:pt x="2082" y="2233"/>
                    </a:lnTo>
                    <a:lnTo>
                      <a:pt x="2012" y="2477"/>
                    </a:lnTo>
                    <a:lnTo>
                      <a:pt x="1960" y="2477"/>
                    </a:lnTo>
                    <a:lnTo>
                      <a:pt x="1933" y="2376"/>
                    </a:lnTo>
                    <a:lnTo>
                      <a:pt x="1933" y="2376"/>
                    </a:lnTo>
                    <a:lnTo>
                      <a:pt x="1920" y="2323"/>
                    </a:lnTo>
                    <a:lnTo>
                      <a:pt x="1920" y="2323"/>
                    </a:lnTo>
                    <a:lnTo>
                      <a:pt x="1914" y="2348"/>
                    </a:lnTo>
                    <a:lnTo>
                      <a:pt x="1907" y="2378"/>
                    </a:lnTo>
                    <a:lnTo>
                      <a:pt x="1880" y="2477"/>
                    </a:lnTo>
                    <a:lnTo>
                      <a:pt x="1828" y="2477"/>
                    </a:lnTo>
                    <a:lnTo>
                      <a:pt x="1826" y="2476"/>
                    </a:lnTo>
                    <a:lnTo>
                      <a:pt x="1758" y="2233"/>
                    </a:lnTo>
                    <a:lnTo>
                      <a:pt x="1820" y="2233"/>
                    </a:lnTo>
                    <a:lnTo>
                      <a:pt x="1843" y="2324"/>
                    </a:lnTo>
                    <a:lnTo>
                      <a:pt x="1843" y="2324"/>
                    </a:lnTo>
                    <a:lnTo>
                      <a:pt x="1849" y="2353"/>
                    </a:lnTo>
                    <a:lnTo>
                      <a:pt x="1856" y="2384"/>
                    </a:lnTo>
                    <a:lnTo>
                      <a:pt x="1856" y="2384"/>
                    </a:lnTo>
                    <a:lnTo>
                      <a:pt x="1862" y="2353"/>
                    </a:lnTo>
                    <a:lnTo>
                      <a:pt x="1870" y="2323"/>
                    </a:lnTo>
                    <a:lnTo>
                      <a:pt x="1896" y="2233"/>
                    </a:lnTo>
                    <a:lnTo>
                      <a:pt x="1947" y="2233"/>
                    </a:lnTo>
                    <a:lnTo>
                      <a:pt x="1972" y="2323"/>
                    </a:lnTo>
                    <a:lnTo>
                      <a:pt x="1972" y="2323"/>
                    </a:lnTo>
                    <a:lnTo>
                      <a:pt x="1979" y="2352"/>
                    </a:lnTo>
                    <a:lnTo>
                      <a:pt x="1987" y="2385"/>
                    </a:lnTo>
                    <a:lnTo>
                      <a:pt x="1987" y="2385"/>
                    </a:lnTo>
                    <a:lnTo>
                      <a:pt x="1993" y="2357"/>
                    </a:lnTo>
                    <a:lnTo>
                      <a:pt x="2000" y="2323"/>
                    </a:lnTo>
                    <a:lnTo>
                      <a:pt x="2022" y="2233"/>
                    </a:lnTo>
                    <a:close/>
                    <a:moveTo>
                      <a:pt x="2204" y="2227"/>
                    </a:moveTo>
                    <a:lnTo>
                      <a:pt x="2204" y="2227"/>
                    </a:lnTo>
                    <a:lnTo>
                      <a:pt x="2193" y="2228"/>
                    </a:lnTo>
                    <a:lnTo>
                      <a:pt x="2181" y="2229"/>
                    </a:lnTo>
                    <a:lnTo>
                      <a:pt x="2170" y="2233"/>
                    </a:lnTo>
                    <a:lnTo>
                      <a:pt x="2161" y="2237"/>
                    </a:lnTo>
                    <a:lnTo>
                      <a:pt x="2151" y="2241"/>
                    </a:lnTo>
                    <a:lnTo>
                      <a:pt x="2141" y="2249"/>
                    </a:lnTo>
                    <a:lnTo>
                      <a:pt x="2133" y="2255"/>
                    </a:lnTo>
                    <a:lnTo>
                      <a:pt x="2125" y="2263"/>
                    </a:lnTo>
                    <a:lnTo>
                      <a:pt x="2118" y="2272"/>
                    </a:lnTo>
                    <a:lnTo>
                      <a:pt x="2112" y="2282"/>
                    </a:lnTo>
                    <a:lnTo>
                      <a:pt x="2106" y="2293"/>
                    </a:lnTo>
                    <a:lnTo>
                      <a:pt x="2102" y="2303"/>
                    </a:lnTo>
                    <a:lnTo>
                      <a:pt x="2099" y="2316"/>
                    </a:lnTo>
                    <a:lnTo>
                      <a:pt x="2095" y="2329"/>
                    </a:lnTo>
                    <a:lnTo>
                      <a:pt x="2094" y="2341"/>
                    </a:lnTo>
                    <a:lnTo>
                      <a:pt x="2094" y="2356"/>
                    </a:lnTo>
                    <a:lnTo>
                      <a:pt x="2094" y="2356"/>
                    </a:lnTo>
                    <a:lnTo>
                      <a:pt x="2094" y="2369"/>
                    </a:lnTo>
                    <a:lnTo>
                      <a:pt x="2095" y="2382"/>
                    </a:lnTo>
                    <a:lnTo>
                      <a:pt x="2099" y="2395"/>
                    </a:lnTo>
                    <a:lnTo>
                      <a:pt x="2102" y="2407"/>
                    </a:lnTo>
                    <a:lnTo>
                      <a:pt x="2106" y="2418"/>
                    </a:lnTo>
                    <a:lnTo>
                      <a:pt x="2112" y="2429"/>
                    </a:lnTo>
                    <a:lnTo>
                      <a:pt x="2118" y="2438"/>
                    </a:lnTo>
                    <a:lnTo>
                      <a:pt x="2125" y="2447"/>
                    </a:lnTo>
                    <a:lnTo>
                      <a:pt x="2133" y="2455"/>
                    </a:lnTo>
                    <a:lnTo>
                      <a:pt x="2141" y="2463"/>
                    </a:lnTo>
                    <a:lnTo>
                      <a:pt x="2151" y="2469"/>
                    </a:lnTo>
                    <a:lnTo>
                      <a:pt x="2161" y="2474"/>
                    </a:lnTo>
                    <a:lnTo>
                      <a:pt x="2170" y="2477"/>
                    </a:lnTo>
                    <a:lnTo>
                      <a:pt x="2181" y="2481"/>
                    </a:lnTo>
                    <a:lnTo>
                      <a:pt x="2193" y="2482"/>
                    </a:lnTo>
                    <a:lnTo>
                      <a:pt x="2204" y="2483"/>
                    </a:lnTo>
                    <a:lnTo>
                      <a:pt x="2204" y="2483"/>
                    </a:lnTo>
                    <a:lnTo>
                      <a:pt x="2216" y="2482"/>
                    </a:lnTo>
                    <a:lnTo>
                      <a:pt x="2229" y="2481"/>
                    </a:lnTo>
                    <a:lnTo>
                      <a:pt x="2240" y="2477"/>
                    </a:lnTo>
                    <a:lnTo>
                      <a:pt x="2249" y="2474"/>
                    </a:lnTo>
                    <a:lnTo>
                      <a:pt x="2259" y="2469"/>
                    </a:lnTo>
                    <a:lnTo>
                      <a:pt x="2269" y="2463"/>
                    </a:lnTo>
                    <a:lnTo>
                      <a:pt x="2277" y="2455"/>
                    </a:lnTo>
                    <a:lnTo>
                      <a:pt x="2284" y="2447"/>
                    </a:lnTo>
                    <a:lnTo>
                      <a:pt x="2292" y="2438"/>
                    </a:lnTo>
                    <a:lnTo>
                      <a:pt x="2298" y="2429"/>
                    </a:lnTo>
                    <a:lnTo>
                      <a:pt x="2303" y="2418"/>
                    </a:lnTo>
                    <a:lnTo>
                      <a:pt x="2308" y="2407"/>
                    </a:lnTo>
                    <a:lnTo>
                      <a:pt x="2311" y="2395"/>
                    </a:lnTo>
                    <a:lnTo>
                      <a:pt x="2314" y="2382"/>
                    </a:lnTo>
                    <a:lnTo>
                      <a:pt x="2316" y="2369"/>
                    </a:lnTo>
                    <a:lnTo>
                      <a:pt x="2316" y="2356"/>
                    </a:lnTo>
                    <a:lnTo>
                      <a:pt x="2316" y="2356"/>
                    </a:lnTo>
                    <a:lnTo>
                      <a:pt x="2316" y="2341"/>
                    </a:lnTo>
                    <a:lnTo>
                      <a:pt x="2314" y="2329"/>
                    </a:lnTo>
                    <a:lnTo>
                      <a:pt x="2311" y="2316"/>
                    </a:lnTo>
                    <a:lnTo>
                      <a:pt x="2308" y="2303"/>
                    </a:lnTo>
                    <a:lnTo>
                      <a:pt x="2303" y="2293"/>
                    </a:lnTo>
                    <a:lnTo>
                      <a:pt x="2298" y="2282"/>
                    </a:lnTo>
                    <a:lnTo>
                      <a:pt x="2292" y="2272"/>
                    </a:lnTo>
                    <a:lnTo>
                      <a:pt x="2284" y="2263"/>
                    </a:lnTo>
                    <a:lnTo>
                      <a:pt x="2277" y="2255"/>
                    </a:lnTo>
                    <a:lnTo>
                      <a:pt x="2269" y="2249"/>
                    </a:lnTo>
                    <a:lnTo>
                      <a:pt x="2259" y="2241"/>
                    </a:lnTo>
                    <a:lnTo>
                      <a:pt x="2249" y="2237"/>
                    </a:lnTo>
                    <a:lnTo>
                      <a:pt x="2240" y="2233"/>
                    </a:lnTo>
                    <a:lnTo>
                      <a:pt x="2229" y="2229"/>
                    </a:lnTo>
                    <a:lnTo>
                      <a:pt x="2216" y="2228"/>
                    </a:lnTo>
                    <a:lnTo>
                      <a:pt x="2204" y="2227"/>
                    </a:lnTo>
                    <a:lnTo>
                      <a:pt x="2204" y="2227"/>
                    </a:lnTo>
                    <a:close/>
                    <a:moveTo>
                      <a:pt x="2204" y="2426"/>
                    </a:moveTo>
                    <a:lnTo>
                      <a:pt x="2204" y="2426"/>
                    </a:lnTo>
                    <a:lnTo>
                      <a:pt x="2193" y="2425"/>
                    </a:lnTo>
                    <a:lnTo>
                      <a:pt x="2185" y="2421"/>
                    </a:lnTo>
                    <a:lnTo>
                      <a:pt x="2176" y="2415"/>
                    </a:lnTo>
                    <a:lnTo>
                      <a:pt x="2169" y="2407"/>
                    </a:lnTo>
                    <a:lnTo>
                      <a:pt x="2163" y="2397"/>
                    </a:lnTo>
                    <a:lnTo>
                      <a:pt x="2158" y="2385"/>
                    </a:lnTo>
                    <a:lnTo>
                      <a:pt x="2156" y="2370"/>
                    </a:lnTo>
                    <a:lnTo>
                      <a:pt x="2156" y="2356"/>
                    </a:lnTo>
                    <a:lnTo>
                      <a:pt x="2156" y="2356"/>
                    </a:lnTo>
                    <a:lnTo>
                      <a:pt x="2156" y="2340"/>
                    </a:lnTo>
                    <a:lnTo>
                      <a:pt x="2158" y="2327"/>
                    </a:lnTo>
                    <a:lnTo>
                      <a:pt x="2163" y="2314"/>
                    </a:lnTo>
                    <a:lnTo>
                      <a:pt x="2169" y="2303"/>
                    </a:lnTo>
                    <a:lnTo>
                      <a:pt x="2176" y="2295"/>
                    </a:lnTo>
                    <a:lnTo>
                      <a:pt x="2185" y="2289"/>
                    </a:lnTo>
                    <a:lnTo>
                      <a:pt x="2193" y="2285"/>
                    </a:lnTo>
                    <a:lnTo>
                      <a:pt x="2204" y="2284"/>
                    </a:lnTo>
                    <a:lnTo>
                      <a:pt x="2204" y="2284"/>
                    </a:lnTo>
                    <a:lnTo>
                      <a:pt x="2215" y="2285"/>
                    </a:lnTo>
                    <a:lnTo>
                      <a:pt x="2225" y="2289"/>
                    </a:lnTo>
                    <a:lnTo>
                      <a:pt x="2233" y="2295"/>
                    </a:lnTo>
                    <a:lnTo>
                      <a:pt x="2241" y="2303"/>
                    </a:lnTo>
                    <a:lnTo>
                      <a:pt x="2247" y="2314"/>
                    </a:lnTo>
                    <a:lnTo>
                      <a:pt x="2250" y="2327"/>
                    </a:lnTo>
                    <a:lnTo>
                      <a:pt x="2253" y="2340"/>
                    </a:lnTo>
                    <a:lnTo>
                      <a:pt x="2254" y="2356"/>
                    </a:lnTo>
                    <a:lnTo>
                      <a:pt x="2254" y="2356"/>
                    </a:lnTo>
                    <a:lnTo>
                      <a:pt x="2253" y="2370"/>
                    </a:lnTo>
                    <a:lnTo>
                      <a:pt x="2250" y="2385"/>
                    </a:lnTo>
                    <a:lnTo>
                      <a:pt x="2247" y="2397"/>
                    </a:lnTo>
                    <a:lnTo>
                      <a:pt x="2241" y="2407"/>
                    </a:lnTo>
                    <a:lnTo>
                      <a:pt x="2233" y="2415"/>
                    </a:lnTo>
                    <a:lnTo>
                      <a:pt x="2225" y="2421"/>
                    </a:lnTo>
                    <a:lnTo>
                      <a:pt x="2215" y="2425"/>
                    </a:lnTo>
                    <a:lnTo>
                      <a:pt x="2204" y="2426"/>
                    </a:lnTo>
                    <a:lnTo>
                      <a:pt x="2204" y="2426"/>
                    </a:lnTo>
                    <a:close/>
                    <a:moveTo>
                      <a:pt x="921" y="2313"/>
                    </a:moveTo>
                    <a:lnTo>
                      <a:pt x="995" y="2477"/>
                    </a:lnTo>
                    <a:lnTo>
                      <a:pt x="928" y="2477"/>
                    </a:lnTo>
                    <a:lnTo>
                      <a:pt x="877" y="2364"/>
                    </a:lnTo>
                    <a:lnTo>
                      <a:pt x="845" y="2404"/>
                    </a:lnTo>
                    <a:lnTo>
                      <a:pt x="845" y="2477"/>
                    </a:lnTo>
                    <a:lnTo>
                      <a:pt x="785" y="2477"/>
                    </a:lnTo>
                    <a:lnTo>
                      <a:pt x="785" y="2161"/>
                    </a:lnTo>
                    <a:lnTo>
                      <a:pt x="845" y="2131"/>
                    </a:lnTo>
                    <a:lnTo>
                      <a:pt x="845" y="2327"/>
                    </a:lnTo>
                    <a:lnTo>
                      <a:pt x="845" y="2327"/>
                    </a:lnTo>
                    <a:lnTo>
                      <a:pt x="868" y="2295"/>
                    </a:lnTo>
                    <a:lnTo>
                      <a:pt x="916" y="2233"/>
                    </a:lnTo>
                    <a:lnTo>
                      <a:pt x="987" y="2233"/>
                    </a:lnTo>
                    <a:lnTo>
                      <a:pt x="921" y="2313"/>
                    </a:lnTo>
                    <a:close/>
                    <a:moveTo>
                      <a:pt x="1208" y="2477"/>
                    </a:moveTo>
                    <a:lnTo>
                      <a:pt x="1147" y="2477"/>
                    </a:lnTo>
                    <a:lnTo>
                      <a:pt x="1147" y="2233"/>
                    </a:lnTo>
                    <a:lnTo>
                      <a:pt x="1208" y="2233"/>
                    </a:lnTo>
                    <a:lnTo>
                      <a:pt x="1208" y="2254"/>
                    </a:lnTo>
                    <a:lnTo>
                      <a:pt x="1208" y="2254"/>
                    </a:lnTo>
                    <a:lnTo>
                      <a:pt x="1214" y="2248"/>
                    </a:lnTo>
                    <a:lnTo>
                      <a:pt x="1220" y="2243"/>
                    </a:lnTo>
                    <a:lnTo>
                      <a:pt x="1227" y="2238"/>
                    </a:lnTo>
                    <a:lnTo>
                      <a:pt x="1235" y="2234"/>
                    </a:lnTo>
                    <a:lnTo>
                      <a:pt x="1243" y="2232"/>
                    </a:lnTo>
                    <a:lnTo>
                      <a:pt x="1252" y="2229"/>
                    </a:lnTo>
                    <a:lnTo>
                      <a:pt x="1260" y="2228"/>
                    </a:lnTo>
                    <a:lnTo>
                      <a:pt x="1270" y="2227"/>
                    </a:lnTo>
                    <a:lnTo>
                      <a:pt x="1270" y="2227"/>
                    </a:lnTo>
                    <a:lnTo>
                      <a:pt x="1281" y="2228"/>
                    </a:lnTo>
                    <a:lnTo>
                      <a:pt x="1290" y="2229"/>
                    </a:lnTo>
                    <a:lnTo>
                      <a:pt x="1299" y="2232"/>
                    </a:lnTo>
                    <a:lnTo>
                      <a:pt x="1309" y="2234"/>
                    </a:lnTo>
                    <a:lnTo>
                      <a:pt x="1316" y="2239"/>
                    </a:lnTo>
                    <a:lnTo>
                      <a:pt x="1323" y="2244"/>
                    </a:lnTo>
                    <a:lnTo>
                      <a:pt x="1331" y="2249"/>
                    </a:lnTo>
                    <a:lnTo>
                      <a:pt x="1337" y="2256"/>
                    </a:lnTo>
                    <a:lnTo>
                      <a:pt x="1342" y="2263"/>
                    </a:lnTo>
                    <a:lnTo>
                      <a:pt x="1346" y="2272"/>
                    </a:lnTo>
                    <a:lnTo>
                      <a:pt x="1350" y="2280"/>
                    </a:lnTo>
                    <a:lnTo>
                      <a:pt x="1354" y="2291"/>
                    </a:lnTo>
                    <a:lnTo>
                      <a:pt x="1356" y="2302"/>
                    </a:lnTo>
                    <a:lnTo>
                      <a:pt x="1357" y="2313"/>
                    </a:lnTo>
                    <a:lnTo>
                      <a:pt x="1359" y="2325"/>
                    </a:lnTo>
                    <a:lnTo>
                      <a:pt x="1360" y="2339"/>
                    </a:lnTo>
                    <a:lnTo>
                      <a:pt x="1360" y="2477"/>
                    </a:lnTo>
                    <a:lnTo>
                      <a:pt x="1299" y="2477"/>
                    </a:lnTo>
                    <a:lnTo>
                      <a:pt x="1299" y="2342"/>
                    </a:lnTo>
                    <a:lnTo>
                      <a:pt x="1299" y="2342"/>
                    </a:lnTo>
                    <a:lnTo>
                      <a:pt x="1298" y="2329"/>
                    </a:lnTo>
                    <a:lnTo>
                      <a:pt x="1297" y="2316"/>
                    </a:lnTo>
                    <a:lnTo>
                      <a:pt x="1293" y="2306"/>
                    </a:lnTo>
                    <a:lnTo>
                      <a:pt x="1288" y="2297"/>
                    </a:lnTo>
                    <a:lnTo>
                      <a:pt x="1282" y="2291"/>
                    </a:lnTo>
                    <a:lnTo>
                      <a:pt x="1275" y="2286"/>
                    </a:lnTo>
                    <a:lnTo>
                      <a:pt x="1265" y="2284"/>
                    </a:lnTo>
                    <a:lnTo>
                      <a:pt x="1254" y="2283"/>
                    </a:lnTo>
                    <a:lnTo>
                      <a:pt x="1254" y="2283"/>
                    </a:lnTo>
                    <a:lnTo>
                      <a:pt x="1244" y="2284"/>
                    </a:lnTo>
                    <a:lnTo>
                      <a:pt x="1235" y="2286"/>
                    </a:lnTo>
                    <a:lnTo>
                      <a:pt x="1226" y="2291"/>
                    </a:lnTo>
                    <a:lnTo>
                      <a:pt x="1220" y="2299"/>
                    </a:lnTo>
                    <a:lnTo>
                      <a:pt x="1215" y="2306"/>
                    </a:lnTo>
                    <a:lnTo>
                      <a:pt x="1212" y="2317"/>
                    </a:lnTo>
                    <a:lnTo>
                      <a:pt x="1209" y="2329"/>
                    </a:lnTo>
                    <a:lnTo>
                      <a:pt x="1208" y="2342"/>
                    </a:lnTo>
                    <a:lnTo>
                      <a:pt x="1208" y="2477"/>
                    </a:lnTo>
                    <a:close/>
                    <a:moveTo>
                      <a:pt x="1551" y="2250"/>
                    </a:moveTo>
                    <a:lnTo>
                      <a:pt x="1551" y="2250"/>
                    </a:lnTo>
                    <a:lnTo>
                      <a:pt x="1544" y="2245"/>
                    </a:lnTo>
                    <a:lnTo>
                      <a:pt x="1538" y="2240"/>
                    </a:lnTo>
                    <a:lnTo>
                      <a:pt x="1532" y="2237"/>
                    </a:lnTo>
                    <a:lnTo>
                      <a:pt x="1525" y="2233"/>
                    </a:lnTo>
                    <a:lnTo>
                      <a:pt x="1518" y="2231"/>
                    </a:lnTo>
                    <a:lnTo>
                      <a:pt x="1510" y="2229"/>
                    </a:lnTo>
                    <a:lnTo>
                      <a:pt x="1503" y="2228"/>
                    </a:lnTo>
                    <a:lnTo>
                      <a:pt x="1496" y="2227"/>
                    </a:lnTo>
                    <a:lnTo>
                      <a:pt x="1496" y="2227"/>
                    </a:lnTo>
                    <a:lnTo>
                      <a:pt x="1485" y="2228"/>
                    </a:lnTo>
                    <a:lnTo>
                      <a:pt x="1475" y="2229"/>
                    </a:lnTo>
                    <a:lnTo>
                      <a:pt x="1465" y="2232"/>
                    </a:lnTo>
                    <a:lnTo>
                      <a:pt x="1456" y="2237"/>
                    </a:lnTo>
                    <a:lnTo>
                      <a:pt x="1447" y="2240"/>
                    </a:lnTo>
                    <a:lnTo>
                      <a:pt x="1440" y="2246"/>
                    </a:lnTo>
                    <a:lnTo>
                      <a:pt x="1433" y="2254"/>
                    </a:lnTo>
                    <a:lnTo>
                      <a:pt x="1425" y="2261"/>
                    </a:lnTo>
                    <a:lnTo>
                      <a:pt x="1419" y="2269"/>
                    </a:lnTo>
                    <a:lnTo>
                      <a:pt x="1414" y="2279"/>
                    </a:lnTo>
                    <a:lnTo>
                      <a:pt x="1410" y="2289"/>
                    </a:lnTo>
                    <a:lnTo>
                      <a:pt x="1406" y="2301"/>
                    </a:lnTo>
                    <a:lnTo>
                      <a:pt x="1404" y="2312"/>
                    </a:lnTo>
                    <a:lnTo>
                      <a:pt x="1401" y="2325"/>
                    </a:lnTo>
                    <a:lnTo>
                      <a:pt x="1400" y="2339"/>
                    </a:lnTo>
                    <a:lnTo>
                      <a:pt x="1400" y="2352"/>
                    </a:lnTo>
                    <a:lnTo>
                      <a:pt x="1400" y="2352"/>
                    </a:lnTo>
                    <a:lnTo>
                      <a:pt x="1400" y="2368"/>
                    </a:lnTo>
                    <a:lnTo>
                      <a:pt x="1401" y="2381"/>
                    </a:lnTo>
                    <a:lnTo>
                      <a:pt x="1404" y="2395"/>
                    </a:lnTo>
                    <a:lnTo>
                      <a:pt x="1406" y="2408"/>
                    </a:lnTo>
                    <a:lnTo>
                      <a:pt x="1410" y="2419"/>
                    </a:lnTo>
                    <a:lnTo>
                      <a:pt x="1414" y="2430"/>
                    </a:lnTo>
                    <a:lnTo>
                      <a:pt x="1419" y="2440"/>
                    </a:lnTo>
                    <a:lnTo>
                      <a:pt x="1425" y="2448"/>
                    </a:lnTo>
                    <a:lnTo>
                      <a:pt x="1431" y="2457"/>
                    </a:lnTo>
                    <a:lnTo>
                      <a:pt x="1439" y="2463"/>
                    </a:lnTo>
                    <a:lnTo>
                      <a:pt x="1446" y="2469"/>
                    </a:lnTo>
                    <a:lnTo>
                      <a:pt x="1455" y="2474"/>
                    </a:lnTo>
                    <a:lnTo>
                      <a:pt x="1464" y="2477"/>
                    </a:lnTo>
                    <a:lnTo>
                      <a:pt x="1474" y="2481"/>
                    </a:lnTo>
                    <a:lnTo>
                      <a:pt x="1484" y="2482"/>
                    </a:lnTo>
                    <a:lnTo>
                      <a:pt x="1495" y="2483"/>
                    </a:lnTo>
                    <a:lnTo>
                      <a:pt x="1495" y="2483"/>
                    </a:lnTo>
                    <a:lnTo>
                      <a:pt x="1502" y="2482"/>
                    </a:lnTo>
                    <a:lnTo>
                      <a:pt x="1510" y="2481"/>
                    </a:lnTo>
                    <a:lnTo>
                      <a:pt x="1518" y="2480"/>
                    </a:lnTo>
                    <a:lnTo>
                      <a:pt x="1525" y="2477"/>
                    </a:lnTo>
                    <a:lnTo>
                      <a:pt x="1531" y="2474"/>
                    </a:lnTo>
                    <a:lnTo>
                      <a:pt x="1538" y="2470"/>
                    </a:lnTo>
                    <a:lnTo>
                      <a:pt x="1544" y="2465"/>
                    </a:lnTo>
                    <a:lnTo>
                      <a:pt x="1551" y="2459"/>
                    </a:lnTo>
                    <a:lnTo>
                      <a:pt x="1551" y="2465"/>
                    </a:lnTo>
                    <a:lnTo>
                      <a:pt x="1551" y="2465"/>
                    </a:lnTo>
                    <a:lnTo>
                      <a:pt x="1551" y="2475"/>
                    </a:lnTo>
                    <a:lnTo>
                      <a:pt x="1549" y="2486"/>
                    </a:lnTo>
                    <a:lnTo>
                      <a:pt x="1546" y="2497"/>
                    </a:lnTo>
                    <a:lnTo>
                      <a:pt x="1543" y="2502"/>
                    </a:lnTo>
                    <a:lnTo>
                      <a:pt x="1541" y="2506"/>
                    </a:lnTo>
                    <a:lnTo>
                      <a:pt x="1536" y="2511"/>
                    </a:lnTo>
                    <a:lnTo>
                      <a:pt x="1531" y="2516"/>
                    </a:lnTo>
                    <a:lnTo>
                      <a:pt x="1525" y="2520"/>
                    </a:lnTo>
                    <a:lnTo>
                      <a:pt x="1518" y="2524"/>
                    </a:lnTo>
                    <a:lnTo>
                      <a:pt x="1508" y="2526"/>
                    </a:lnTo>
                    <a:lnTo>
                      <a:pt x="1498" y="2528"/>
                    </a:lnTo>
                    <a:lnTo>
                      <a:pt x="1486" y="2530"/>
                    </a:lnTo>
                    <a:lnTo>
                      <a:pt x="1472" y="2530"/>
                    </a:lnTo>
                    <a:lnTo>
                      <a:pt x="1469" y="2530"/>
                    </a:lnTo>
                    <a:lnTo>
                      <a:pt x="1491" y="2577"/>
                    </a:lnTo>
                    <a:lnTo>
                      <a:pt x="1492" y="2577"/>
                    </a:lnTo>
                    <a:lnTo>
                      <a:pt x="1492" y="2577"/>
                    </a:lnTo>
                    <a:lnTo>
                      <a:pt x="1507" y="2577"/>
                    </a:lnTo>
                    <a:lnTo>
                      <a:pt x="1520" y="2576"/>
                    </a:lnTo>
                    <a:lnTo>
                      <a:pt x="1532" y="2572"/>
                    </a:lnTo>
                    <a:lnTo>
                      <a:pt x="1544" y="2570"/>
                    </a:lnTo>
                    <a:lnTo>
                      <a:pt x="1555" y="2565"/>
                    </a:lnTo>
                    <a:lnTo>
                      <a:pt x="1565" y="2560"/>
                    </a:lnTo>
                    <a:lnTo>
                      <a:pt x="1574" y="2554"/>
                    </a:lnTo>
                    <a:lnTo>
                      <a:pt x="1581" y="2547"/>
                    </a:lnTo>
                    <a:lnTo>
                      <a:pt x="1588" y="2538"/>
                    </a:lnTo>
                    <a:lnTo>
                      <a:pt x="1594" y="2530"/>
                    </a:lnTo>
                    <a:lnTo>
                      <a:pt x="1599" y="2519"/>
                    </a:lnTo>
                    <a:lnTo>
                      <a:pt x="1603" y="2508"/>
                    </a:lnTo>
                    <a:lnTo>
                      <a:pt x="1606" y="2497"/>
                    </a:lnTo>
                    <a:lnTo>
                      <a:pt x="1609" y="2483"/>
                    </a:lnTo>
                    <a:lnTo>
                      <a:pt x="1610" y="2470"/>
                    </a:lnTo>
                    <a:lnTo>
                      <a:pt x="1610" y="2455"/>
                    </a:lnTo>
                    <a:lnTo>
                      <a:pt x="1610" y="2233"/>
                    </a:lnTo>
                    <a:lnTo>
                      <a:pt x="1551" y="2233"/>
                    </a:lnTo>
                    <a:lnTo>
                      <a:pt x="1551" y="2250"/>
                    </a:lnTo>
                    <a:close/>
                    <a:moveTo>
                      <a:pt x="1551" y="2307"/>
                    </a:moveTo>
                    <a:lnTo>
                      <a:pt x="1551" y="2403"/>
                    </a:lnTo>
                    <a:lnTo>
                      <a:pt x="1551" y="2403"/>
                    </a:lnTo>
                    <a:lnTo>
                      <a:pt x="1542" y="2412"/>
                    </a:lnTo>
                    <a:lnTo>
                      <a:pt x="1534" y="2420"/>
                    </a:lnTo>
                    <a:lnTo>
                      <a:pt x="1527" y="2423"/>
                    </a:lnTo>
                    <a:lnTo>
                      <a:pt x="1521" y="2425"/>
                    </a:lnTo>
                    <a:lnTo>
                      <a:pt x="1515" y="2426"/>
                    </a:lnTo>
                    <a:lnTo>
                      <a:pt x="1507" y="2427"/>
                    </a:lnTo>
                    <a:lnTo>
                      <a:pt x="1507" y="2427"/>
                    </a:lnTo>
                    <a:lnTo>
                      <a:pt x="1499" y="2426"/>
                    </a:lnTo>
                    <a:lnTo>
                      <a:pt x="1491" y="2424"/>
                    </a:lnTo>
                    <a:lnTo>
                      <a:pt x="1484" y="2420"/>
                    </a:lnTo>
                    <a:lnTo>
                      <a:pt x="1476" y="2413"/>
                    </a:lnTo>
                    <a:lnTo>
                      <a:pt x="1470" y="2403"/>
                    </a:lnTo>
                    <a:lnTo>
                      <a:pt x="1465" y="2390"/>
                    </a:lnTo>
                    <a:lnTo>
                      <a:pt x="1463" y="2373"/>
                    </a:lnTo>
                    <a:lnTo>
                      <a:pt x="1462" y="2351"/>
                    </a:lnTo>
                    <a:lnTo>
                      <a:pt x="1462" y="2351"/>
                    </a:lnTo>
                    <a:lnTo>
                      <a:pt x="1463" y="2333"/>
                    </a:lnTo>
                    <a:lnTo>
                      <a:pt x="1465" y="2317"/>
                    </a:lnTo>
                    <a:lnTo>
                      <a:pt x="1470" y="2305"/>
                    </a:lnTo>
                    <a:lnTo>
                      <a:pt x="1476" y="2296"/>
                    </a:lnTo>
                    <a:lnTo>
                      <a:pt x="1484" y="2290"/>
                    </a:lnTo>
                    <a:lnTo>
                      <a:pt x="1491" y="2285"/>
                    </a:lnTo>
                    <a:lnTo>
                      <a:pt x="1499" y="2284"/>
                    </a:lnTo>
                    <a:lnTo>
                      <a:pt x="1507" y="2283"/>
                    </a:lnTo>
                    <a:lnTo>
                      <a:pt x="1507" y="2283"/>
                    </a:lnTo>
                    <a:lnTo>
                      <a:pt x="1515" y="2284"/>
                    </a:lnTo>
                    <a:lnTo>
                      <a:pt x="1523" y="2285"/>
                    </a:lnTo>
                    <a:lnTo>
                      <a:pt x="1529" y="2288"/>
                    </a:lnTo>
                    <a:lnTo>
                      <a:pt x="1535" y="2291"/>
                    </a:lnTo>
                    <a:lnTo>
                      <a:pt x="1540" y="2295"/>
                    </a:lnTo>
                    <a:lnTo>
                      <a:pt x="1543" y="2299"/>
                    </a:lnTo>
                    <a:lnTo>
                      <a:pt x="1551" y="2307"/>
                    </a:lnTo>
                    <a:lnTo>
                      <a:pt x="1551" y="2307"/>
                    </a:lnTo>
                    <a:close/>
                    <a:moveTo>
                      <a:pt x="1033" y="2233"/>
                    </a:moveTo>
                    <a:lnTo>
                      <a:pt x="1094" y="2233"/>
                    </a:lnTo>
                    <a:lnTo>
                      <a:pt x="1094" y="2341"/>
                    </a:lnTo>
                    <a:lnTo>
                      <a:pt x="1094" y="2477"/>
                    </a:lnTo>
                    <a:lnTo>
                      <a:pt x="1033" y="2477"/>
                    </a:lnTo>
                    <a:lnTo>
                      <a:pt x="1033" y="2233"/>
                    </a:lnTo>
                    <a:close/>
                    <a:moveTo>
                      <a:pt x="1094" y="2167"/>
                    </a:moveTo>
                    <a:lnTo>
                      <a:pt x="1094" y="2198"/>
                    </a:lnTo>
                    <a:lnTo>
                      <a:pt x="1033" y="2198"/>
                    </a:lnTo>
                    <a:lnTo>
                      <a:pt x="1033" y="2137"/>
                    </a:lnTo>
                    <a:lnTo>
                      <a:pt x="1094" y="2137"/>
                    </a:lnTo>
                    <a:lnTo>
                      <a:pt x="1094" y="2167"/>
                    </a:lnTo>
                    <a:close/>
                    <a:moveTo>
                      <a:pt x="2542" y="2161"/>
                    </a:moveTo>
                    <a:lnTo>
                      <a:pt x="2603" y="2131"/>
                    </a:lnTo>
                    <a:lnTo>
                      <a:pt x="2603" y="2352"/>
                    </a:lnTo>
                    <a:lnTo>
                      <a:pt x="2603" y="2477"/>
                    </a:lnTo>
                    <a:lnTo>
                      <a:pt x="2542" y="2477"/>
                    </a:lnTo>
                    <a:lnTo>
                      <a:pt x="2542" y="2161"/>
                    </a:lnTo>
                    <a:close/>
                    <a:moveTo>
                      <a:pt x="437" y="834"/>
                    </a:moveTo>
                    <a:lnTo>
                      <a:pt x="936" y="834"/>
                    </a:lnTo>
                    <a:lnTo>
                      <a:pt x="936" y="544"/>
                    </a:lnTo>
                    <a:lnTo>
                      <a:pt x="437" y="544"/>
                    </a:lnTo>
                    <a:lnTo>
                      <a:pt x="437" y="317"/>
                    </a:lnTo>
                    <a:lnTo>
                      <a:pt x="989" y="317"/>
                    </a:lnTo>
                    <a:lnTo>
                      <a:pt x="806" y="0"/>
                    </a:lnTo>
                    <a:lnTo>
                      <a:pt x="24" y="0"/>
                    </a:lnTo>
                    <a:lnTo>
                      <a:pt x="24" y="1378"/>
                    </a:lnTo>
                    <a:lnTo>
                      <a:pt x="1126" y="1378"/>
                    </a:lnTo>
                    <a:lnTo>
                      <a:pt x="1126" y="1061"/>
                    </a:lnTo>
                    <a:lnTo>
                      <a:pt x="437" y="1061"/>
                    </a:lnTo>
                    <a:lnTo>
                      <a:pt x="437" y="834"/>
                    </a:lnTo>
                    <a:close/>
                    <a:moveTo>
                      <a:pt x="1860" y="0"/>
                    </a:moveTo>
                    <a:lnTo>
                      <a:pt x="1626" y="450"/>
                    </a:lnTo>
                    <a:lnTo>
                      <a:pt x="1393" y="0"/>
                    </a:lnTo>
                    <a:lnTo>
                      <a:pt x="936" y="0"/>
                    </a:lnTo>
                    <a:lnTo>
                      <a:pt x="1417" y="834"/>
                    </a:lnTo>
                    <a:lnTo>
                      <a:pt x="1417" y="1378"/>
                    </a:lnTo>
                    <a:lnTo>
                      <a:pt x="1829" y="1378"/>
                    </a:lnTo>
                    <a:lnTo>
                      <a:pt x="1829" y="834"/>
                    </a:lnTo>
                    <a:lnTo>
                      <a:pt x="2311" y="0"/>
                    </a:lnTo>
                    <a:lnTo>
                      <a:pt x="18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</p:grpSp>
        <p:sp>
          <p:nvSpPr>
            <p:cNvPr id="39" name="Content Placeholder 5">
              <a:extLst>
                <a:ext uri="{FF2B5EF4-FFF2-40B4-BE49-F238E27FC236}">
                  <a16:creationId xmlns:a16="http://schemas.microsoft.com/office/drawing/2014/main" id="{1F65166A-5035-4B6C-AF4A-6EF6BFC664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28588" y="-12187"/>
              <a:ext cx="799089" cy="310587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Context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&amp; Scope</a:t>
              </a:r>
            </a:p>
          </p:txBody>
        </p:sp>
        <p:sp>
          <p:nvSpPr>
            <p:cNvPr id="40" name="Content Placeholder 5">
              <a:extLst>
                <a:ext uri="{FF2B5EF4-FFF2-40B4-BE49-F238E27FC236}">
                  <a16:creationId xmlns:a16="http://schemas.microsoft.com/office/drawing/2014/main" id="{1A837389-95CF-4B3B-800E-FEC27EAA438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653573" y="1246"/>
              <a:ext cx="1008804" cy="283721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en-US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 Timeline</a:t>
              </a:r>
            </a:p>
          </p:txBody>
        </p:sp>
        <p:sp>
          <p:nvSpPr>
            <p:cNvPr id="41" name="Content Placeholder 5">
              <a:extLst>
                <a:ext uri="{FF2B5EF4-FFF2-40B4-BE49-F238E27FC236}">
                  <a16:creationId xmlns:a16="http://schemas.microsoft.com/office/drawing/2014/main" id="{C677C157-AF08-4089-AD3A-B2E58F50B6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77810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Detailed Scope &amp; Assumptions</a:t>
              </a:r>
            </a:p>
          </p:txBody>
        </p:sp>
        <p:sp>
          <p:nvSpPr>
            <p:cNvPr id="42" name="Content Placeholder 5">
              <a:extLst>
                <a:ext uri="{FF2B5EF4-FFF2-40B4-BE49-F238E27FC236}">
                  <a16:creationId xmlns:a16="http://schemas.microsoft.com/office/drawing/2014/main" id="{C54C3731-6E06-4D59-B7AC-4CB0839F6BA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97101" y="47457"/>
              <a:ext cx="1279397" cy="191298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Solution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roach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3" name="Content Placeholder 5">
              <a:extLst>
                <a:ext uri="{FF2B5EF4-FFF2-40B4-BE49-F238E27FC236}">
                  <a16:creationId xmlns:a16="http://schemas.microsoft.com/office/drawing/2014/main" id="{4C744CCD-1894-4D79-A2A4-C8D4721575F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45922" y="75112"/>
              <a:ext cx="1138227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ject Team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Governance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4" name="Content Placeholder 5">
              <a:extLst>
                <a:ext uri="{FF2B5EF4-FFF2-40B4-BE49-F238E27FC236}">
                  <a16:creationId xmlns:a16="http://schemas.microsoft.com/office/drawing/2014/main" id="{B04B1A59-BBF2-4C7E-93E4-2BEA61B88A2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31801" y="75112"/>
              <a:ext cx="1097554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Value Proposition</a:t>
              </a:r>
            </a:p>
          </p:txBody>
        </p:sp>
        <p:sp>
          <p:nvSpPr>
            <p:cNvPr id="45" name="Content Placeholder 5">
              <a:extLst>
                <a:ext uri="{FF2B5EF4-FFF2-40B4-BE49-F238E27FC236}">
                  <a16:creationId xmlns:a16="http://schemas.microsoft.com/office/drawing/2014/main" id="{8C34B344-C0CE-4B04-B2C1-BA3177570D0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734717" y="79567"/>
              <a:ext cx="773670" cy="12707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Teams Profiles</a:t>
              </a:r>
            </a:p>
          </p:txBody>
        </p:sp>
        <p:sp>
          <p:nvSpPr>
            <p:cNvPr id="46" name="Content Placeholder 5">
              <a:extLst>
                <a:ext uri="{FF2B5EF4-FFF2-40B4-BE49-F238E27FC236}">
                  <a16:creationId xmlns:a16="http://schemas.microsoft.com/office/drawing/2014/main" id="{EC1487B0-A008-44F9-8EEB-0F2EEFDAE85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98779" y="54928"/>
              <a:ext cx="866515" cy="1763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Credentials</a:t>
              </a:r>
            </a:p>
          </p:txBody>
        </p:sp>
        <p:sp>
          <p:nvSpPr>
            <p:cNvPr id="47" name="Content Placeholder 5">
              <a:extLst>
                <a:ext uri="{FF2B5EF4-FFF2-40B4-BE49-F238E27FC236}">
                  <a16:creationId xmlns:a16="http://schemas.microsoft.com/office/drawing/2014/main" id="{997CD9E4-742F-44FE-8E85-9BE7574D9DA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229765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end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0581582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43851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36614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208715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555" marR="0" indent="-171364" algn="l" defTabSz="6842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7665" y="2085631"/>
            <a:ext cx="8657275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29600">
                <a:tabLst>
                  <a:tab pos="9507306" algn="l"/>
                </a:tabLst>
              </a:pPr>
              <a:r>
                <a:rPr lang="en-US" sz="1399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399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399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29600">
                <a:tabLst>
                  <a:tab pos="9507306" algn="l"/>
                </a:tabLst>
              </a:pPr>
              <a:r>
                <a:rPr lang="en-US" sz="1399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399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399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5806" y="3148295"/>
            <a:ext cx="8189135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29600">
                <a:tabLst>
                  <a:tab pos="9507306" algn="l"/>
                </a:tabLst>
              </a:pPr>
              <a:r>
                <a:rPr lang="en-US" sz="1399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399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399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5804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29600">
                <a:tabLst>
                  <a:tab pos="9507306" algn="l"/>
                </a:tabLst>
              </a:pPr>
              <a:r>
                <a:rPr lang="en-US" sz="1399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399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399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666B45F-6184-4004-ACF9-B28B722322CC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70485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0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06400" y="76200"/>
            <a:ext cx="7823200" cy="1143000"/>
          </a:xfrm>
          <a:prstGeom prst="rect">
            <a:avLst/>
          </a:prstGeom>
        </p:spPr>
        <p:txBody>
          <a:bodyPr/>
          <a:lstStyle>
            <a:lvl1pPr algn="l">
              <a:defRPr sz="27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007080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6971" indent="0">
              <a:buNone/>
              <a:defRPr sz="1999" b="1"/>
            </a:lvl2pPr>
            <a:lvl3pPr marL="913943" indent="0">
              <a:buNone/>
              <a:defRPr sz="1799" b="1"/>
            </a:lvl3pPr>
            <a:lvl4pPr marL="1370914" indent="0">
              <a:buNone/>
              <a:defRPr sz="1599" b="1"/>
            </a:lvl4pPr>
            <a:lvl5pPr marL="1827886" indent="0">
              <a:buNone/>
              <a:defRPr sz="1599" b="1"/>
            </a:lvl5pPr>
            <a:lvl6pPr marL="2284857" indent="0">
              <a:buNone/>
              <a:defRPr sz="1599" b="1"/>
            </a:lvl6pPr>
            <a:lvl7pPr marL="2741828" indent="0">
              <a:buNone/>
              <a:defRPr sz="1599" b="1"/>
            </a:lvl7pPr>
            <a:lvl8pPr marL="3198800" indent="0">
              <a:buNone/>
              <a:defRPr sz="1599" b="1"/>
            </a:lvl8pPr>
            <a:lvl9pPr marL="3655771" indent="0">
              <a:buNone/>
              <a:defRPr sz="159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599"/>
            </a:lvl4pPr>
            <a:lvl5pPr>
              <a:defRPr sz="1599"/>
            </a:lvl5pPr>
            <a:lvl6pPr>
              <a:defRPr sz="1599"/>
            </a:lvl6pPr>
            <a:lvl7pPr>
              <a:defRPr sz="1599"/>
            </a:lvl7pPr>
            <a:lvl8pPr>
              <a:defRPr sz="1599"/>
            </a:lvl8pPr>
            <a:lvl9pPr>
              <a:defRPr sz="15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6971" indent="0">
              <a:buNone/>
              <a:defRPr sz="1999" b="1"/>
            </a:lvl2pPr>
            <a:lvl3pPr marL="913943" indent="0">
              <a:buNone/>
              <a:defRPr sz="1799" b="1"/>
            </a:lvl3pPr>
            <a:lvl4pPr marL="1370914" indent="0">
              <a:buNone/>
              <a:defRPr sz="1599" b="1"/>
            </a:lvl4pPr>
            <a:lvl5pPr marL="1827886" indent="0">
              <a:buNone/>
              <a:defRPr sz="1599" b="1"/>
            </a:lvl5pPr>
            <a:lvl6pPr marL="2284857" indent="0">
              <a:buNone/>
              <a:defRPr sz="1599" b="1"/>
            </a:lvl6pPr>
            <a:lvl7pPr marL="2741828" indent="0">
              <a:buNone/>
              <a:defRPr sz="1599" b="1"/>
            </a:lvl7pPr>
            <a:lvl8pPr marL="3198800" indent="0">
              <a:buNone/>
              <a:defRPr sz="1599" b="1"/>
            </a:lvl8pPr>
            <a:lvl9pPr marL="3655771" indent="0">
              <a:buNone/>
              <a:defRPr sz="159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599"/>
            </a:lvl4pPr>
            <a:lvl5pPr>
              <a:defRPr sz="1599"/>
            </a:lvl5pPr>
            <a:lvl6pPr>
              <a:defRPr sz="1599"/>
            </a:lvl6pPr>
            <a:lvl7pPr>
              <a:defRPr sz="1599"/>
            </a:lvl7pPr>
            <a:lvl8pPr>
              <a:defRPr sz="1599"/>
            </a:lvl8pPr>
            <a:lvl9pPr>
              <a:defRPr sz="15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6400" y="76200"/>
            <a:ext cx="7823200" cy="1143000"/>
          </a:xfrm>
          <a:prstGeom prst="rect">
            <a:avLst/>
          </a:prstGeom>
        </p:spPr>
        <p:txBody>
          <a:bodyPr/>
          <a:lstStyle>
            <a:lvl1pPr algn="l">
              <a:defRPr sz="27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4207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06400" y="76200"/>
            <a:ext cx="7823200" cy="1143000"/>
          </a:xfrm>
          <a:prstGeom prst="rect">
            <a:avLst/>
          </a:prstGeom>
        </p:spPr>
        <p:txBody>
          <a:bodyPr/>
          <a:lstStyle>
            <a:lvl1pPr algn="l">
              <a:defRPr sz="27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514482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8" y="1592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8" y="1592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7" y="1508760"/>
            <a:ext cx="11029033" cy="46177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662839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20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56" noProof="0">
              <a:solidFill>
                <a:schemeClr val="bg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509960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2" name="Picture 18" descr="Plant Pipelines and Motors">
            <a:extLst>
              <a:ext uri="{FF2B5EF4-FFF2-40B4-BE49-F238E27FC236}">
                <a16:creationId xmlns:a16="http://schemas.microsoft.com/office/drawing/2014/main" id="{582AA72B-84C5-3633-76FB-C8FD47F85D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93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5" name="AutoShape 24" descr="Pennar bags orders worth Rs 647 crore during December-January">
            <a:extLst>
              <a:ext uri="{FF2B5EF4-FFF2-40B4-BE49-F238E27FC236}">
                <a16:creationId xmlns:a16="http://schemas.microsoft.com/office/drawing/2014/main" id="{8B33CDE0-CAFE-EBAE-C5E3-2E5506EB69B3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37333" y="3124199"/>
            <a:ext cx="304641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IN" sz="1799"/>
          </a:p>
        </p:txBody>
      </p:sp>
    </p:spTree>
    <p:extLst>
      <p:ext uri="{BB962C8B-B14F-4D97-AF65-F5344CB8AC3E}">
        <p14:creationId xmlns:p14="http://schemas.microsoft.com/office/powerpoint/2010/main" val="3413798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e libre : forme 27">
            <a:extLst>
              <a:ext uri="{FF2B5EF4-FFF2-40B4-BE49-F238E27FC236}">
                <a16:creationId xmlns:a16="http://schemas.microsoft.com/office/drawing/2014/main" id="{833640CD-AFF3-4C2C-9B89-0A6E8AEABE8B}"/>
              </a:ext>
            </a:extLst>
          </p:cNvPr>
          <p:cNvSpPr/>
          <p:nvPr userDrawn="1"/>
        </p:nvSpPr>
        <p:spPr>
          <a:xfrm>
            <a:off x="-792287" y="600412"/>
            <a:ext cx="1181100" cy="0"/>
          </a:xfrm>
          <a:custGeom>
            <a:avLst/>
            <a:gdLst>
              <a:gd name="connsiteX0" fmla="*/ 0 w 1181100"/>
              <a:gd name="connsiteY0" fmla="*/ 0 h 0"/>
              <a:gd name="connsiteX1" fmla="*/ 1181100 w 1181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81100">
                <a:moveTo>
                  <a:pt x="0" y="0"/>
                </a:moveTo>
                <a:lnTo>
                  <a:pt x="1181100" y="0"/>
                </a:lnTo>
              </a:path>
            </a:pathLst>
          </a:cu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6F91F5CC-77BE-40D3-B63B-A40AC8DAE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478450"/>
            <a:ext cx="11175818" cy="476462"/>
          </a:xfrm>
        </p:spPr>
        <p:txBody>
          <a:bodyPr numCol="1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lang="en-US" sz="1600" b="0" kern="1200" cap="none" baseline="0" noProof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marL="169790" indent="0">
              <a:buNone/>
              <a:defRPr/>
            </a:lvl2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Rectangle 36">
            <a:extLst>
              <a:ext uri="{FF2B5EF4-FFF2-40B4-BE49-F238E27FC236}">
                <a16:creationId xmlns:a16="http://schemas.microsoft.com/office/drawing/2014/main" id="{10AC37ED-4657-4B70-901B-1FBBCAA4FE4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99441" y="6544316"/>
            <a:ext cx="284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EY Consulting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8FF4AED-2A32-42A0-9F50-CDB4A9D71D7E}"/>
              </a:ext>
            </a:extLst>
          </p:cNvPr>
          <p:cNvGrpSpPr/>
          <p:nvPr userDrawn="1"/>
        </p:nvGrpSpPr>
        <p:grpSpPr>
          <a:xfrm>
            <a:off x="0" y="-2662"/>
            <a:ext cx="12212298" cy="362728"/>
            <a:chOff x="0" y="-12187"/>
            <a:chExt cx="12212298" cy="36272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0853278A-1A44-44E7-B9C4-980D8F086673}"/>
                </a:ext>
              </a:extLst>
            </p:cNvPr>
            <p:cNvGrpSpPr/>
            <p:nvPr userDrawn="1"/>
          </p:nvGrpSpPr>
          <p:grpSpPr>
            <a:xfrm>
              <a:off x="0" y="1"/>
              <a:ext cx="12192000" cy="350540"/>
              <a:chOff x="0" y="1"/>
              <a:chExt cx="12192000" cy="350540"/>
            </a:xfrm>
          </p:grpSpPr>
          <p:sp>
            <p:nvSpPr>
              <p:cNvPr id="50" name="AutoShape 4">
                <a:extLst>
                  <a:ext uri="{FF2B5EF4-FFF2-40B4-BE49-F238E27FC236}">
                    <a16:creationId xmlns:a16="http://schemas.microsoft.com/office/drawing/2014/main" id="{15ED9C7F-31B2-46D0-932D-CEE7EB37EC2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4680" y="68072"/>
                <a:ext cx="167539" cy="200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4C0C3AFC-087A-4AF3-B7E9-5E35CAC90A49}"/>
                  </a:ext>
                </a:extLst>
              </p:cNvPr>
              <p:cNvGrpSpPr/>
              <p:nvPr userDrawn="1"/>
            </p:nvGrpSpPr>
            <p:grpSpPr>
              <a:xfrm>
                <a:off x="0" y="1"/>
                <a:ext cx="12192000" cy="350540"/>
                <a:chOff x="0" y="1"/>
                <a:chExt cx="12192000" cy="350540"/>
              </a:xfrm>
            </p:grpSpPr>
            <p:sp>
              <p:nvSpPr>
                <p:cNvPr id="68" name="Rectangle 67">
                  <a:extLst>
                    <a:ext uri="{FF2B5EF4-FFF2-40B4-BE49-F238E27FC236}">
                      <a16:creationId xmlns:a16="http://schemas.microsoft.com/office/drawing/2014/main" id="{EC398160-DF4E-487A-BFAC-076749C9F345}"/>
                    </a:ext>
                  </a:extLst>
                </p:cNvPr>
                <p:cNvSpPr/>
                <p:nvPr userDrawn="1"/>
              </p:nvSpPr>
              <p:spPr>
                <a:xfrm>
                  <a:off x="0" y="1"/>
                  <a:ext cx="12192000" cy="350540"/>
                </a:xfrm>
                <a:prstGeom prst="rect">
                  <a:avLst/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80412815-43E3-49AD-ADC2-F57669ECA081}"/>
                    </a:ext>
                  </a:extLst>
                </p:cNvPr>
                <p:cNvGrpSpPr/>
                <p:nvPr userDrawn="1"/>
              </p:nvGrpSpPr>
              <p:grpSpPr>
                <a:xfrm>
                  <a:off x="81557" y="51130"/>
                  <a:ext cx="11861822" cy="211888"/>
                  <a:chOff x="81557" y="51130"/>
                  <a:chExt cx="11861822" cy="211888"/>
                </a:xfrm>
              </p:grpSpPr>
              <p:grpSp>
                <p:nvGrpSpPr>
                  <p:cNvPr id="70" name="Group 69">
                    <a:extLst>
                      <a:ext uri="{FF2B5EF4-FFF2-40B4-BE49-F238E27FC236}">
                        <a16:creationId xmlns:a16="http://schemas.microsoft.com/office/drawing/2014/main" id="{FED91252-EB66-47F2-A946-6B773ED23B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81557" y="62687"/>
                    <a:ext cx="167539" cy="200331"/>
                    <a:chOff x="784680" y="68072"/>
                    <a:chExt cx="167539" cy="200331"/>
                  </a:xfrm>
                </p:grpSpPr>
                <p:sp>
                  <p:nvSpPr>
                    <p:cNvPr id="79" name="Freeform 6">
                      <a:extLst>
                        <a:ext uri="{FF2B5EF4-FFF2-40B4-BE49-F238E27FC236}">
                          <a16:creationId xmlns:a16="http://schemas.microsoft.com/office/drawing/2014/main" id="{633B5D33-E33A-4F65-9582-D40930962FA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84680" y="68072"/>
                      <a:ext cx="134278" cy="50020"/>
                    </a:xfrm>
                    <a:custGeom>
                      <a:avLst/>
                      <a:gdLst>
                        <a:gd name="T0" fmla="*/ 2723 w 2723"/>
                        <a:gd name="T1" fmla="*/ 0 h 994"/>
                        <a:gd name="T2" fmla="*/ 0 w 2723"/>
                        <a:gd name="T3" fmla="*/ 994 h 994"/>
                        <a:gd name="T4" fmla="*/ 2723 w 2723"/>
                        <a:gd name="T5" fmla="*/ 513 h 994"/>
                        <a:gd name="T6" fmla="*/ 2723 w 2723"/>
                        <a:gd name="T7" fmla="*/ 0 h 9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723" h="994">
                          <a:moveTo>
                            <a:pt x="2723" y="0"/>
                          </a:moveTo>
                          <a:lnTo>
                            <a:pt x="0" y="994"/>
                          </a:lnTo>
                          <a:lnTo>
                            <a:pt x="2723" y="513"/>
                          </a:lnTo>
                          <a:lnTo>
                            <a:pt x="2723" y="0"/>
                          </a:lnTo>
                          <a:close/>
                        </a:path>
                      </a:pathLst>
                    </a:custGeom>
                    <a:solidFill>
                      <a:srgbClr val="F7DF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  <p:sp>
                  <p:nvSpPr>
                    <p:cNvPr id="80" name="Freeform 7">
                      <a:extLst>
                        <a:ext uri="{FF2B5EF4-FFF2-40B4-BE49-F238E27FC236}">
                          <a16:creationId xmlns:a16="http://schemas.microsoft.com/office/drawing/2014/main" id="{06E95468-F292-4D1C-A866-620B12A4932C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84680" y="138954"/>
                      <a:ext cx="167539" cy="129449"/>
                    </a:xfrm>
                    <a:custGeom>
                      <a:avLst/>
                      <a:gdLst>
                        <a:gd name="T0" fmla="*/ 256 w 3400"/>
                        <a:gd name="T1" fmla="*/ 1749 h 2577"/>
                        <a:gd name="T2" fmla="*/ 278 w 3400"/>
                        <a:gd name="T3" fmla="*/ 1978 h 2577"/>
                        <a:gd name="T4" fmla="*/ 166 w 3400"/>
                        <a:gd name="T5" fmla="*/ 1993 h 2577"/>
                        <a:gd name="T6" fmla="*/ 386 w 3400"/>
                        <a:gd name="T7" fmla="*/ 1940 h 2577"/>
                        <a:gd name="T8" fmla="*/ 458 w 3400"/>
                        <a:gd name="T9" fmla="*/ 2046 h 2577"/>
                        <a:gd name="T10" fmla="*/ 1255 w 3400"/>
                        <a:gd name="T11" fmla="*/ 1820 h 2577"/>
                        <a:gd name="T12" fmla="*/ 1339 w 3400"/>
                        <a:gd name="T13" fmla="*/ 1914 h 2577"/>
                        <a:gd name="T14" fmla="*/ 767 w 3400"/>
                        <a:gd name="T15" fmla="*/ 1703 h 2577"/>
                        <a:gd name="T16" fmla="*/ 813 w 3400"/>
                        <a:gd name="T17" fmla="*/ 1884 h 2577"/>
                        <a:gd name="T18" fmla="*/ 947 w 3400"/>
                        <a:gd name="T19" fmla="*/ 2042 h 2577"/>
                        <a:gd name="T20" fmla="*/ 916 w 3400"/>
                        <a:gd name="T21" fmla="*/ 1855 h 2577"/>
                        <a:gd name="T22" fmla="*/ 2225 w 3400"/>
                        <a:gd name="T23" fmla="*/ 2049 h 2577"/>
                        <a:gd name="T24" fmla="*/ 2376 w 3400"/>
                        <a:gd name="T25" fmla="*/ 1924 h 2577"/>
                        <a:gd name="T26" fmla="*/ 2312 w 3400"/>
                        <a:gd name="T27" fmla="*/ 1906 h 2577"/>
                        <a:gd name="T28" fmla="*/ 2267 w 3400"/>
                        <a:gd name="T29" fmla="*/ 1855 h 2577"/>
                        <a:gd name="T30" fmla="*/ 1441 w 3400"/>
                        <a:gd name="T31" fmla="*/ 1911 h 2577"/>
                        <a:gd name="T32" fmla="*/ 1591 w 3400"/>
                        <a:gd name="T33" fmla="*/ 2031 h 2577"/>
                        <a:gd name="T34" fmla="*/ 1622 w 3400"/>
                        <a:gd name="T35" fmla="*/ 2119 h 2577"/>
                        <a:gd name="T36" fmla="*/ 1507 w 3400"/>
                        <a:gd name="T37" fmla="*/ 1962 h 2577"/>
                        <a:gd name="T38" fmla="*/ 1902 w 3400"/>
                        <a:gd name="T39" fmla="*/ 1848 h 2577"/>
                        <a:gd name="T40" fmla="*/ 1797 w 3400"/>
                        <a:gd name="T41" fmla="*/ 1958 h 2577"/>
                        <a:gd name="T42" fmla="*/ 2006 w 3400"/>
                        <a:gd name="T43" fmla="*/ 1884 h 2577"/>
                        <a:gd name="T44" fmla="*/ 1857 w 3400"/>
                        <a:gd name="T45" fmla="*/ 1968 h 2577"/>
                        <a:gd name="T46" fmla="*/ 1881 w 3400"/>
                        <a:gd name="T47" fmla="*/ 2002 h 2577"/>
                        <a:gd name="T48" fmla="*/ 2467 w 3400"/>
                        <a:gd name="T49" fmla="*/ 1946 h 2577"/>
                        <a:gd name="T50" fmla="*/ 2452 w 3400"/>
                        <a:gd name="T51" fmla="*/ 1821 h 2577"/>
                        <a:gd name="T52" fmla="*/ 2521 w 3400"/>
                        <a:gd name="T53" fmla="*/ 2055 h 2577"/>
                        <a:gd name="T54" fmla="*/ 2555 w 3400"/>
                        <a:gd name="T55" fmla="*/ 1883 h 2577"/>
                        <a:gd name="T56" fmla="*/ 3202 w 3400"/>
                        <a:gd name="T57" fmla="*/ 1928 h 2577"/>
                        <a:gd name="T58" fmla="*/ 3006 w 3400"/>
                        <a:gd name="T59" fmla="*/ 1854 h 2577"/>
                        <a:gd name="T60" fmla="*/ 3140 w 3400"/>
                        <a:gd name="T61" fmla="*/ 2049 h 2577"/>
                        <a:gd name="T62" fmla="*/ 2905 w 3400"/>
                        <a:gd name="T63" fmla="*/ 1964 h 2577"/>
                        <a:gd name="T64" fmla="*/ 2868 w 3400"/>
                        <a:gd name="T65" fmla="*/ 2041 h 2577"/>
                        <a:gd name="T66" fmla="*/ 2713 w 3400"/>
                        <a:gd name="T67" fmla="*/ 2051 h 2577"/>
                        <a:gd name="T68" fmla="*/ 2747 w 3400"/>
                        <a:gd name="T69" fmla="*/ 1996 h 2577"/>
                        <a:gd name="T70" fmla="*/ 3300 w 3400"/>
                        <a:gd name="T71" fmla="*/ 1805 h 2577"/>
                        <a:gd name="T72" fmla="*/ 1073 w 3400"/>
                        <a:gd name="T73" fmla="*/ 2049 h 2577"/>
                        <a:gd name="T74" fmla="*/ 2660 w 3400"/>
                        <a:gd name="T75" fmla="*/ 2279 h 2577"/>
                        <a:gd name="T76" fmla="*/ 2763 w 3400"/>
                        <a:gd name="T77" fmla="*/ 2480 h 2577"/>
                        <a:gd name="T78" fmla="*/ 2737 w 3400"/>
                        <a:gd name="T79" fmla="*/ 2285 h 2577"/>
                        <a:gd name="T80" fmla="*/ 690 w 3400"/>
                        <a:gd name="T81" fmla="*/ 2289 h 2577"/>
                        <a:gd name="T82" fmla="*/ 740 w 3400"/>
                        <a:gd name="T83" fmla="*/ 2301 h 2577"/>
                        <a:gd name="T84" fmla="*/ 222 w 3400"/>
                        <a:gd name="T85" fmla="*/ 2352 h 2577"/>
                        <a:gd name="T86" fmla="*/ 341 w 3400"/>
                        <a:gd name="T87" fmla="*/ 2395 h 2577"/>
                        <a:gd name="T88" fmla="*/ 554 w 3400"/>
                        <a:gd name="T89" fmla="*/ 2395 h 2577"/>
                        <a:gd name="T90" fmla="*/ 412 w 3400"/>
                        <a:gd name="T91" fmla="*/ 2407 h 2577"/>
                        <a:gd name="T92" fmla="*/ 484 w 3400"/>
                        <a:gd name="T93" fmla="*/ 2407 h 2577"/>
                        <a:gd name="T94" fmla="*/ 2419 w 3400"/>
                        <a:gd name="T95" fmla="*/ 2248 h 2577"/>
                        <a:gd name="T96" fmla="*/ 1758 w 3400"/>
                        <a:gd name="T97" fmla="*/ 2233 h 2577"/>
                        <a:gd name="T98" fmla="*/ 2133 w 3400"/>
                        <a:gd name="T99" fmla="*/ 2255 h 2577"/>
                        <a:gd name="T100" fmla="*/ 2204 w 3400"/>
                        <a:gd name="T101" fmla="*/ 2483 h 2577"/>
                        <a:gd name="T102" fmla="*/ 2269 w 3400"/>
                        <a:gd name="T103" fmla="*/ 2249 h 2577"/>
                        <a:gd name="T104" fmla="*/ 2204 w 3400"/>
                        <a:gd name="T105" fmla="*/ 2284 h 2577"/>
                        <a:gd name="T106" fmla="*/ 845 w 3400"/>
                        <a:gd name="T107" fmla="*/ 2131 h 2577"/>
                        <a:gd name="T108" fmla="*/ 1323 w 3400"/>
                        <a:gd name="T109" fmla="*/ 2244 h 2577"/>
                        <a:gd name="T110" fmla="*/ 1220 w 3400"/>
                        <a:gd name="T111" fmla="*/ 2299 h 2577"/>
                        <a:gd name="T112" fmla="*/ 1410 w 3400"/>
                        <a:gd name="T113" fmla="*/ 2289 h 2577"/>
                        <a:gd name="T114" fmla="*/ 1525 w 3400"/>
                        <a:gd name="T115" fmla="*/ 2477 h 2577"/>
                        <a:gd name="T116" fmla="*/ 1544 w 3400"/>
                        <a:gd name="T117" fmla="*/ 2570 h 2577"/>
                        <a:gd name="T118" fmla="*/ 1491 w 3400"/>
                        <a:gd name="T119" fmla="*/ 2424 h 2577"/>
                        <a:gd name="T120" fmla="*/ 1094 w 3400"/>
                        <a:gd name="T121" fmla="*/ 2341 h 2577"/>
                        <a:gd name="T122" fmla="*/ 437 w 3400"/>
                        <a:gd name="T123" fmla="*/ 1061 h 25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3400" h="2577">
                          <a:moveTo>
                            <a:pt x="283" y="1942"/>
                          </a:moveTo>
                          <a:lnTo>
                            <a:pt x="283" y="1942"/>
                          </a:lnTo>
                          <a:lnTo>
                            <a:pt x="283" y="1934"/>
                          </a:lnTo>
                          <a:lnTo>
                            <a:pt x="282" y="1927"/>
                          </a:lnTo>
                          <a:lnTo>
                            <a:pt x="278" y="1912"/>
                          </a:lnTo>
                          <a:lnTo>
                            <a:pt x="272" y="1900"/>
                          </a:lnTo>
                          <a:lnTo>
                            <a:pt x="265" y="1890"/>
                          </a:lnTo>
                          <a:lnTo>
                            <a:pt x="256" y="1883"/>
                          </a:lnTo>
                          <a:lnTo>
                            <a:pt x="248" y="1877"/>
                          </a:lnTo>
                          <a:lnTo>
                            <a:pt x="241" y="1872"/>
                          </a:lnTo>
                          <a:lnTo>
                            <a:pt x="233" y="1868"/>
                          </a:lnTo>
                          <a:lnTo>
                            <a:pt x="233" y="1868"/>
                          </a:lnTo>
                          <a:lnTo>
                            <a:pt x="242" y="1862"/>
                          </a:lnTo>
                          <a:lnTo>
                            <a:pt x="249" y="1856"/>
                          </a:lnTo>
                          <a:lnTo>
                            <a:pt x="255" y="1849"/>
                          </a:lnTo>
                          <a:lnTo>
                            <a:pt x="261" y="1840"/>
                          </a:lnTo>
                          <a:lnTo>
                            <a:pt x="266" y="1832"/>
                          </a:lnTo>
                          <a:lnTo>
                            <a:pt x="269" y="1822"/>
                          </a:lnTo>
                          <a:lnTo>
                            <a:pt x="271" y="1812"/>
                          </a:lnTo>
                          <a:lnTo>
                            <a:pt x="271" y="1801"/>
                          </a:lnTo>
                          <a:lnTo>
                            <a:pt x="271" y="1801"/>
                          </a:lnTo>
                          <a:lnTo>
                            <a:pt x="271" y="1792"/>
                          </a:lnTo>
                          <a:lnTo>
                            <a:pt x="270" y="1782"/>
                          </a:lnTo>
                          <a:lnTo>
                            <a:pt x="267" y="1773"/>
                          </a:lnTo>
                          <a:lnTo>
                            <a:pt x="265" y="1765"/>
                          </a:lnTo>
                          <a:lnTo>
                            <a:pt x="261" y="1756"/>
                          </a:lnTo>
                          <a:lnTo>
                            <a:pt x="256" y="1749"/>
                          </a:lnTo>
                          <a:lnTo>
                            <a:pt x="250" y="1743"/>
                          </a:lnTo>
                          <a:lnTo>
                            <a:pt x="244" y="1737"/>
                          </a:lnTo>
                          <a:lnTo>
                            <a:pt x="237" y="1732"/>
                          </a:lnTo>
                          <a:lnTo>
                            <a:pt x="230" y="1727"/>
                          </a:lnTo>
                          <a:lnTo>
                            <a:pt x="221" y="1724"/>
                          </a:lnTo>
                          <a:lnTo>
                            <a:pt x="211" y="1720"/>
                          </a:lnTo>
                          <a:lnTo>
                            <a:pt x="202" y="1718"/>
                          </a:lnTo>
                          <a:lnTo>
                            <a:pt x="191" y="1715"/>
                          </a:lnTo>
                          <a:lnTo>
                            <a:pt x="180" y="1715"/>
                          </a:lnTo>
                          <a:lnTo>
                            <a:pt x="168" y="1714"/>
                          </a:lnTo>
                          <a:lnTo>
                            <a:pt x="24" y="1714"/>
                          </a:lnTo>
                          <a:lnTo>
                            <a:pt x="24" y="2049"/>
                          </a:lnTo>
                          <a:lnTo>
                            <a:pt x="166" y="2049"/>
                          </a:lnTo>
                          <a:lnTo>
                            <a:pt x="166" y="2049"/>
                          </a:lnTo>
                          <a:lnTo>
                            <a:pt x="180" y="2049"/>
                          </a:lnTo>
                          <a:lnTo>
                            <a:pt x="192" y="2048"/>
                          </a:lnTo>
                          <a:lnTo>
                            <a:pt x="204" y="2046"/>
                          </a:lnTo>
                          <a:lnTo>
                            <a:pt x="215" y="2042"/>
                          </a:lnTo>
                          <a:lnTo>
                            <a:pt x="226" y="2038"/>
                          </a:lnTo>
                          <a:lnTo>
                            <a:pt x="236" y="2034"/>
                          </a:lnTo>
                          <a:lnTo>
                            <a:pt x="244" y="2028"/>
                          </a:lnTo>
                          <a:lnTo>
                            <a:pt x="252" y="2021"/>
                          </a:lnTo>
                          <a:lnTo>
                            <a:pt x="259" y="2014"/>
                          </a:lnTo>
                          <a:lnTo>
                            <a:pt x="265" y="2006"/>
                          </a:lnTo>
                          <a:lnTo>
                            <a:pt x="271" y="1997"/>
                          </a:lnTo>
                          <a:lnTo>
                            <a:pt x="275" y="1987"/>
                          </a:lnTo>
                          <a:lnTo>
                            <a:pt x="278" y="1978"/>
                          </a:lnTo>
                          <a:lnTo>
                            <a:pt x="281" y="1967"/>
                          </a:lnTo>
                          <a:lnTo>
                            <a:pt x="282" y="1955"/>
                          </a:lnTo>
                          <a:lnTo>
                            <a:pt x="283" y="1942"/>
                          </a:lnTo>
                          <a:lnTo>
                            <a:pt x="283" y="1942"/>
                          </a:lnTo>
                          <a:close/>
                          <a:moveTo>
                            <a:pt x="166" y="1993"/>
                          </a:moveTo>
                          <a:lnTo>
                            <a:pt x="86" y="1993"/>
                          </a:lnTo>
                          <a:lnTo>
                            <a:pt x="86" y="1897"/>
                          </a:lnTo>
                          <a:lnTo>
                            <a:pt x="166" y="1897"/>
                          </a:lnTo>
                          <a:lnTo>
                            <a:pt x="166" y="1897"/>
                          </a:lnTo>
                          <a:lnTo>
                            <a:pt x="179" y="1899"/>
                          </a:lnTo>
                          <a:lnTo>
                            <a:pt x="188" y="1900"/>
                          </a:lnTo>
                          <a:lnTo>
                            <a:pt x="197" y="1904"/>
                          </a:lnTo>
                          <a:lnTo>
                            <a:pt x="204" y="1910"/>
                          </a:lnTo>
                          <a:lnTo>
                            <a:pt x="210" y="1916"/>
                          </a:lnTo>
                          <a:lnTo>
                            <a:pt x="214" y="1924"/>
                          </a:lnTo>
                          <a:lnTo>
                            <a:pt x="216" y="1934"/>
                          </a:lnTo>
                          <a:lnTo>
                            <a:pt x="218" y="1945"/>
                          </a:lnTo>
                          <a:lnTo>
                            <a:pt x="218" y="1945"/>
                          </a:lnTo>
                          <a:lnTo>
                            <a:pt x="216" y="1956"/>
                          </a:lnTo>
                          <a:lnTo>
                            <a:pt x="214" y="1966"/>
                          </a:lnTo>
                          <a:lnTo>
                            <a:pt x="209" y="1974"/>
                          </a:lnTo>
                          <a:lnTo>
                            <a:pt x="204" y="1980"/>
                          </a:lnTo>
                          <a:lnTo>
                            <a:pt x="197" y="1986"/>
                          </a:lnTo>
                          <a:lnTo>
                            <a:pt x="188" y="1990"/>
                          </a:lnTo>
                          <a:lnTo>
                            <a:pt x="177" y="1992"/>
                          </a:lnTo>
                          <a:lnTo>
                            <a:pt x="166" y="1993"/>
                          </a:lnTo>
                          <a:lnTo>
                            <a:pt x="166" y="1993"/>
                          </a:lnTo>
                          <a:close/>
                          <a:moveTo>
                            <a:pt x="165" y="1843"/>
                          </a:moveTo>
                          <a:lnTo>
                            <a:pt x="86" y="1843"/>
                          </a:lnTo>
                          <a:lnTo>
                            <a:pt x="86" y="1771"/>
                          </a:lnTo>
                          <a:lnTo>
                            <a:pt x="163" y="1771"/>
                          </a:lnTo>
                          <a:lnTo>
                            <a:pt x="163" y="1771"/>
                          </a:lnTo>
                          <a:lnTo>
                            <a:pt x="173" y="1772"/>
                          </a:lnTo>
                          <a:lnTo>
                            <a:pt x="182" y="1773"/>
                          </a:lnTo>
                          <a:lnTo>
                            <a:pt x="190" y="1776"/>
                          </a:lnTo>
                          <a:lnTo>
                            <a:pt x="196" y="1780"/>
                          </a:lnTo>
                          <a:lnTo>
                            <a:pt x="201" y="1786"/>
                          </a:lnTo>
                          <a:lnTo>
                            <a:pt x="204" y="1792"/>
                          </a:lnTo>
                          <a:lnTo>
                            <a:pt x="205" y="1799"/>
                          </a:lnTo>
                          <a:lnTo>
                            <a:pt x="207" y="1807"/>
                          </a:lnTo>
                          <a:lnTo>
                            <a:pt x="207" y="1807"/>
                          </a:lnTo>
                          <a:lnTo>
                            <a:pt x="207" y="1814"/>
                          </a:lnTo>
                          <a:lnTo>
                            <a:pt x="205" y="1820"/>
                          </a:lnTo>
                          <a:lnTo>
                            <a:pt x="203" y="1826"/>
                          </a:lnTo>
                          <a:lnTo>
                            <a:pt x="199" y="1831"/>
                          </a:lnTo>
                          <a:lnTo>
                            <a:pt x="193" y="1835"/>
                          </a:lnTo>
                          <a:lnTo>
                            <a:pt x="186" y="1839"/>
                          </a:lnTo>
                          <a:lnTo>
                            <a:pt x="177" y="1842"/>
                          </a:lnTo>
                          <a:lnTo>
                            <a:pt x="165" y="1843"/>
                          </a:lnTo>
                          <a:lnTo>
                            <a:pt x="165" y="1843"/>
                          </a:lnTo>
                          <a:close/>
                          <a:moveTo>
                            <a:pt x="326" y="1944"/>
                          </a:moveTo>
                          <a:lnTo>
                            <a:pt x="326" y="1805"/>
                          </a:lnTo>
                          <a:lnTo>
                            <a:pt x="386" y="1805"/>
                          </a:lnTo>
                          <a:lnTo>
                            <a:pt x="386" y="1940"/>
                          </a:lnTo>
                          <a:lnTo>
                            <a:pt x="386" y="1940"/>
                          </a:lnTo>
                          <a:lnTo>
                            <a:pt x="386" y="1953"/>
                          </a:lnTo>
                          <a:lnTo>
                            <a:pt x="389" y="1967"/>
                          </a:lnTo>
                          <a:lnTo>
                            <a:pt x="392" y="1976"/>
                          </a:lnTo>
                          <a:lnTo>
                            <a:pt x="397" y="1985"/>
                          </a:lnTo>
                          <a:lnTo>
                            <a:pt x="403" y="1991"/>
                          </a:lnTo>
                          <a:lnTo>
                            <a:pt x="411" y="1996"/>
                          </a:lnTo>
                          <a:lnTo>
                            <a:pt x="420" y="1998"/>
                          </a:lnTo>
                          <a:lnTo>
                            <a:pt x="431" y="2000"/>
                          </a:lnTo>
                          <a:lnTo>
                            <a:pt x="431" y="2000"/>
                          </a:lnTo>
                          <a:lnTo>
                            <a:pt x="442" y="1998"/>
                          </a:lnTo>
                          <a:lnTo>
                            <a:pt x="451" y="1996"/>
                          </a:lnTo>
                          <a:lnTo>
                            <a:pt x="459" y="1991"/>
                          </a:lnTo>
                          <a:lnTo>
                            <a:pt x="465" y="1985"/>
                          </a:lnTo>
                          <a:lnTo>
                            <a:pt x="470" y="1976"/>
                          </a:lnTo>
                          <a:lnTo>
                            <a:pt x="474" y="1966"/>
                          </a:lnTo>
                          <a:lnTo>
                            <a:pt x="476" y="1953"/>
                          </a:lnTo>
                          <a:lnTo>
                            <a:pt x="476" y="1940"/>
                          </a:lnTo>
                          <a:lnTo>
                            <a:pt x="476" y="1805"/>
                          </a:lnTo>
                          <a:lnTo>
                            <a:pt x="537" y="1805"/>
                          </a:lnTo>
                          <a:lnTo>
                            <a:pt x="537" y="2049"/>
                          </a:lnTo>
                          <a:lnTo>
                            <a:pt x="476" y="2049"/>
                          </a:lnTo>
                          <a:lnTo>
                            <a:pt x="476" y="2030"/>
                          </a:lnTo>
                          <a:lnTo>
                            <a:pt x="476" y="2030"/>
                          </a:lnTo>
                          <a:lnTo>
                            <a:pt x="471" y="2036"/>
                          </a:lnTo>
                          <a:lnTo>
                            <a:pt x="464" y="2041"/>
                          </a:lnTo>
                          <a:lnTo>
                            <a:pt x="458" y="2046"/>
                          </a:lnTo>
                          <a:lnTo>
                            <a:pt x="451" y="2048"/>
                          </a:lnTo>
                          <a:lnTo>
                            <a:pt x="444" y="2052"/>
                          </a:lnTo>
                          <a:lnTo>
                            <a:pt x="435" y="2053"/>
                          </a:lnTo>
                          <a:lnTo>
                            <a:pt x="427" y="2054"/>
                          </a:lnTo>
                          <a:lnTo>
                            <a:pt x="418" y="2055"/>
                          </a:lnTo>
                          <a:lnTo>
                            <a:pt x="418" y="2055"/>
                          </a:lnTo>
                          <a:lnTo>
                            <a:pt x="403" y="2054"/>
                          </a:lnTo>
                          <a:lnTo>
                            <a:pt x="391" y="2052"/>
                          </a:lnTo>
                          <a:lnTo>
                            <a:pt x="380" y="2048"/>
                          </a:lnTo>
                          <a:lnTo>
                            <a:pt x="369" y="2043"/>
                          </a:lnTo>
                          <a:lnTo>
                            <a:pt x="361" y="2037"/>
                          </a:lnTo>
                          <a:lnTo>
                            <a:pt x="354" y="2031"/>
                          </a:lnTo>
                          <a:lnTo>
                            <a:pt x="348" y="2023"/>
                          </a:lnTo>
                          <a:lnTo>
                            <a:pt x="341" y="2014"/>
                          </a:lnTo>
                          <a:lnTo>
                            <a:pt x="338" y="2006"/>
                          </a:lnTo>
                          <a:lnTo>
                            <a:pt x="334" y="1997"/>
                          </a:lnTo>
                          <a:lnTo>
                            <a:pt x="329" y="1978"/>
                          </a:lnTo>
                          <a:lnTo>
                            <a:pt x="327" y="1959"/>
                          </a:lnTo>
                          <a:lnTo>
                            <a:pt x="326" y="1944"/>
                          </a:lnTo>
                          <a:lnTo>
                            <a:pt x="326" y="1944"/>
                          </a:lnTo>
                          <a:close/>
                          <a:moveTo>
                            <a:pt x="1249" y="2049"/>
                          </a:moveTo>
                          <a:lnTo>
                            <a:pt x="1188" y="2049"/>
                          </a:lnTo>
                          <a:lnTo>
                            <a:pt x="1188" y="1805"/>
                          </a:lnTo>
                          <a:lnTo>
                            <a:pt x="1249" y="1805"/>
                          </a:lnTo>
                          <a:lnTo>
                            <a:pt x="1249" y="1826"/>
                          </a:lnTo>
                          <a:lnTo>
                            <a:pt x="1249" y="1826"/>
                          </a:lnTo>
                          <a:lnTo>
                            <a:pt x="1255" y="1820"/>
                          </a:lnTo>
                          <a:lnTo>
                            <a:pt x="1261" y="1814"/>
                          </a:lnTo>
                          <a:lnTo>
                            <a:pt x="1269" y="1810"/>
                          </a:lnTo>
                          <a:lnTo>
                            <a:pt x="1276" y="1806"/>
                          </a:lnTo>
                          <a:lnTo>
                            <a:pt x="1284" y="1803"/>
                          </a:lnTo>
                          <a:lnTo>
                            <a:pt x="1292" y="1801"/>
                          </a:lnTo>
                          <a:lnTo>
                            <a:pt x="1301" y="1800"/>
                          </a:lnTo>
                          <a:lnTo>
                            <a:pt x="1310" y="1799"/>
                          </a:lnTo>
                          <a:lnTo>
                            <a:pt x="1310" y="1799"/>
                          </a:lnTo>
                          <a:lnTo>
                            <a:pt x="1321" y="1800"/>
                          </a:lnTo>
                          <a:lnTo>
                            <a:pt x="1331" y="1801"/>
                          </a:lnTo>
                          <a:lnTo>
                            <a:pt x="1340" y="1804"/>
                          </a:lnTo>
                          <a:lnTo>
                            <a:pt x="1349" y="1806"/>
                          </a:lnTo>
                          <a:lnTo>
                            <a:pt x="1357" y="1810"/>
                          </a:lnTo>
                          <a:lnTo>
                            <a:pt x="1365" y="1816"/>
                          </a:lnTo>
                          <a:lnTo>
                            <a:pt x="1371" y="1821"/>
                          </a:lnTo>
                          <a:lnTo>
                            <a:pt x="1377" y="1828"/>
                          </a:lnTo>
                          <a:lnTo>
                            <a:pt x="1383" y="1835"/>
                          </a:lnTo>
                          <a:lnTo>
                            <a:pt x="1386" y="1844"/>
                          </a:lnTo>
                          <a:lnTo>
                            <a:pt x="1391" y="1852"/>
                          </a:lnTo>
                          <a:lnTo>
                            <a:pt x="1394" y="1862"/>
                          </a:lnTo>
                          <a:lnTo>
                            <a:pt x="1396" y="1873"/>
                          </a:lnTo>
                          <a:lnTo>
                            <a:pt x="1399" y="1885"/>
                          </a:lnTo>
                          <a:lnTo>
                            <a:pt x="1400" y="1897"/>
                          </a:lnTo>
                          <a:lnTo>
                            <a:pt x="1400" y="1911"/>
                          </a:lnTo>
                          <a:lnTo>
                            <a:pt x="1400" y="2049"/>
                          </a:lnTo>
                          <a:lnTo>
                            <a:pt x="1339" y="2049"/>
                          </a:lnTo>
                          <a:lnTo>
                            <a:pt x="1339" y="1914"/>
                          </a:lnTo>
                          <a:lnTo>
                            <a:pt x="1339" y="1914"/>
                          </a:lnTo>
                          <a:lnTo>
                            <a:pt x="1339" y="1900"/>
                          </a:lnTo>
                          <a:lnTo>
                            <a:pt x="1337" y="1888"/>
                          </a:lnTo>
                          <a:lnTo>
                            <a:pt x="1333" y="1878"/>
                          </a:lnTo>
                          <a:lnTo>
                            <a:pt x="1328" y="1869"/>
                          </a:lnTo>
                          <a:lnTo>
                            <a:pt x="1322" y="1863"/>
                          </a:lnTo>
                          <a:lnTo>
                            <a:pt x="1315" y="1859"/>
                          </a:lnTo>
                          <a:lnTo>
                            <a:pt x="1306" y="1856"/>
                          </a:lnTo>
                          <a:lnTo>
                            <a:pt x="1295" y="1855"/>
                          </a:lnTo>
                          <a:lnTo>
                            <a:pt x="1295" y="1855"/>
                          </a:lnTo>
                          <a:lnTo>
                            <a:pt x="1284" y="1856"/>
                          </a:lnTo>
                          <a:lnTo>
                            <a:pt x="1275" y="1859"/>
                          </a:lnTo>
                          <a:lnTo>
                            <a:pt x="1267" y="1863"/>
                          </a:lnTo>
                          <a:lnTo>
                            <a:pt x="1261" y="1869"/>
                          </a:lnTo>
                          <a:lnTo>
                            <a:pt x="1255" y="1878"/>
                          </a:lnTo>
                          <a:lnTo>
                            <a:pt x="1252" y="1889"/>
                          </a:lnTo>
                          <a:lnTo>
                            <a:pt x="1249" y="1901"/>
                          </a:lnTo>
                          <a:lnTo>
                            <a:pt x="1249" y="1914"/>
                          </a:lnTo>
                          <a:lnTo>
                            <a:pt x="1249" y="2049"/>
                          </a:lnTo>
                          <a:close/>
                          <a:moveTo>
                            <a:pt x="653" y="1927"/>
                          </a:moveTo>
                          <a:lnTo>
                            <a:pt x="653" y="2049"/>
                          </a:lnTo>
                          <a:lnTo>
                            <a:pt x="592" y="2049"/>
                          </a:lnTo>
                          <a:lnTo>
                            <a:pt x="592" y="1805"/>
                          </a:lnTo>
                          <a:lnTo>
                            <a:pt x="653" y="1805"/>
                          </a:lnTo>
                          <a:lnTo>
                            <a:pt x="653" y="1927"/>
                          </a:lnTo>
                          <a:close/>
                          <a:moveTo>
                            <a:pt x="706" y="1733"/>
                          </a:moveTo>
                          <a:lnTo>
                            <a:pt x="767" y="1703"/>
                          </a:lnTo>
                          <a:lnTo>
                            <a:pt x="767" y="1924"/>
                          </a:lnTo>
                          <a:lnTo>
                            <a:pt x="767" y="2049"/>
                          </a:lnTo>
                          <a:lnTo>
                            <a:pt x="706" y="2049"/>
                          </a:lnTo>
                          <a:lnTo>
                            <a:pt x="706" y="1733"/>
                          </a:lnTo>
                          <a:close/>
                          <a:moveTo>
                            <a:pt x="959" y="1822"/>
                          </a:moveTo>
                          <a:lnTo>
                            <a:pt x="959" y="1822"/>
                          </a:lnTo>
                          <a:lnTo>
                            <a:pt x="954" y="1816"/>
                          </a:lnTo>
                          <a:lnTo>
                            <a:pt x="948" y="1812"/>
                          </a:lnTo>
                          <a:lnTo>
                            <a:pt x="941" y="1807"/>
                          </a:lnTo>
                          <a:lnTo>
                            <a:pt x="934" y="1805"/>
                          </a:lnTo>
                          <a:lnTo>
                            <a:pt x="927" y="1803"/>
                          </a:lnTo>
                          <a:lnTo>
                            <a:pt x="920" y="1800"/>
                          </a:lnTo>
                          <a:lnTo>
                            <a:pt x="905" y="1799"/>
                          </a:lnTo>
                          <a:lnTo>
                            <a:pt x="905" y="1799"/>
                          </a:lnTo>
                          <a:lnTo>
                            <a:pt x="894" y="1800"/>
                          </a:lnTo>
                          <a:lnTo>
                            <a:pt x="883" y="1801"/>
                          </a:lnTo>
                          <a:lnTo>
                            <a:pt x="874" y="1804"/>
                          </a:lnTo>
                          <a:lnTo>
                            <a:pt x="865" y="1807"/>
                          </a:lnTo>
                          <a:lnTo>
                            <a:pt x="857" y="1812"/>
                          </a:lnTo>
                          <a:lnTo>
                            <a:pt x="848" y="1818"/>
                          </a:lnTo>
                          <a:lnTo>
                            <a:pt x="841" y="1826"/>
                          </a:lnTo>
                          <a:lnTo>
                            <a:pt x="835" y="1833"/>
                          </a:lnTo>
                          <a:lnTo>
                            <a:pt x="829" y="1842"/>
                          </a:lnTo>
                          <a:lnTo>
                            <a:pt x="824" y="1851"/>
                          </a:lnTo>
                          <a:lnTo>
                            <a:pt x="819" y="1861"/>
                          </a:lnTo>
                          <a:lnTo>
                            <a:pt x="815" y="1872"/>
                          </a:lnTo>
                          <a:lnTo>
                            <a:pt x="813" y="1884"/>
                          </a:lnTo>
                          <a:lnTo>
                            <a:pt x="811" y="1897"/>
                          </a:lnTo>
                          <a:lnTo>
                            <a:pt x="809" y="1911"/>
                          </a:lnTo>
                          <a:lnTo>
                            <a:pt x="809" y="1924"/>
                          </a:lnTo>
                          <a:lnTo>
                            <a:pt x="809" y="1924"/>
                          </a:lnTo>
                          <a:lnTo>
                            <a:pt x="809" y="1940"/>
                          </a:lnTo>
                          <a:lnTo>
                            <a:pt x="811" y="1953"/>
                          </a:lnTo>
                          <a:lnTo>
                            <a:pt x="813" y="1967"/>
                          </a:lnTo>
                          <a:lnTo>
                            <a:pt x="815" y="1979"/>
                          </a:lnTo>
                          <a:lnTo>
                            <a:pt x="819" y="1991"/>
                          </a:lnTo>
                          <a:lnTo>
                            <a:pt x="823" y="2002"/>
                          </a:lnTo>
                          <a:lnTo>
                            <a:pt x="828" y="2012"/>
                          </a:lnTo>
                          <a:lnTo>
                            <a:pt x="834" y="2020"/>
                          </a:lnTo>
                          <a:lnTo>
                            <a:pt x="841" y="2029"/>
                          </a:lnTo>
                          <a:lnTo>
                            <a:pt x="847" y="2035"/>
                          </a:lnTo>
                          <a:lnTo>
                            <a:pt x="855" y="2041"/>
                          </a:lnTo>
                          <a:lnTo>
                            <a:pt x="864" y="2046"/>
                          </a:lnTo>
                          <a:lnTo>
                            <a:pt x="872" y="2049"/>
                          </a:lnTo>
                          <a:lnTo>
                            <a:pt x="882" y="2053"/>
                          </a:lnTo>
                          <a:lnTo>
                            <a:pt x="893" y="2054"/>
                          </a:lnTo>
                          <a:lnTo>
                            <a:pt x="904" y="2055"/>
                          </a:lnTo>
                          <a:lnTo>
                            <a:pt x="904" y="2055"/>
                          </a:lnTo>
                          <a:lnTo>
                            <a:pt x="911" y="2054"/>
                          </a:lnTo>
                          <a:lnTo>
                            <a:pt x="919" y="2053"/>
                          </a:lnTo>
                          <a:lnTo>
                            <a:pt x="926" y="2052"/>
                          </a:lnTo>
                          <a:lnTo>
                            <a:pt x="933" y="2049"/>
                          </a:lnTo>
                          <a:lnTo>
                            <a:pt x="939" y="2046"/>
                          </a:lnTo>
                          <a:lnTo>
                            <a:pt x="947" y="2042"/>
                          </a:lnTo>
                          <a:lnTo>
                            <a:pt x="953" y="2037"/>
                          </a:lnTo>
                          <a:lnTo>
                            <a:pt x="959" y="2031"/>
                          </a:lnTo>
                          <a:lnTo>
                            <a:pt x="959" y="2049"/>
                          </a:lnTo>
                          <a:lnTo>
                            <a:pt x="1020" y="2049"/>
                          </a:lnTo>
                          <a:lnTo>
                            <a:pt x="1020" y="1703"/>
                          </a:lnTo>
                          <a:lnTo>
                            <a:pt x="959" y="1733"/>
                          </a:lnTo>
                          <a:lnTo>
                            <a:pt x="959" y="1822"/>
                          </a:lnTo>
                          <a:close/>
                          <a:moveTo>
                            <a:pt x="916" y="2000"/>
                          </a:moveTo>
                          <a:lnTo>
                            <a:pt x="916" y="2000"/>
                          </a:lnTo>
                          <a:lnTo>
                            <a:pt x="909" y="1998"/>
                          </a:lnTo>
                          <a:lnTo>
                            <a:pt x="900" y="1996"/>
                          </a:lnTo>
                          <a:lnTo>
                            <a:pt x="893" y="1992"/>
                          </a:lnTo>
                          <a:lnTo>
                            <a:pt x="886" y="1985"/>
                          </a:lnTo>
                          <a:lnTo>
                            <a:pt x="880" y="1975"/>
                          </a:lnTo>
                          <a:lnTo>
                            <a:pt x="875" y="1962"/>
                          </a:lnTo>
                          <a:lnTo>
                            <a:pt x="871" y="1945"/>
                          </a:lnTo>
                          <a:lnTo>
                            <a:pt x="870" y="1923"/>
                          </a:lnTo>
                          <a:lnTo>
                            <a:pt x="870" y="1923"/>
                          </a:lnTo>
                          <a:lnTo>
                            <a:pt x="871" y="1904"/>
                          </a:lnTo>
                          <a:lnTo>
                            <a:pt x="875" y="1889"/>
                          </a:lnTo>
                          <a:lnTo>
                            <a:pt x="880" y="1877"/>
                          </a:lnTo>
                          <a:lnTo>
                            <a:pt x="886" y="1868"/>
                          </a:lnTo>
                          <a:lnTo>
                            <a:pt x="892" y="1861"/>
                          </a:lnTo>
                          <a:lnTo>
                            <a:pt x="900" y="1857"/>
                          </a:lnTo>
                          <a:lnTo>
                            <a:pt x="908" y="1855"/>
                          </a:lnTo>
                          <a:lnTo>
                            <a:pt x="916" y="1855"/>
                          </a:lnTo>
                          <a:lnTo>
                            <a:pt x="916" y="1855"/>
                          </a:lnTo>
                          <a:lnTo>
                            <a:pt x="924" y="1855"/>
                          </a:lnTo>
                          <a:lnTo>
                            <a:pt x="931" y="1857"/>
                          </a:lnTo>
                          <a:lnTo>
                            <a:pt x="938" y="1860"/>
                          </a:lnTo>
                          <a:lnTo>
                            <a:pt x="943" y="1863"/>
                          </a:lnTo>
                          <a:lnTo>
                            <a:pt x="948" y="1867"/>
                          </a:lnTo>
                          <a:lnTo>
                            <a:pt x="953" y="1871"/>
                          </a:lnTo>
                          <a:lnTo>
                            <a:pt x="959" y="1879"/>
                          </a:lnTo>
                          <a:lnTo>
                            <a:pt x="959" y="1975"/>
                          </a:lnTo>
                          <a:lnTo>
                            <a:pt x="959" y="1975"/>
                          </a:lnTo>
                          <a:lnTo>
                            <a:pt x="951" y="1984"/>
                          </a:lnTo>
                          <a:lnTo>
                            <a:pt x="943" y="1991"/>
                          </a:lnTo>
                          <a:lnTo>
                            <a:pt x="938" y="1995"/>
                          </a:lnTo>
                          <a:lnTo>
                            <a:pt x="931" y="1997"/>
                          </a:lnTo>
                          <a:lnTo>
                            <a:pt x="925" y="1998"/>
                          </a:lnTo>
                          <a:lnTo>
                            <a:pt x="916" y="2000"/>
                          </a:lnTo>
                          <a:lnTo>
                            <a:pt x="916" y="2000"/>
                          </a:lnTo>
                          <a:close/>
                          <a:moveTo>
                            <a:pt x="2278" y="1799"/>
                          </a:moveTo>
                          <a:lnTo>
                            <a:pt x="2278" y="1799"/>
                          </a:lnTo>
                          <a:lnTo>
                            <a:pt x="2272" y="1800"/>
                          </a:lnTo>
                          <a:lnTo>
                            <a:pt x="2265" y="1801"/>
                          </a:lnTo>
                          <a:lnTo>
                            <a:pt x="2250" y="1805"/>
                          </a:lnTo>
                          <a:lnTo>
                            <a:pt x="2237" y="1812"/>
                          </a:lnTo>
                          <a:lnTo>
                            <a:pt x="2225" y="1822"/>
                          </a:lnTo>
                          <a:lnTo>
                            <a:pt x="2225" y="1709"/>
                          </a:lnTo>
                          <a:lnTo>
                            <a:pt x="2164" y="1739"/>
                          </a:lnTo>
                          <a:lnTo>
                            <a:pt x="2164" y="2049"/>
                          </a:lnTo>
                          <a:lnTo>
                            <a:pt x="2225" y="2049"/>
                          </a:lnTo>
                          <a:lnTo>
                            <a:pt x="2225" y="2031"/>
                          </a:lnTo>
                          <a:lnTo>
                            <a:pt x="2225" y="2031"/>
                          </a:lnTo>
                          <a:lnTo>
                            <a:pt x="2230" y="2037"/>
                          </a:lnTo>
                          <a:lnTo>
                            <a:pt x="2237" y="2042"/>
                          </a:lnTo>
                          <a:lnTo>
                            <a:pt x="2243" y="2046"/>
                          </a:lnTo>
                          <a:lnTo>
                            <a:pt x="2250" y="2049"/>
                          </a:lnTo>
                          <a:lnTo>
                            <a:pt x="2257" y="2052"/>
                          </a:lnTo>
                          <a:lnTo>
                            <a:pt x="2265" y="2053"/>
                          </a:lnTo>
                          <a:lnTo>
                            <a:pt x="2272" y="2054"/>
                          </a:lnTo>
                          <a:lnTo>
                            <a:pt x="2280" y="2055"/>
                          </a:lnTo>
                          <a:lnTo>
                            <a:pt x="2280" y="2055"/>
                          </a:lnTo>
                          <a:lnTo>
                            <a:pt x="2291" y="2054"/>
                          </a:lnTo>
                          <a:lnTo>
                            <a:pt x="2302" y="2053"/>
                          </a:lnTo>
                          <a:lnTo>
                            <a:pt x="2311" y="2051"/>
                          </a:lnTo>
                          <a:lnTo>
                            <a:pt x="2321" y="2046"/>
                          </a:lnTo>
                          <a:lnTo>
                            <a:pt x="2329" y="2041"/>
                          </a:lnTo>
                          <a:lnTo>
                            <a:pt x="2337" y="2036"/>
                          </a:lnTo>
                          <a:lnTo>
                            <a:pt x="2344" y="2029"/>
                          </a:lnTo>
                          <a:lnTo>
                            <a:pt x="2350" y="2021"/>
                          </a:lnTo>
                          <a:lnTo>
                            <a:pt x="2356" y="2012"/>
                          </a:lnTo>
                          <a:lnTo>
                            <a:pt x="2361" y="2002"/>
                          </a:lnTo>
                          <a:lnTo>
                            <a:pt x="2365" y="1991"/>
                          </a:lnTo>
                          <a:lnTo>
                            <a:pt x="2368" y="1980"/>
                          </a:lnTo>
                          <a:lnTo>
                            <a:pt x="2372" y="1968"/>
                          </a:lnTo>
                          <a:lnTo>
                            <a:pt x="2373" y="1955"/>
                          </a:lnTo>
                          <a:lnTo>
                            <a:pt x="2374" y="1940"/>
                          </a:lnTo>
                          <a:lnTo>
                            <a:pt x="2376" y="1924"/>
                          </a:lnTo>
                          <a:lnTo>
                            <a:pt x="2376" y="1924"/>
                          </a:lnTo>
                          <a:lnTo>
                            <a:pt x="2374" y="1911"/>
                          </a:lnTo>
                          <a:lnTo>
                            <a:pt x="2373" y="1897"/>
                          </a:lnTo>
                          <a:lnTo>
                            <a:pt x="2371" y="1884"/>
                          </a:lnTo>
                          <a:lnTo>
                            <a:pt x="2368" y="1872"/>
                          </a:lnTo>
                          <a:lnTo>
                            <a:pt x="2365" y="1861"/>
                          </a:lnTo>
                          <a:lnTo>
                            <a:pt x="2360" y="1851"/>
                          </a:lnTo>
                          <a:lnTo>
                            <a:pt x="2355" y="1842"/>
                          </a:lnTo>
                          <a:lnTo>
                            <a:pt x="2349" y="1833"/>
                          </a:lnTo>
                          <a:lnTo>
                            <a:pt x="2343" y="1826"/>
                          </a:lnTo>
                          <a:lnTo>
                            <a:pt x="2336" y="1818"/>
                          </a:lnTo>
                          <a:lnTo>
                            <a:pt x="2327" y="1812"/>
                          </a:lnTo>
                          <a:lnTo>
                            <a:pt x="2319" y="1807"/>
                          </a:lnTo>
                          <a:lnTo>
                            <a:pt x="2310" y="1804"/>
                          </a:lnTo>
                          <a:lnTo>
                            <a:pt x="2300" y="1801"/>
                          </a:lnTo>
                          <a:lnTo>
                            <a:pt x="2289" y="1800"/>
                          </a:lnTo>
                          <a:lnTo>
                            <a:pt x="2278" y="1799"/>
                          </a:lnTo>
                          <a:lnTo>
                            <a:pt x="2278" y="1799"/>
                          </a:lnTo>
                          <a:close/>
                          <a:moveTo>
                            <a:pt x="2267" y="1855"/>
                          </a:moveTo>
                          <a:lnTo>
                            <a:pt x="2267" y="1855"/>
                          </a:lnTo>
                          <a:lnTo>
                            <a:pt x="2276" y="1856"/>
                          </a:lnTo>
                          <a:lnTo>
                            <a:pt x="2284" y="1859"/>
                          </a:lnTo>
                          <a:lnTo>
                            <a:pt x="2292" y="1863"/>
                          </a:lnTo>
                          <a:lnTo>
                            <a:pt x="2299" y="1871"/>
                          </a:lnTo>
                          <a:lnTo>
                            <a:pt x="2305" y="1879"/>
                          </a:lnTo>
                          <a:lnTo>
                            <a:pt x="2309" y="1891"/>
                          </a:lnTo>
                          <a:lnTo>
                            <a:pt x="2312" y="1906"/>
                          </a:lnTo>
                          <a:lnTo>
                            <a:pt x="2314" y="1923"/>
                          </a:lnTo>
                          <a:lnTo>
                            <a:pt x="2314" y="1923"/>
                          </a:lnTo>
                          <a:lnTo>
                            <a:pt x="2312" y="1941"/>
                          </a:lnTo>
                          <a:lnTo>
                            <a:pt x="2310" y="1957"/>
                          </a:lnTo>
                          <a:lnTo>
                            <a:pt x="2308" y="1969"/>
                          </a:lnTo>
                          <a:lnTo>
                            <a:pt x="2303" y="1980"/>
                          </a:lnTo>
                          <a:lnTo>
                            <a:pt x="2295" y="1989"/>
                          </a:lnTo>
                          <a:lnTo>
                            <a:pt x="2288" y="1995"/>
                          </a:lnTo>
                          <a:lnTo>
                            <a:pt x="2280" y="1998"/>
                          </a:lnTo>
                          <a:lnTo>
                            <a:pt x="2269" y="2000"/>
                          </a:lnTo>
                          <a:lnTo>
                            <a:pt x="2269" y="2000"/>
                          </a:lnTo>
                          <a:lnTo>
                            <a:pt x="2260" y="1998"/>
                          </a:lnTo>
                          <a:lnTo>
                            <a:pt x="2253" y="1997"/>
                          </a:lnTo>
                          <a:lnTo>
                            <a:pt x="2247" y="1993"/>
                          </a:lnTo>
                          <a:lnTo>
                            <a:pt x="2241" y="1991"/>
                          </a:lnTo>
                          <a:lnTo>
                            <a:pt x="2231" y="1983"/>
                          </a:lnTo>
                          <a:lnTo>
                            <a:pt x="2225" y="1976"/>
                          </a:lnTo>
                          <a:lnTo>
                            <a:pt x="2225" y="1879"/>
                          </a:lnTo>
                          <a:lnTo>
                            <a:pt x="2225" y="1879"/>
                          </a:lnTo>
                          <a:lnTo>
                            <a:pt x="2229" y="1874"/>
                          </a:lnTo>
                          <a:lnTo>
                            <a:pt x="2233" y="1869"/>
                          </a:lnTo>
                          <a:lnTo>
                            <a:pt x="2238" y="1865"/>
                          </a:lnTo>
                          <a:lnTo>
                            <a:pt x="2243" y="1861"/>
                          </a:lnTo>
                          <a:lnTo>
                            <a:pt x="2249" y="1859"/>
                          </a:lnTo>
                          <a:lnTo>
                            <a:pt x="2255" y="1856"/>
                          </a:lnTo>
                          <a:lnTo>
                            <a:pt x="2261" y="1855"/>
                          </a:lnTo>
                          <a:lnTo>
                            <a:pt x="2267" y="1855"/>
                          </a:lnTo>
                          <a:lnTo>
                            <a:pt x="2267" y="1855"/>
                          </a:lnTo>
                          <a:close/>
                          <a:moveTo>
                            <a:pt x="1591" y="1822"/>
                          </a:moveTo>
                          <a:lnTo>
                            <a:pt x="1591" y="1822"/>
                          </a:lnTo>
                          <a:lnTo>
                            <a:pt x="1586" y="1817"/>
                          </a:lnTo>
                          <a:lnTo>
                            <a:pt x="1580" y="1812"/>
                          </a:lnTo>
                          <a:lnTo>
                            <a:pt x="1572" y="1809"/>
                          </a:lnTo>
                          <a:lnTo>
                            <a:pt x="1566" y="1805"/>
                          </a:lnTo>
                          <a:lnTo>
                            <a:pt x="1559" y="1803"/>
                          </a:lnTo>
                          <a:lnTo>
                            <a:pt x="1552" y="1800"/>
                          </a:lnTo>
                          <a:lnTo>
                            <a:pt x="1544" y="1800"/>
                          </a:lnTo>
                          <a:lnTo>
                            <a:pt x="1537" y="1799"/>
                          </a:lnTo>
                          <a:lnTo>
                            <a:pt x="1537" y="1799"/>
                          </a:lnTo>
                          <a:lnTo>
                            <a:pt x="1526" y="1800"/>
                          </a:lnTo>
                          <a:lnTo>
                            <a:pt x="1515" y="1801"/>
                          </a:lnTo>
                          <a:lnTo>
                            <a:pt x="1506" y="1804"/>
                          </a:lnTo>
                          <a:lnTo>
                            <a:pt x="1497" y="1807"/>
                          </a:lnTo>
                          <a:lnTo>
                            <a:pt x="1489" y="1812"/>
                          </a:lnTo>
                          <a:lnTo>
                            <a:pt x="1480" y="1818"/>
                          </a:lnTo>
                          <a:lnTo>
                            <a:pt x="1473" y="1826"/>
                          </a:lnTo>
                          <a:lnTo>
                            <a:pt x="1467" y="1833"/>
                          </a:lnTo>
                          <a:lnTo>
                            <a:pt x="1461" y="1842"/>
                          </a:lnTo>
                          <a:lnTo>
                            <a:pt x="1456" y="1851"/>
                          </a:lnTo>
                          <a:lnTo>
                            <a:pt x="1451" y="1861"/>
                          </a:lnTo>
                          <a:lnTo>
                            <a:pt x="1447" y="1872"/>
                          </a:lnTo>
                          <a:lnTo>
                            <a:pt x="1445" y="1884"/>
                          </a:lnTo>
                          <a:lnTo>
                            <a:pt x="1442" y="1897"/>
                          </a:lnTo>
                          <a:lnTo>
                            <a:pt x="1441" y="1911"/>
                          </a:lnTo>
                          <a:lnTo>
                            <a:pt x="1441" y="1924"/>
                          </a:lnTo>
                          <a:lnTo>
                            <a:pt x="1441" y="1924"/>
                          </a:lnTo>
                          <a:lnTo>
                            <a:pt x="1441" y="1940"/>
                          </a:lnTo>
                          <a:lnTo>
                            <a:pt x="1442" y="1953"/>
                          </a:lnTo>
                          <a:lnTo>
                            <a:pt x="1445" y="1967"/>
                          </a:lnTo>
                          <a:lnTo>
                            <a:pt x="1447" y="1979"/>
                          </a:lnTo>
                          <a:lnTo>
                            <a:pt x="1451" y="1991"/>
                          </a:lnTo>
                          <a:lnTo>
                            <a:pt x="1455" y="2002"/>
                          </a:lnTo>
                          <a:lnTo>
                            <a:pt x="1461" y="2012"/>
                          </a:lnTo>
                          <a:lnTo>
                            <a:pt x="1465" y="2020"/>
                          </a:lnTo>
                          <a:lnTo>
                            <a:pt x="1473" y="2029"/>
                          </a:lnTo>
                          <a:lnTo>
                            <a:pt x="1479" y="2035"/>
                          </a:lnTo>
                          <a:lnTo>
                            <a:pt x="1487" y="2041"/>
                          </a:lnTo>
                          <a:lnTo>
                            <a:pt x="1496" y="2046"/>
                          </a:lnTo>
                          <a:lnTo>
                            <a:pt x="1504" y="2049"/>
                          </a:lnTo>
                          <a:lnTo>
                            <a:pt x="1514" y="2053"/>
                          </a:lnTo>
                          <a:lnTo>
                            <a:pt x="1525" y="2054"/>
                          </a:lnTo>
                          <a:lnTo>
                            <a:pt x="1536" y="2054"/>
                          </a:lnTo>
                          <a:lnTo>
                            <a:pt x="1536" y="2054"/>
                          </a:lnTo>
                          <a:lnTo>
                            <a:pt x="1543" y="2054"/>
                          </a:lnTo>
                          <a:lnTo>
                            <a:pt x="1551" y="2053"/>
                          </a:lnTo>
                          <a:lnTo>
                            <a:pt x="1558" y="2052"/>
                          </a:lnTo>
                          <a:lnTo>
                            <a:pt x="1565" y="2049"/>
                          </a:lnTo>
                          <a:lnTo>
                            <a:pt x="1572" y="2046"/>
                          </a:lnTo>
                          <a:lnTo>
                            <a:pt x="1578" y="2041"/>
                          </a:lnTo>
                          <a:lnTo>
                            <a:pt x="1585" y="2037"/>
                          </a:lnTo>
                          <a:lnTo>
                            <a:pt x="1591" y="2031"/>
                          </a:lnTo>
                          <a:lnTo>
                            <a:pt x="1591" y="2037"/>
                          </a:lnTo>
                          <a:lnTo>
                            <a:pt x="1591" y="2037"/>
                          </a:lnTo>
                          <a:lnTo>
                            <a:pt x="1591" y="2047"/>
                          </a:lnTo>
                          <a:lnTo>
                            <a:pt x="1589" y="2058"/>
                          </a:lnTo>
                          <a:lnTo>
                            <a:pt x="1587" y="2069"/>
                          </a:lnTo>
                          <a:lnTo>
                            <a:pt x="1585" y="2074"/>
                          </a:lnTo>
                          <a:lnTo>
                            <a:pt x="1581" y="2079"/>
                          </a:lnTo>
                          <a:lnTo>
                            <a:pt x="1577" y="2083"/>
                          </a:lnTo>
                          <a:lnTo>
                            <a:pt x="1572" y="2088"/>
                          </a:lnTo>
                          <a:lnTo>
                            <a:pt x="1565" y="2092"/>
                          </a:lnTo>
                          <a:lnTo>
                            <a:pt x="1558" y="2094"/>
                          </a:lnTo>
                          <a:lnTo>
                            <a:pt x="1549" y="2098"/>
                          </a:lnTo>
                          <a:lnTo>
                            <a:pt x="1538" y="2099"/>
                          </a:lnTo>
                          <a:lnTo>
                            <a:pt x="1526" y="2102"/>
                          </a:lnTo>
                          <a:lnTo>
                            <a:pt x="1513" y="2102"/>
                          </a:lnTo>
                          <a:lnTo>
                            <a:pt x="1510" y="2102"/>
                          </a:lnTo>
                          <a:lnTo>
                            <a:pt x="1531" y="2149"/>
                          </a:lnTo>
                          <a:lnTo>
                            <a:pt x="1532" y="2149"/>
                          </a:lnTo>
                          <a:lnTo>
                            <a:pt x="1532" y="2149"/>
                          </a:lnTo>
                          <a:lnTo>
                            <a:pt x="1547" y="2149"/>
                          </a:lnTo>
                          <a:lnTo>
                            <a:pt x="1560" y="2147"/>
                          </a:lnTo>
                          <a:lnTo>
                            <a:pt x="1574" y="2144"/>
                          </a:lnTo>
                          <a:lnTo>
                            <a:pt x="1585" y="2141"/>
                          </a:lnTo>
                          <a:lnTo>
                            <a:pt x="1595" y="2137"/>
                          </a:lnTo>
                          <a:lnTo>
                            <a:pt x="1605" y="2132"/>
                          </a:lnTo>
                          <a:lnTo>
                            <a:pt x="1614" y="2125"/>
                          </a:lnTo>
                          <a:lnTo>
                            <a:pt x="1622" y="2119"/>
                          </a:lnTo>
                          <a:lnTo>
                            <a:pt x="1630" y="2110"/>
                          </a:lnTo>
                          <a:lnTo>
                            <a:pt x="1634" y="2100"/>
                          </a:lnTo>
                          <a:lnTo>
                            <a:pt x="1640" y="2091"/>
                          </a:lnTo>
                          <a:lnTo>
                            <a:pt x="1644" y="2080"/>
                          </a:lnTo>
                          <a:lnTo>
                            <a:pt x="1648" y="2068"/>
                          </a:lnTo>
                          <a:lnTo>
                            <a:pt x="1650" y="2055"/>
                          </a:lnTo>
                          <a:lnTo>
                            <a:pt x="1651" y="2042"/>
                          </a:lnTo>
                          <a:lnTo>
                            <a:pt x="1651" y="2026"/>
                          </a:lnTo>
                          <a:lnTo>
                            <a:pt x="1651" y="1805"/>
                          </a:lnTo>
                          <a:lnTo>
                            <a:pt x="1591" y="1805"/>
                          </a:lnTo>
                          <a:lnTo>
                            <a:pt x="1591" y="1822"/>
                          </a:lnTo>
                          <a:close/>
                          <a:moveTo>
                            <a:pt x="1591" y="1879"/>
                          </a:moveTo>
                          <a:lnTo>
                            <a:pt x="1591" y="1975"/>
                          </a:lnTo>
                          <a:lnTo>
                            <a:pt x="1591" y="1975"/>
                          </a:lnTo>
                          <a:lnTo>
                            <a:pt x="1583" y="1984"/>
                          </a:lnTo>
                          <a:lnTo>
                            <a:pt x="1574" y="1992"/>
                          </a:lnTo>
                          <a:lnTo>
                            <a:pt x="1569" y="1995"/>
                          </a:lnTo>
                          <a:lnTo>
                            <a:pt x="1563" y="1997"/>
                          </a:lnTo>
                          <a:lnTo>
                            <a:pt x="1555" y="1998"/>
                          </a:lnTo>
                          <a:lnTo>
                            <a:pt x="1548" y="2000"/>
                          </a:lnTo>
                          <a:lnTo>
                            <a:pt x="1548" y="2000"/>
                          </a:lnTo>
                          <a:lnTo>
                            <a:pt x="1540" y="1998"/>
                          </a:lnTo>
                          <a:lnTo>
                            <a:pt x="1532" y="1996"/>
                          </a:lnTo>
                          <a:lnTo>
                            <a:pt x="1524" y="1991"/>
                          </a:lnTo>
                          <a:lnTo>
                            <a:pt x="1518" y="1985"/>
                          </a:lnTo>
                          <a:lnTo>
                            <a:pt x="1512" y="1975"/>
                          </a:lnTo>
                          <a:lnTo>
                            <a:pt x="1507" y="1962"/>
                          </a:lnTo>
                          <a:lnTo>
                            <a:pt x="1503" y="1945"/>
                          </a:lnTo>
                          <a:lnTo>
                            <a:pt x="1502" y="1923"/>
                          </a:lnTo>
                          <a:lnTo>
                            <a:pt x="1502" y="1923"/>
                          </a:lnTo>
                          <a:lnTo>
                            <a:pt x="1503" y="1904"/>
                          </a:lnTo>
                          <a:lnTo>
                            <a:pt x="1507" y="1889"/>
                          </a:lnTo>
                          <a:lnTo>
                            <a:pt x="1512" y="1877"/>
                          </a:lnTo>
                          <a:lnTo>
                            <a:pt x="1518" y="1868"/>
                          </a:lnTo>
                          <a:lnTo>
                            <a:pt x="1524" y="1861"/>
                          </a:lnTo>
                          <a:lnTo>
                            <a:pt x="1532" y="1857"/>
                          </a:lnTo>
                          <a:lnTo>
                            <a:pt x="1540" y="1855"/>
                          </a:lnTo>
                          <a:lnTo>
                            <a:pt x="1548" y="1855"/>
                          </a:lnTo>
                          <a:lnTo>
                            <a:pt x="1548" y="1855"/>
                          </a:lnTo>
                          <a:lnTo>
                            <a:pt x="1555" y="1855"/>
                          </a:lnTo>
                          <a:lnTo>
                            <a:pt x="1563" y="1857"/>
                          </a:lnTo>
                          <a:lnTo>
                            <a:pt x="1570" y="1860"/>
                          </a:lnTo>
                          <a:lnTo>
                            <a:pt x="1575" y="1862"/>
                          </a:lnTo>
                          <a:lnTo>
                            <a:pt x="1580" y="1867"/>
                          </a:lnTo>
                          <a:lnTo>
                            <a:pt x="1585" y="1871"/>
                          </a:lnTo>
                          <a:lnTo>
                            <a:pt x="1591" y="1879"/>
                          </a:lnTo>
                          <a:lnTo>
                            <a:pt x="1591" y="1879"/>
                          </a:lnTo>
                          <a:close/>
                          <a:moveTo>
                            <a:pt x="1840" y="1865"/>
                          </a:moveTo>
                          <a:lnTo>
                            <a:pt x="1840" y="1865"/>
                          </a:lnTo>
                          <a:lnTo>
                            <a:pt x="1854" y="1857"/>
                          </a:lnTo>
                          <a:lnTo>
                            <a:pt x="1869" y="1852"/>
                          </a:lnTo>
                          <a:lnTo>
                            <a:pt x="1885" y="1849"/>
                          </a:lnTo>
                          <a:lnTo>
                            <a:pt x="1902" y="1848"/>
                          </a:lnTo>
                          <a:lnTo>
                            <a:pt x="1902" y="1848"/>
                          </a:lnTo>
                          <a:lnTo>
                            <a:pt x="1913" y="1849"/>
                          </a:lnTo>
                          <a:lnTo>
                            <a:pt x="1921" y="1850"/>
                          </a:lnTo>
                          <a:lnTo>
                            <a:pt x="1928" y="1852"/>
                          </a:lnTo>
                          <a:lnTo>
                            <a:pt x="1935" y="1857"/>
                          </a:lnTo>
                          <a:lnTo>
                            <a:pt x="1939" y="1862"/>
                          </a:lnTo>
                          <a:lnTo>
                            <a:pt x="1943" y="1868"/>
                          </a:lnTo>
                          <a:lnTo>
                            <a:pt x="1945" y="1874"/>
                          </a:lnTo>
                          <a:lnTo>
                            <a:pt x="1945" y="1883"/>
                          </a:lnTo>
                          <a:lnTo>
                            <a:pt x="1945" y="1900"/>
                          </a:lnTo>
                          <a:lnTo>
                            <a:pt x="1945" y="1900"/>
                          </a:lnTo>
                          <a:lnTo>
                            <a:pt x="1935" y="1895"/>
                          </a:lnTo>
                          <a:lnTo>
                            <a:pt x="1921" y="1891"/>
                          </a:lnTo>
                          <a:lnTo>
                            <a:pt x="1908" y="1889"/>
                          </a:lnTo>
                          <a:lnTo>
                            <a:pt x="1893" y="1888"/>
                          </a:lnTo>
                          <a:lnTo>
                            <a:pt x="1893" y="1888"/>
                          </a:lnTo>
                          <a:lnTo>
                            <a:pt x="1876" y="1889"/>
                          </a:lnTo>
                          <a:lnTo>
                            <a:pt x="1859" y="1893"/>
                          </a:lnTo>
                          <a:lnTo>
                            <a:pt x="1843" y="1897"/>
                          </a:lnTo>
                          <a:lnTo>
                            <a:pt x="1835" y="1901"/>
                          </a:lnTo>
                          <a:lnTo>
                            <a:pt x="1828" y="1906"/>
                          </a:lnTo>
                          <a:lnTo>
                            <a:pt x="1822" y="1911"/>
                          </a:lnTo>
                          <a:lnTo>
                            <a:pt x="1815" y="1917"/>
                          </a:lnTo>
                          <a:lnTo>
                            <a:pt x="1809" y="1923"/>
                          </a:lnTo>
                          <a:lnTo>
                            <a:pt x="1805" y="1930"/>
                          </a:lnTo>
                          <a:lnTo>
                            <a:pt x="1801" y="1939"/>
                          </a:lnTo>
                          <a:lnTo>
                            <a:pt x="1798" y="1948"/>
                          </a:lnTo>
                          <a:lnTo>
                            <a:pt x="1797" y="1958"/>
                          </a:lnTo>
                          <a:lnTo>
                            <a:pt x="1796" y="1968"/>
                          </a:lnTo>
                          <a:lnTo>
                            <a:pt x="1796" y="1968"/>
                          </a:lnTo>
                          <a:lnTo>
                            <a:pt x="1797" y="1980"/>
                          </a:lnTo>
                          <a:lnTo>
                            <a:pt x="1798" y="1991"/>
                          </a:lnTo>
                          <a:lnTo>
                            <a:pt x="1801" y="2000"/>
                          </a:lnTo>
                          <a:lnTo>
                            <a:pt x="1805" y="2009"/>
                          </a:lnTo>
                          <a:lnTo>
                            <a:pt x="1808" y="2017"/>
                          </a:lnTo>
                          <a:lnTo>
                            <a:pt x="1814" y="2024"/>
                          </a:lnTo>
                          <a:lnTo>
                            <a:pt x="1819" y="2030"/>
                          </a:lnTo>
                          <a:lnTo>
                            <a:pt x="1826" y="2036"/>
                          </a:lnTo>
                          <a:lnTo>
                            <a:pt x="1832" y="2041"/>
                          </a:lnTo>
                          <a:lnTo>
                            <a:pt x="1840" y="2045"/>
                          </a:lnTo>
                          <a:lnTo>
                            <a:pt x="1856" y="2051"/>
                          </a:lnTo>
                          <a:lnTo>
                            <a:pt x="1871" y="2054"/>
                          </a:lnTo>
                          <a:lnTo>
                            <a:pt x="1887" y="2055"/>
                          </a:lnTo>
                          <a:lnTo>
                            <a:pt x="1887" y="2055"/>
                          </a:lnTo>
                          <a:lnTo>
                            <a:pt x="1901" y="2053"/>
                          </a:lnTo>
                          <a:lnTo>
                            <a:pt x="1909" y="2052"/>
                          </a:lnTo>
                          <a:lnTo>
                            <a:pt x="1916" y="2049"/>
                          </a:lnTo>
                          <a:lnTo>
                            <a:pt x="1925" y="2046"/>
                          </a:lnTo>
                          <a:lnTo>
                            <a:pt x="1932" y="2041"/>
                          </a:lnTo>
                          <a:lnTo>
                            <a:pt x="1939" y="2036"/>
                          </a:lnTo>
                          <a:lnTo>
                            <a:pt x="1945" y="2030"/>
                          </a:lnTo>
                          <a:lnTo>
                            <a:pt x="1945" y="2049"/>
                          </a:lnTo>
                          <a:lnTo>
                            <a:pt x="2006" y="2049"/>
                          </a:lnTo>
                          <a:lnTo>
                            <a:pt x="2006" y="1884"/>
                          </a:lnTo>
                          <a:lnTo>
                            <a:pt x="2006" y="1884"/>
                          </a:lnTo>
                          <a:lnTo>
                            <a:pt x="2006" y="1874"/>
                          </a:lnTo>
                          <a:lnTo>
                            <a:pt x="2005" y="1866"/>
                          </a:lnTo>
                          <a:lnTo>
                            <a:pt x="2003" y="1857"/>
                          </a:lnTo>
                          <a:lnTo>
                            <a:pt x="2000" y="1849"/>
                          </a:lnTo>
                          <a:lnTo>
                            <a:pt x="1995" y="1842"/>
                          </a:lnTo>
                          <a:lnTo>
                            <a:pt x="1992" y="1834"/>
                          </a:lnTo>
                          <a:lnTo>
                            <a:pt x="1986" y="1828"/>
                          </a:lnTo>
                          <a:lnTo>
                            <a:pt x="1979" y="1822"/>
                          </a:lnTo>
                          <a:lnTo>
                            <a:pt x="1973" y="1817"/>
                          </a:lnTo>
                          <a:lnTo>
                            <a:pt x="1966" y="1812"/>
                          </a:lnTo>
                          <a:lnTo>
                            <a:pt x="1958" y="1809"/>
                          </a:lnTo>
                          <a:lnTo>
                            <a:pt x="1949" y="1805"/>
                          </a:lnTo>
                          <a:lnTo>
                            <a:pt x="1939" y="1803"/>
                          </a:lnTo>
                          <a:lnTo>
                            <a:pt x="1930" y="1801"/>
                          </a:lnTo>
                          <a:lnTo>
                            <a:pt x="1919" y="1800"/>
                          </a:lnTo>
                          <a:lnTo>
                            <a:pt x="1908" y="1799"/>
                          </a:lnTo>
                          <a:lnTo>
                            <a:pt x="1908" y="1799"/>
                          </a:lnTo>
                          <a:lnTo>
                            <a:pt x="1894" y="1800"/>
                          </a:lnTo>
                          <a:lnTo>
                            <a:pt x="1883" y="1800"/>
                          </a:lnTo>
                          <a:lnTo>
                            <a:pt x="1871" y="1803"/>
                          </a:lnTo>
                          <a:lnTo>
                            <a:pt x="1859" y="1805"/>
                          </a:lnTo>
                          <a:lnTo>
                            <a:pt x="1848" y="1809"/>
                          </a:lnTo>
                          <a:lnTo>
                            <a:pt x="1837" y="1812"/>
                          </a:lnTo>
                          <a:lnTo>
                            <a:pt x="1826" y="1817"/>
                          </a:lnTo>
                          <a:lnTo>
                            <a:pt x="1815" y="1823"/>
                          </a:lnTo>
                          <a:lnTo>
                            <a:pt x="1840" y="1865"/>
                          </a:lnTo>
                          <a:close/>
                          <a:moveTo>
                            <a:pt x="1857" y="1968"/>
                          </a:moveTo>
                          <a:lnTo>
                            <a:pt x="1857" y="1968"/>
                          </a:lnTo>
                          <a:lnTo>
                            <a:pt x="1857" y="1961"/>
                          </a:lnTo>
                          <a:lnTo>
                            <a:pt x="1859" y="1953"/>
                          </a:lnTo>
                          <a:lnTo>
                            <a:pt x="1863" y="1947"/>
                          </a:lnTo>
                          <a:lnTo>
                            <a:pt x="1868" y="1942"/>
                          </a:lnTo>
                          <a:lnTo>
                            <a:pt x="1874" y="1939"/>
                          </a:lnTo>
                          <a:lnTo>
                            <a:pt x="1881" y="1936"/>
                          </a:lnTo>
                          <a:lnTo>
                            <a:pt x="1890" y="1934"/>
                          </a:lnTo>
                          <a:lnTo>
                            <a:pt x="1898" y="1934"/>
                          </a:lnTo>
                          <a:lnTo>
                            <a:pt x="1898" y="1934"/>
                          </a:lnTo>
                          <a:lnTo>
                            <a:pt x="1911" y="1934"/>
                          </a:lnTo>
                          <a:lnTo>
                            <a:pt x="1924" y="1936"/>
                          </a:lnTo>
                          <a:lnTo>
                            <a:pt x="1935" y="1940"/>
                          </a:lnTo>
                          <a:lnTo>
                            <a:pt x="1945" y="1946"/>
                          </a:lnTo>
                          <a:lnTo>
                            <a:pt x="1945" y="1979"/>
                          </a:lnTo>
                          <a:lnTo>
                            <a:pt x="1945" y="1979"/>
                          </a:lnTo>
                          <a:lnTo>
                            <a:pt x="1943" y="1984"/>
                          </a:lnTo>
                          <a:lnTo>
                            <a:pt x="1938" y="1989"/>
                          </a:lnTo>
                          <a:lnTo>
                            <a:pt x="1933" y="1993"/>
                          </a:lnTo>
                          <a:lnTo>
                            <a:pt x="1927" y="1997"/>
                          </a:lnTo>
                          <a:lnTo>
                            <a:pt x="1921" y="2001"/>
                          </a:lnTo>
                          <a:lnTo>
                            <a:pt x="1914" y="2003"/>
                          </a:lnTo>
                          <a:lnTo>
                            <a:pt x="1907" y="2004"/>
                          </a:lnTo>
                          <a:lnTo>
                            <a:pt x="1898" y="2006"/>
                          </a:lnTo>
                          <a:lnTo>
                            <a:pt x="1898" y="2006"/>
                          </a:lnTo>
                          <a:lnTo>
                            <a:pt x="1890" y="2004"/>
                          </a:lnTo>
                          <a:lnTo>
                            <a:pt x="1881" y="2002"/>
                          </a:lnTo>
                          <a:lnTo>
                            <a:pt x="1874" y="2000"/>
                          </a:lnTo>
                          <a:lnTo>
                            <a:pt x="1868" y="1995"/>
                          </a:lnTo>
                          <a:lnTo>
                            <a:pt x="1863" y="1990"/>
                          </a:lnTo>
                          <a:lnTo>
                            <a:pt x="1859" y="1984"/>
                          </a:lnTo>
                          <a:lnTo>
                            <a:pt x="1858" y="1976"/>
                          </a:lnTo>
                          <a:lnTo>
                            <a:pt x="1857" y="1968"/>
                          </a:lnTo>
                          <a:lnTo>
                            <a:pt x="1857" y="1968"/>
                          </a:lnTo>
                          <a:close/>
                          <a:moveTo>
                            <a:pt x="2569" y="1979"/>
                          </a:moveTo>
                          <a:lnTo>
                            <a:pt x="2569" y="1979"/>
                          </a:lnTo>
                          <a:lnTo>
                            <a:pt x="2560" y="1986"/>
                          </a:lnTo>
                          <a:lnTo>
                            <a:pt x="2549" y="1992"/>
                          </a:lnTo>
                          <a:lnTo>
                            <a:pt x="2543" y="1995"/>
                          </a:lnTo>
                          <a:lnTo>
                            <a:pt x="2536" y="1997"/>
                          </a:lnTo>
                          <a:lnTo>
                            <a:pt x="2529" y="1998"/>
                          </a:lnTo>
                          <a:lnTo>
                            <a:pt x="2521" y="2000"/>
                          </a:lnTo>
                          <a:lnTo>
                            <a:pt x="2521" y="2000"/>
                          </a:lnTo>
                          <a:lnTo>
                            <a:pt x="2515" y="1998"/>
                          </a:lnTo>
                          <a:lnTo>
                            <a:pt x="2508" y="1998"/>
                          </a:lnTo>
                          <a:lnTo>
                            <a:pt x="2500" y="1996"/>
                          </a:lnTo>
                          <a:lnTo>
                            <a:pt x="2490" y="1991"/>
                          </a:lnTo>
                          <a:lnTo>
                            <a:pt x="2481" y="1985"/>
                          </a:lnTo>
                          <a:lnTo>
                            <a:pt x="2478" y="1980"/>
                          </a:lnTo>
                          <a:lnTo>
                            <a:pt x="2474" y="1975"/>
                          </a:lnTo>
                          <a:lnTo>
                            <a:pt x="2472" y="1969"/>
                          </a:lnTo>
                          <a:lnTo>
                            <a:pt x="2469" y="1962"/>
                          </a:lnTo>
                          <a:lnTo>
                            <a:pt x="2468" y="1955"/>
                          </a:lnTo>
                          <a:lnTo>
                            <a:pt x="2467" y="1946"/>
                          </a:lnTo>
                          <a:lnTo>
                            <a:pt x="2616" y="1946"/>
                          </a:lnTo>
                          <a:lnTo>
                            <a:pt x="2616" y="1946"/>
                          </a:lnTo>
                          <a:lnTo>
                            <a:pt x="2617" y="1928"/>
                          </a:lnTo>
                          <a:lnTo>
                            <a:pt x="2617" y="1928"/>
                          </a:lnTo>
                          <a:lnTo>
                            <a:pt x="2617" y="1913"/>
                          </a:lnTo>
                          <a:lnTo>
                            <a:pt x="2615" y="1900"/>
                          </a:lnTo>
                          <a:lnTo>
                            <a:pt x="2614" y="1886"/>
                          </a:lnTo>
                          <a:lnTo>
                            <a:pt x="2610" y="1874"/>
                          </a:lnTo>
                          <a:lnTo>
                            <a:pt x="2607" y="1863"/>
                          </a:lnTo>
                          <a:lnTo>
                            <a:pt x="2602" y="1852"/>
                          </a:lnTo>
                          <a:lnTo>
                            <a:pt x="2596" y="1843"/>
                          </a:lnTo>
                          <a:lnTo>
                            <a:pt x="2589" y="1834"/>
                          </a:lnTo>
                          <a:lnTo>
                            <a:pt x="2582" y="1826"/>
                          </a:lnTo>
                          <a:lnTo>
                            <a:pt x="2575" y="1820"/>
                          </a:lnTo>
                          <a:lnTo>
                            <a:pt x="2566" y="1814"/>
                          </a:lnTo>
                          <a:lnTo>
                            <a:pt x="2557" y="1809"/>
                          </a:lnTo>
                          <a:lnTo>
                            <a:pt x="2547" y="1805"/>
                          </a:lnTo>
                          <a:lnTo>
                            <a:pt x="2537" y="1801"/>
                          </a:lnTo>
                          <a:lnTo>
                            <a:pt x="2526" y="1800"/>
                          </a:lnTo>
                          <a:lnTo>
                            <a:pt x="2514" y="1799"/>
                          </a:lnTo>
                          <a:lnTo>
                            <a:pt x="2514" y="1799"/>
                          </a:lnTo>
                          <a:lnTo>
                            <a:pt x="2503" y="1800"/>
                          </a:lnTo>
                          <a:lnTo>
                            <a:pt x="2492" y="1801"/>
                          </a:lnTo>
                          <a:lnTo>
                            <a:pt x="2481" y="1805"/>
                          </a:lnTo>
                          <a:lnTo>
                            <a:pt x="2470" y="1809"/>
                          </a:lnTo>
                          <a:lnTo>
                            <a:pt x="2461" y="1814"/>
                          </a:lnTo>
                          <a:lnTo>
                            <a:pt x="2452" y="1821"/>
                          </a:lnTo>
                          <a:lnTo>
                            <a:pt x="2444" y="1827"/>
                          </a:lnTo>
                          <a:lnTo>
                            <a:pt x="2436" y="1835"/>
                          </a:lnTo>
                          <a:lnTo>
                            <a:pt x="2429" y="1844"/>
                          </a:lnTo>
                          <a:lnTo>
                            <a:pt x="2423" y="1854"/>
                          </a:lnTo>
                          <a:lnTo>
                            <a:pt x="2418" y="1865"/>
                          </a:lnTo>
                          <a:lnTo>
                            <a:pt x="2413" y="1876"/>
                          </a:lnTo>
                          <a:lnTo>
                            <a:pt x="2410" y="1888"/>
                          </a:lnTo>
                          <a:lnTo>
                            <a:pt x="2407" y="1901"/>
                          </a:lnTo>
                          <a:lnTo>
                            <a:pt x="2406" y="1913"/>
                          </a:lnTo>
                          <a:lnTo>
                            <a:pt x="2405" y="1928"/>
                          </a:lnTo>
                          <a:lnTo>
                            <a:pt x="2405" y="1928"/>
                          </a:lnTo>
                          <a:lnTo>
                            <a:pt x="2406" y="1941"/>
                          </a:lnTo>
                          <a:lnTo>
                            <a:pt x="2407" y="1955"/>
                          </a:lnTo>
                          <a:lnTo>
                            <a:pt x="2410" y="1968"/>
                          </a:lnTo>
                          <a:lnTo>
                            <a:pt x="2413" y="1980"/>
                          </a:lnTo>
                          <a:lnTo>
                            <a:pt x="2418" y="1991"/>
                          </a:lnTo>
                          <a:lnTo>
                            <a:pt x="2423" y="2002"/>
                          </a:lnTo>
                          <a:lnTo>
                            <a:pt x="2429" y="2012"/>
                          </a:lnTo>
                          <a:lnTo>
                            <a:pt x="2436" y="2020"/>
                          </a:lnTo>
                          <a:lnTo>
                            <a:pt x="2445" y="2028"/>
                          </a:lnTo>
                          <a:lnTo>
                            <a:pt x="2453" y="2035"/>
                          </a:lnTo>
                          <a:lnTo>
                            <a:pt x="2463" y="2041"/>
                          </a:lnTo>
                          <a:lnTo>
                            <a:pt x="2473" y="2046"/>
                          </a:lnTo>
                          <a:lnTo>
                            <a:pt x="2484" y="2049"/>
                          </a:lnTo>
                          <a:lnTo>
                            <a:pt x="2496" y="2053"/>
                          </a:lnTo>
                          <a:lnTo>
                            <a:pt x="2508" y="2054"/>
                          </a:lnTo>
                          <a:lnTo>
                            <a:pt x="2521" y="2055"/>
                          </a:lnTo>
                          <a:lnTo>
                            <a:pt x="2521" y="2055"/>
                          </a:lnTo>
                          <a:lnTo>
                            <a:pt x="2534" y="2054"/>
                          </a:lnTo>
                          <a:lnTo>
                            <a:pt x="2545" y="2053"/>
                          </a:lnTo>
                          <a:lnTo>
                            <a:pt x="2557" y="2049"/>
                          </a:lnTo>
                          <a:lnTo>
                            <a:pt x="2568" y="2046"/>
                          </a:lnTo>
                          <a:lnTo>
                            <a:pt x="2579" y="2040"/>
                          </a:lnTo>
                          <a:lnTo>
                            <a:pt x="2588" y="2034"/>
                          </a:lnTo>
                          <a:lnTo>
                            <a:pt x="2598" y="2025"/>
                          </a:lnTo>
                          <a:lnTo>
                            <a:pt x="2608" y="2017"/>
                          </a:lnTo>
                          <a:lnTo>
                            <a:pt x="2569" y="1979"/>
                          </a:lnTo>
                          <a:close/>
                          <a:moveTo>
                            <a:pt x="2468" y="1901"/>
                          </a:moveTo>
                          <a:lnTo>
                            <a:pt x="2468" y="1901"/>
                          </a:lnTo>
                          <a:lnTo>
                            <a:pt x="2469" y="1890"/>
                          </a:lnTo>
                          <a:lnTo>
                            <a:pt x="2472" y="1880"/>
                          </a:lnTo>
                          <a:lnTo>
                            <a:pt x="2475" y="1872"/>
                          </a:lnTo>
                          <a:lnTo>
                            <a:pt x="2481" y="1865"/>
                          </a:lnTo>
                          <a:lnTo>
                            <a:pt x="2487" y="1859"/>
                          </a:lnTo>
                          <a:lnTo>
                            <a:pt x="2495" y="1855"/>
                          </a:lnTo>
                          <a:lnTo>
                            <a:pt x="2503" y="1851"/>
                          </a:lnTo>
                          <a:lnTo>
                            <a:pt x="2513" y="1851"/>
                          </a:lnTo>
                          <a:lnTo>
                            <a:pt x="2513" y="1851"/>
                          </a:lnTo>
                          <a:lnTo>
                            <a:pt x="2524" y="1852"/>
                          </a:lnTo>
                          <a:lnTo>
                            <a:pt x="2534" y="1855"/>
                          </a:lnTo>
                          <a:lnTo>
                            <a:pt x="2541" y="1860"/>
                          </a:lnTo>
                          <a:lnTo>
                            <a:pt x="2547" y="1867"/>
                          </a:lnTo>
                          <a:lnTo>
                            <a:pt x="2552" y="1874"/>
                          </a:lnTo>
                          <a:lnTo>
                            <a:pt x="2555" y="1883"/>
                          </a:lnTo>
                          <a:lnTo>
                            <a:pt x="2558" y="1893"/>
                          </a:lnTo>
                          <a:lnTo>
                            <a:pt x="2559" y="1901"/>
                          </a:lnTo>
                          <a:lnTo>
                            <a:pt x="2468" y="1901"/>
                          </a:lnTo>
                          <a:close/>
                          <a:moveTo>
                            <a:pt x="3153" y="1979"/>
                          </a:moveTo>
                          <a:lnTo>
                            <a:pt x="3153" y="1979"/>
                          </a:lnTo>
                          <a:lnTo>
                            <a:pt x="3144" y="1986"/>
                          </a:lnTo>
                          <a:lnTo>
                            <a:pt x="3134" y="1992"/>
                          </a:lnTo>
                          <a:lnTo>
                            <a:pt x="3127" y="1995"/>
                          </a:lnTo>
                          <a:lnTo>
                            <a:pt x="3121" y="1997"/>
                          </a:lnTo>
                          <a:lnTo>
                            <a:pt x="3113" y="1998"/>
                          </a:lnTo>
                          <a:lnTo>
                            <a:pt x="3105" y="2000"/>
                          </a:lnTo>
                          <a:lnTo>
                            <a:pt x="3105" y="2000"/>
                          </a:lnTo>
                          <a:lnTo>
                            <a:pt x="3099" y="1998"/>
                          </a:lnTo>
                          <a:lnTo>
                            <a:pt x="3091" y="1998"/>
                          </a:lnTo>
                          <a:lnTo>
                            <a:pt x="3083" y="1996"/>
                          </a:lnTo>
                          <a:lnTo>
                            <a:pt x="3074" y="1991"/>
                          </a:lnTo>
                          <a:lnTo>
                            <a:pt x="3066" y="1985"/>
                          </a:lnTo>
                          <a:lnTo>
                            <a:pt x="3062" y="1980"/>
                          </a:lnTo>
                          <a:lnTo>
                            <a:pt x="3059" y="1975"/>
                          </a:lnTo>
                          <a:lnTo>
                            <a:pt x="3056" y="1969"/>
                          </a:lnTo>
                          <a:lnTo>
                            <a:pt x="3054" y="1962"/>
                          </a:lnTo>
                          <a:lnTo>
                            <a:pt x="3051" y="1955"/>
                          </a:lnTo>
                          <a:lnTo>
                            <a:pt x="3050" y="1946"/>
                          </a:lnTo>
                          <a:lnTo>
                            <a:pt x="3201" y="1946"/>
                          </a:lnTo>
                          <a:lnTo>
                            <a:pt x="3201" y="1946"/>
                          </a:lnTo>
                          <a:lnTo>
                            <a:pt x="3202" y="1928"/>
                          </a:lnTo>
                          <a:lnTo>
                            <a:pt x="3202" y="1928"/>
                          </a:lnTo>
                          <a:lnTo>
                            <a:pt x="3201" y="1913"/>
                          </a:lnTo>
                          <a:lnTo>
                            <a:pt x="3199" y="1900"/>
                          </a:lnTo>
                          <a:lnTo>
                            <a:pt x="3197" y="1886"/>
                          </a:lnTo>
                          <a:lnTo>
                            <a:pt x="3195" y="1874"/>
                          </a:lnTo>
                          <a:lnTo>
                            <a:pt x="3190" y="1863"/>
                          </a:lnTo>
                          <a:lnTo>
                            <a:pt x="3185" y="1852"/>
                          </a:lnTo>
                          <a:lnTo>
                            <a:pt x="3180" y="1843"/>
                          </a:lnTo>
                          <a:lnTo>
                            <a:pt x="3174" y="1834"/>
                          </a:lnTo>
                          <a:lnTo>
                            <a:pt x="3167" y="1826"/>
                          </a:lnTo>
                          <a:lnTo>
                            <a:pt x="3158" y="1820"/>
                          </a:lnTo>
                          <a:lnTo>
                            <a:pt x="3150" y="1814"/>
                          </a:lnTo>
                          <a:lnTo>
                            <a:pt x="3141" y="1809"/>
                          </a:lnTo>
                          <a:lnTo>
                            <a:pt x="3131" y="1805"/>
                          </a:lnTo>
                          <a:lnTo>
                            <a:pt x="3121" y="1801"/>
                          </a:lnTo>
                          <a:lnTo>
                            <a:pt x="3110" y="1800"/>
                          </a:lnTo>
                          <a:lnTo>
                            <a:pt x="3099" y="1799"/>
                          </a:lnTo>
                          <a:lnTo>
                            <a:pt x="3099" y="1799"/>
                          </a:lnTo>
                          <a:lnTo>
                            <a:pt x="3086" y="1800"/>
                          </a:lnTo>
                          <a:lnTo>
                            <a:pt x="3076" y="1801"/>
                          </a:lnTo>
                          <a:lnTo>
                            <a:pt x="3065" y="1805"/>
                          </a:lnTo>
                          <a:lnTo>
                            <a:pt x="3055" y="1809"/>
                          </a:lnTo>
                          <a:lnTo>
                            <a:pt x="3045" y="1814"/>
                          </a:lnTo>
                          <a:lnTo>
                            <a:pt x="3035" y="1821"/>
                          </a:lnTo>
                          <a:lnTo>
                            <a:pt x="3028" y="1827"/>
                          </a:lnTo>
                          <a:lnTo>
                            <a:pt x="3020" y="1835"/>
                          </a:lnTo>
                          <a:lnTo>
                            <a:pt x="3012" y="1844"/>
                          </a:lnTo>
                          <a:lnTo>
                            <a:pt x="3006" y="1854"/>
                          </a:lnTo>
                          <a:lnTo>
                            <a:pt x="3001" y="1865"/>
                          </a:lnTo>
                          <a:lnTo>
                            <a:pt x="2997" y="1876"/>
                          </a:lnTo>
                          <a:lnTo>
                            <a:pt x="2994" y="1888"/>
                          </a:lnTo>
                          <a:lnTo>
                            <a:pt x="2990" y="1901"/>
                          </a:lnTo>
                          <a:lnTo>
                            <a:pt x="2989" y="1913"/>
                          </a:lnTo>
                          <a:lnTo>
                            <a:pt x="2989" y="1928"/>
                          </a:lnTo>
                          <a:lnTo>
                            <a:pt x="2989" y="1928"/>
                          </a:lnTo>
                          <a:lnTo>
                            <a:pt x="2989" y="1941"/>
                          </a:lnTo>
                          <a:lnTo>
                            <a:pt x="2990" y="1955"/>
                          </a:lnTo>
                          <a:lnTo>
                            <a:pt x="2993" y="1968"/>
                          </a:lnTo>
                          <a:lnTo>
                            <a:pt x="2997" y="1980"/>
                          </a:lnTo>
                          <a:lnTo>
                            <a:pt x="3001" y="1991"/>
                          </a:lnTo>
                          <a:lnTo>
                            <a:pt x="3008" y="2002"/>
                          </a:lnTo>
                          <a:lnTo>
                            <a:pt x="3014" y="2012"/>
                          </a:lnTo>
                          <a:lnTo>
                            <a:pt x="3021" y="2020"/>
                          </a:lnTo>
                          <a:lnTo>
                            <a:pt x="3028" y="2028"/>
                          </a:lnTo>
                          <a:lnTo>
                            <a:pt x="3037" y="2035"/>
                          </a:lnTo>
                          <a:lnTo>
                            <a:pt x="3046" y="2041"/>
                          </a:lnTo>
                          <a:lnTo>
                            <a:pt x="3057" y="2046"/>
                          </a:lnTo>
                          <a:lnTo>
                            <a:pt x="3068" y="2049"/>
                          </a:lnTo>
                          <a:lnTo>
                            <a:pt x="3079" y="2053"/>
                          </a:lnTo>
                          <a:lnTo>
                            <a:pt x="3093" y="2054"/>
                          </a:lnTo>
                          <a:lnTo>
                            <a:pt x="3105" y="2055"/>
                          </a:lnTo>
                          <a:lnTo>
                            <a:pt x="3105" y="2055"/>
                          </a:lnTo>
                          <a:lnTo>
                            <a:pt x="3117" y="2054"/>
                          </a:lnTo>
                          <a:lnTo>
                            <a:pt x="3129" y="2053"/>
                          </a:lnTo>
                          <a:lnTo>
                            <a:pt x="3140" y="2049"/>
                          </a:lnTo>
                          <a:lnTo>
                            <a:pt x="3151" y="2046"/>
                          </a:lnTo>
                          <a:lnTo>
                            <a:pt x="3162" y="2040"/>
                          </a:lnTo>
                          <a:lnTo>
                            <a:pt x="3173" y="2034"/>
                          </a:lnTo>
                          <a:lnTo>
                            <a:pt x="3182" y="2025"/>
                          </a:lnTo>
                          <a:lnTo>
                            <a:pt x="3191" y="2017"/>
                          </a:lnTo>
                          <a:lnTo>
                            <a:pt x="3153" y="1979"/>
                          </a:lnTo>
                          <a:close/>
                          <a:moveTo>
                            <a:pt x="3051" y="1901"/>
                          </a:moveTo>
                          <a:lnTo>
                            <a:pt x="3051" y="1901"/>
                          </a:lnTo>
                          <a:lnTo>
                            <a:pt x="3052" y="1890"/>
                          </a:lnTo>
                          <a:lnTo>
                            <a:pt x="3056" y="1880"/>
                          </a:lnTo>
                          <a:lnTo>
                            <a:pt x="3060" y="1872"/>
                          </a:lnTo>
                          <a:lnTo>
                            <a:pt x="3065" y="1865"/>
                          </a:lnTo>
                          <a:lnTo>
                            <a:pt x="3072" y="1859"/>
                          </a:lnTo>
                          <a:lnTo>
                            <a:pt x="3079" y="1855"/>
                          </a:lnTo>
                          <a:lnTo>
                            <a:pt x="3088" y="1851"/>
                          </a:lnTo>
                          <a:lnTo>
                            <a:pt x="3097" y="1851"/>
                          </a:lnTo>
                          <a:lnTo>
                            <a:pt x="3097" y="1851"/>
                          </a:lnTo>
                          <a:lnTo>
                            <a:pt x="3108" y="1852"/>
                          </a:lnTo>
                          <a:lnTo>
                            <a:pt x="3117" y="1855"/>
                          </a:lnTo>
                          <a:lnTo>
                            <a:pt x="3125" y="1860"/>
                          </a:lnTo>
                          <a:lnTo>
                            <a:pt x="3131" y="1867"/>
                          </a:lnTo>
                          <a:lnTo>
                            <a:pt x="3136" y="1874"/>
                          </a:lnTo>
                          <a:lnTo>
                            <a:pt x="3140" y="1883"/>
                          </a:lnTo>
                          <a:lnTo>
                            <a:pt x="3142" y="1893"/>
                          </a:lnTo>
                          <a:lnTo>
                            <a:pt x="3144" y="1901"/>
                          </a:lnTo>
                          <a:lnTo>
                            <a:pt x="3051" y="1901"/>
                          </a:lnTo>
                          <a:close/>
                          <a:moveTo>
                            <a:pt x="2905" y="1964"/>
                          </a:moveTo>
                          <a:lnTo>
                            <a:pt x="2905" y="1964"/>
                          </a:lnTo>
                          <a:lnTo>
                            <a:pt x="2905" y="1973"/>
                          </a:lnTo>
                          <a:lnTo>
                            <a:pt x="2907" y="1979"/>
                          </a:lnTo>
                          <a:lnTo>
                            <a:pt x="2909" y="1985"/>
                          </a:lnTo>
                          <a:lnTo>
                            <a:pt x="2912" y="1990"/>
                          </a:lnTo>
                          <a:lnTo>
                            <a:pt x="2915" y="1993"/>
                          </a:lnTo>
                          <a:lnTo>
                            <a:pt x="2920" y="1996"/>
                          </a:lnTo>
                          <a:lnTo>
                            <a:pt x="2925" y="1997"/>
                          </a:lnTo>
                          <a:lnTo>
                            <a:pt x="2932" y="1997"/>
                          </a:lnTo>
                          <a:lnTo>
                            <a:pt x="2932" y="1997"/>
                          </a:lnTo>
                          <a:lnTo>
                            <a:pt x="2941" y="1997"/>
                          </a:lnTo>
                          <a:lnTo>
                            <a:pt x="2950" y="1995"/>
                          </a:lnTo>
                          <a:lnTo>
                            <a:pt x="2960" y="1991"/>
                          </a:lnTo>
                          <a:lnTo>
                            <a:pt x="2969" y="1986"/>
                          </a:lnTo>
                          <a:lnTo>
                            <a:pt x="2961" y="2043"/>
                          </a:lnTo>
                          <a:lnTo>
                            <a:pt x="2961" y="2043"/>
                          </a:lnTo>
                          <a:lnTo>
                            <a:pt x="2950" y="2048"/>
                          </a:lnTo>
                          <a:lnTo>
                            <a:pt x="2937" y="2052"/>
                          </a:lnTo>
                          <a:lnTo>
                            <a:pt x="2924" y="2054"/>
                          </a:lnTo>
                          <a:lnTo>
                            <a:pt x="2910" y="2055"/>
                          </a:lnTo>
                          <a:lnTo>
                            <a:pt x="2910" y="2055"/>
                          </a:lnTo>
                          <a:lnTo>
                            <a:pt x="2902" y="2054"/>
                          </a:lnTo>
                          <a:lnTo>
                            <a:pt x="2893" y="2053"/>
                          </a:lnTo>
                          <a:lnTo>
                            <a:pt x="2886" y="2051"/>
                          </a:lnTo>
                          <a:lnTo>
                            <a:pt x="2880" y="2048"/>
                          </a:lnTo>
                          <a:lnTo>
                            <a:pt x="2874" y="2045"/>
                          </a:lnTo>
                          <a:lnTo>
                            <a:pt x="2868" y="2041"/>
                          </a:lnTo>
                          <a:lnTo>
                            <a:pt x="2864" y="2036"/>
                          </a:lnTo>
                          <a:lnTo>
                            <a:pt x="2859" y="2030"/>
                          </a:lnTo>
                          <a:lnTo>
                            <a:pt x="2853" y="2019"/>
                          </a:lnTo>
                          <a:lnTo>
                            <a:pt x="2848" y="2006"/>
                          </a:lnTo>
                          <a:lnTo>
                            <a:pt x="2846" y="1993"/>
                          </a:lnTo>
                          <a:lnTo>
                            <a:pt x="2845" y="1980"/>
                          </a:lnTo>
                          <a:lnTo>
                            <a:pt x="2845" y="1861"/>
                          </a:lnTo>
                          <a:lnTo>
                            <a:pt x="2807" y="1861"/>
                          </a:lnTo>
                          <a:lnTo>
                            <a:pt x="2807" y="1805"/>
                          </a:lnTo>
                          <a:lnTo>
                            <a:pt x="2845" y="1805"/>
                          </a:lnTo>
                          <a:lnTo>
                            <a:pt x="2845" y="1742"/>
                          </a:lnTo>
                          <a:lnTo>
                            <a:pt x="2905" y="1711"/>
                          </a:lnTo>
                          <a:lnTo>
                            <a:pt x="2905" y="1805"/>
                          </a:lnTo>
                          <a:lnTo>
                            <a:pt x="2960" y="1805"/>
                          </a:lnTo>
                          <a:lnTo>
                            <a:pt x="2960" y="1861"/>
                          </a:lnTo>
                          <a:lnTo>
                            <a:pt x="2905" y="1861"/>
                          </a:lnTo>
                          <a:lnTo>
                            <a:pt x="2905" y="1964"/>
                          </a:lnTo>
                          <a:close/>
                          <a:moveTo>
                            <a:pt x="2788" y="2043"/>
                          </a:moveTo>
                          <a:lnTo>
                            <a:pt x="2788" y="2043"/>
                          </a:lnTo>
                          <a:lnTo>
                            <a:pt x="2777" y="2048"/>
                          </a:lnTo>
                          <a:lnTo>
                            <a:pt x="2764" y="2052"/>
                          </a:lnTo>
                          <a:lnTo>
                            <a:pt x="2751" y="2054"/>
                          </a:lnTo>
                          <a:lnTo>
                            <a:pt x="2738" y="2055"/>
                          </a:lnTo>
                          <a:lnTo>
                            <a:pt x="2738" y="2055"/>
                          </a:lnTo>
                          <a:lnTo>
                            <a:pt x="2728" y="2054"/>
                          </a:lnTo>
                          <a:lnTo>
                            <a:pt x="2721" y="2053"/>
                          </a:lnTo>
                          <a:lnTo>
                            <a:pt x="2713" y="2051"/>
                          </a:lnTo>
                          <a:lnTo>
                            <a:pt x="2706" y="2048"/>
                          </a:lnTo>
                          <a:lnTo>
                            <a:pt x="2701" y="2045"/>
                          </a:lnTo>
                          <a:lnTo>
                            <a:pt x="2695" y="2041"/>
                          </a:lnTo>
                          <a:lnTo>
                            <a:pt x="2690" y="2036"/>
                          </a:lnTo>
                          <a:lnTo>
                            <a:pt x="2687" y="2030"/>
                          </a:lnTo>
                          <a:lnTo>
                            <a:pt x="2679" y="2019"/>
                          </a:lnTo>
                          <a:lnTo>
                            <a:pt x="2676" y="2006"/>
                          </a:lnTo>
                          <a:lnTo>
                            <a:pt x="2672" y="1993"/>
                          </a:lnTo>
                          <a:lnTo>
                            <a:pt x="2672" y="1980"/>
                          </a:lnTo>
                          <a:lnTo>
                            <a:pt x="2672" y="1861"/>
                          </a:lnTo>
                          <a:lnTo>
                            <a:pt x="2634" y="1861"/>
                          </a:lnTo>
                          <a:lnTo>
                            <a:pt x="2634" y="1805"/>
                          </a:lnTo>
                          <a:lnTo>
                            <a:pt x="2672" y="1805"/>
                          </a:lnTo>
                          <a:lnTo>
                            <a:pt x="2672" y="1742"/>
                          </a:lnTo>
                          <a:lnTo>
                            <a:pt x="2733" y="1711"/>
                          </a:lnTo>
                          <a:lnTo>
                            <a:pt x="2733" y="1805"/>
                          </a:lnTo>
                          <a:lnTo>
                            <a:pt x="2784" y="1805"/>
                          </a:lnTo>
                          <a:lnTo>
                            <a:pt x="2784" y="1861"/>
                          </a:lnTo>
                          <a:lnTo>
                            <a:pt x="2733" y="1861"/>
                          </a:lnTo>
                          <a:lnTo>
                            <a:pt x="2733" y="1964"/>
                          </a:lnTo>
                          <a:lnTo>
                            <a:pt x="2733" y="1964"/>
                          </a:lnTo>
                          <a:lnTo>
                            <a:pt x="2733" y="1973"/>
                          </a:lnTo>
                          <a:lnTo>
                            <a:pt x="2734" y="1979"/>
                          </a:lnTo>
                          <a:lnTo>
                            <a:pt x="2737" y="1985"/>
                          </a:lnTo>
                          <a:lnTo>
                            <a:pt x="2739" y="1990"/>
                          </a:lnTo>
                          <a:lnTo>
                            <a:pt x="2743" y="1993"/>
                          </a:lnTo>
                          <a:lnTo>
                            <a:pt x="2747" y="1996"/>
                          </a:lnTo>
                          <a:lnTo>
                            <a:pt x="2752" y="1997"/>
                          </a:lnTo>
                          <a:lnTo>
                            <a:pt x="2758" y="1997"/>
                          </a:lnTo>
                          <a:lnTo>
                            <a:pt x="2758" y="1997"/>
                          </a:lnTo>
                          <a:lnTo>
                            <a:pt x="2768" y="1997"/>
                          </a:lnTo>
                          <a:lnTo>
                            <a:pt x="2778" y="1995"/>
                          </a:lnTo>
                          <a:lnTo>
                            <a:pt x="2786" y="1991"/>
                          </a:lnTo>
                          <a:lnTo>
                            <a:pt x="2795" y="1986"/>
                          </a:lnTo>
                          <a:lnTo>
                            <a:pt x="2788" y="2043"/>
                          </a:lnTo>
                          <a:close/>
                          <a:moveTo>
                            <a:pt x="3384" y="1873"/>
                          </a:moveTo>
                          <a:lnTo>
                            <a:pt x="3384" y="1873"/>
                          </a:lnTo>
                          <a:lnTo>
                            <a:pt x="3376" y="1867"/>
                          </a:lnTo>
                          <a:lnTo>
                            <a:pt x="3366" y="1863"/>
                          </a:lnTo>
                          <a:lnTo>
                            <a:pt x="3355" y="1861"/>
                          </a:lnTo>
                          <a:lnTo>
                            <a:pt x="3344" y="1860"/>
                          </a:lnTo>
                          <a:lnTo>
                            <a:pt x="3344" y="1860"/>
                          </a:lnTo>
                          <a:lnTo>
                            <a:pt x="3334" y="1861"/>
                          </a:lnTo>
                          <a:lnTo>
                            <a:pt x="3325" y="1863"/>
                          </a:lnTo>
                          <a:lnTo>
                            <a:pt x="3317" y="1868"/>
                          </a:lnTo>
                          <a:lnTo>
                            <a:pt x="3311" y="1874"/>
                          </a:lnTo>
                          <a:lnTo>
                            <a:pt x="3306" y="1882"/>
                          </a:lnTo>
                          <a:lnTo>
                            <a:pt x="3304" y="1891"/>
                          </a:lnTo>
                          <a:lnTo>
                            <a:pt x="3302" y="1904"/>
                          </a:lnTo>
                          <a:lnTo>
                            <a:pt x="3300" y="1917"/>
                          </a:lnTo>
                          <a:lnTo>
                            <a:pt x="3300" y="2049"/>
                          </a:lnTo>
                          <a:lnTo>
                            <a:pt x="3241" y="2049"/>
                          </a:lnTo>
                          <a:lnTo>
                            <a:pt x="3241" y="1805"/>
                          </a:lnTo>
                          <a:lnTo>
                            <a:pt x="3300" y="1805"/>
                          </a:lnTo>
                          <a:lnTo>
                            <a:pt x="3300" y="1826"/>
                          </a:lnTo>
                          <a:lnTo>
                            <a:pt x="3300" y="1826"/>
                          </a:lnTo>
                          <a:lnTo>
                            <a:pt x="3306" y="1820"/>
                          </a:lnTo>
                          <a:lnTo>
                            <a:pt x="3313" y="1814"/>
                          </a:lnTo>
                          <a:lnTo>
                            <a:pt x="3319" y="1810"/>
                          </a:lnTo>
                          <a:lnTo>
                            <a:pt x="3326" y="1806"/>
                          </a:lnTo>
                          <a:lnTo>
                            <a:pt x="3332" y="1803"/>
                          </a:lnTo>
                          <a:lnTo>
                            <a:pt x="3339" y="1801"/>
                          </a:lnTo>
                          <a:lnTo>
                            <a:pt x="3347" y="1800"/>
                          </a:lnTo>
                          <a:lnTo>
                            <a:pt x="3355" y="1799"/>
                          </a:lnTo>
                          <a:lnTo>
                            <a:pt x="3355" y="1799"/>
                          </a:lnTo>
                          <a:lnTo>
                            <a:pt x="3367" y="1800"/>
                          </a:lnTo>
                          <a:lnTo>
                            <a:pt x="3379" y="1804"/>
                          </a:lnTo>
                          <a:lnTo>
                            <a:pt x="3390" y="1807"/>
                          </a:lnTo>
                          <a:lnTo>
                            <a:pt x="3400" y="1814"/>
                          </a:lnTo>
                          <a:lnTo>
                            <a:pt x="3384" y="1873"/>
                          </a:lnTo>
                          <a:close/>
                          <a:moveTo>
                            <a:pt x="653" y="1747"/>
                          </a:moveTo>
                          <a:lnTo>
                            <a:pt x="653" y="1770"/>
                          </a:lnTo>
                          <a:lnTo>
                            <a:pt x="592" y="1770"/>
                          </a:lnTo>
                          <a:lnTo>
                            <a:pt x="592" y="1709"/>
                          </a:lnTo>
                          <a:lnTo>
                            <a:pt x="653" y="1709"/>
                          </a:lnTo>
                          <a:lnTo>
                            <a:pt x="653" y="1747"/>
                          </a:lnTo>
                          <a:close/>
                          <a:moveTo>
                            <a:pt x="1073" y="1805"/>
                          </a:moveTo>
                          <a:lnTo>
                            <a:pt x="1134" y="1805"/>
                          </a:lnTo>
                          <a:lnTo>
                            <a:pt x="1134" y="1930"/>
                          </a:lnTo>
                          <a:lnTo>
                            <a:pt x="1134" y="2049"/>
                          </a:lnTo>
                          <a:lnTo>
                            <a:pt x="1073" y="2049"/>
                          </a:lnTo>
                          <a:lnTo>
                            <a:pt x="1073" y="1805"/>
                          </a:lnTo>
                          <a:close/>
                          <a:moveTo>
                            <a:pt x="1134" y="1739"/>
                          </a:moveTo>
                          <a:lnTo>
                            <a:pt x="1134" y="1770"/>
                          </a:lnTo>
                          <a:lnTo>
                            <a:pt x="1073" y="1770"/>
                          </a:lnTo>
                          <a:lnTo>
                            <a:pt x="1073" y="1709"/>
                          </a:lnTo>
                          <a:lnTo>
                            <a:pt x="1134" y="1709"/>
                          </a:lnTo>
                          <a:lnTo>
                            <a:pt x="1134" y="1739"/>
                          </a:lnTo>
                          <a:close/>
                          <a:moveTo>
                            <a:pt x="2796" y="2250"/>
                          </a:moveTo>
                          <a:lnTo>
                            <a:pt x="2796" y="2250"/>
                          </a:lnTo>
                          <a:lnTo>
                            <a:pt x="2790" y="2245"/>
                          </a:lnTo>
                          <a:lnTo>
                            <a:pt x="2784" y="2240"/>
                          </a:lnTo>
                          <a:lnTo>
                            <a:pt x="2778" y="2237"/>
                          </a:lnTo>
                          <a:lnTo>
                            <a:pt x="2771" y="2233"/>
                          </a:lnTo>
                          <a:lnTo>
                            <a:pt x="2764" y="2231"/>
                          </a:lnTo>
                          <a:lnTo>
                            <a:pt x="2757" y="2229"/>
                          </a:lnTo>
                          <a:lnTo>
                            <a:pt x="2741" y="2227"/>
                          </a:lnTo>
                          <a:lnTo>
                            <a:pt x="2741" y="2227"/>
                          </a:lnTo>
                          <a:lnTo>
                            <a:pt x="2730" y="2228"/>
                          </a:lnTo>
                          <a:lnTo>
                            <a:pt x="2721" y="2229"/>
                          </a:lnTo>
                          <a:lnTo>
                            <a:pt x="2711" y="2233"/>
                          </a:lnTo>
                          <a:lnTo>
                            <a:pt x="2701" y="2237"/>
                          </a:lnTo>
                          <a:lnTo>
                            <a:pt x="2693" y="2241"/>
                          </a:lnTo>
                          <a:lnTo>
                            <a:pt x="2685" y="2246"/>
                          </a:lnTo>
                          <a:lnTo>
                            <a:pt x="2678" y="2254"/>
                          </a:lnTo>
                          <a:lnTo>
                            <a:pt x="2671" y="2261"/>
                          </a:lnTo>
                          <a:lnTo>
                            <a:pt x="2666" y="2269"/>
                          </a:lnTo>
                          <a:lnTo>
                            <a:pt x="2660" y="2279"/>
                          </a:lnTo>
                          <a:lnTo>
                            <a:pt x="2656" y="2289"/>
                          </a:lnTo>
                          <a:lnTo>
                            <a:pt x="2653" y="2301"/>
                          </a:lnTo>
                          <a:lnTo>
                            <a:pt x="2649" y="2312"/>
                          </a:lnTo>
                          <a:lnTo>
                            <a:pt x="2648" y="2325"/>
                          </a:lnTo>
                          <a:lnTo>
                            <a:pt x="2647" y="2339"/>
                          </a:lnTo>
                          <a:lnTo>
                            <a:pt x="2645" y="2353"/>
                          </a:lnTo>
                          <a:lnTo>
                            <a:pt x="2645" y="2353"/>
                          </a:lnTo>
                          <a:lnTo>
                            <a:pt x="2647" y="2368"/>
                          </a:lnTo>
                          <a:lnTo>
                            <a:pt x="2648" y="2381"/>
                          </a:lnTo>
                          <a:lnTo>
                            <a:pt x="2649" y="2395"/>
                          </a:lnTo>
                          <a:lnTo>
                            <a:pt x="2653" y="2408"/>
                          </a:lnTo>
                          <a:lnTo>
                            <a:pt x="2655" y="2419"/>
                          </a:lnTo>
                          <a:lnTo>
                            <a:pt x="2660" y="2430"/>
                          </a:lnTo>
                          <a:lnTo>
                            <a:pt x="2665" y="2440"/>
                          </a:lnTo>
                          <a:lnTo>
                            <a:pt x="2671" y="2448"/>
                          </a:lnTo>
                          <a:lnTo>
                            <a:pt x="2677" y="2457"/>
                          </a:lnTo>
                          <a:lnTo>
                            <a:pt x="2684" y="2463"/>
                          </a:lnTo>
                          <a:lnTo>
                            <a:pt x="2692" y="2469"/>
                          </a:lnTo>
                          <a:lnTo>
                            <a:pt x="2700" y="2474"/>
                          </a:lnTo>
                          <a:lnTo>
                            <a:pt x="2710" y="2479"/>
                          </a:lnTo>
                          <a:lnTo>
                            <a:pt x="2720" y="2481"/>
                          </a:lnTo>
                          <a:lnTo>
                            <a:pt x="2729" y="2482"/>
                          </a:lnTo>
                          <a:lnTo>
                            <a:pt x="2740" y="2483"/>
                          </a:lnTo>
                          <a:lnTo>
                            <a:pt x="2740" y="2483"/>
                          </a:lnTo>
                          <a:lnTo>
                            <a:pt x="2747" y="2482"/>
                          </a:lnTo>
                          <a:lnTo>
                            <a:pt x="2756" y="2481"/>
                          </a:lnTo>
                          <a:lnTo>
                            <a:pt x="2763" y="2480"/>
                          </a:lnTo>
                          <a:lnTo>
                            <a:pt x="2769" y="2477"/>
                          </a:lnTo>
                          <a:lnTo>
                            <a:pt x="2777" y="2474"/>
                          </a:lnTo>
                          <a:lnTo>
                            <a:pt x="2784" y="2470"/>
                          </a:lnTo>
                          <a:lnTo>
                            <a:pt x="2790" y="2465"/>
                          </a:lnTo>
                          <a:lnTo>
                            <a:pt x="2796" y="2459"/>
                          </a:lnTo>
                          <a:lnTo>
                            <a:pt x="2796" y="2477"/>
                          </a:lnTo>
                          <a:lnTo>
                            <a:pt x="2857" y="2477"/>
                          </a:lnTo>
                          <a:lnTo>
                            <a:pt x="2857" y="2131"/>
                          </a:lnTo>
                          <a:lnTo>
                            <a:pt x="2796" y="2161"/>
                          </a:lnTo>
                          <a:lnTo>
                            <a:pt x="2796" y="2250"/>
                          </a:lnTo>
                          <a:close/>
                          <a:moveTo>
                            <a:pt x="2754" y="2427"/>
                          </a:moveTo>
                          <a:lnTo>
                            <a:pt x="2754" y="2427"/>
                          </a:lnTo>
                          <a:lnTo>
                            <a:pt x="2745" y="2426"/>
                          </a:lnTo>
                          <a:lnTo>
                            <a:pt x="2738" y="2424"/>
                          </a:lnTo>
                          <a:lnTo>
                            <a:pt x="2729" y="2420"/>
                          </a:lnTo>
                          <a:lnTo>
                            <a:pt x="2722" y="2413"/>
                          </a:lnTo>
                          <a:lnTo>
                            <a:pt x="2716" y="2403"/>
                          </a:lnTo>
                          <a:lnTo>
                            <a:pt x="2711" y="2390"/>
                          </a:lnTo>
                          <a:lnTo>
                            <a:pt x="2709" y="2373"/>
                          </a:lnTo>
                          <a:lnTo>
                            <a:pt x="2707" y="2351"/>
                          </a:lnTo>
                          <a:lnTo>
                            <a:pt x="2707" y="2351"/>
                          </a:lnTo>
                          <a:lnTo>
                            <a:pt x="2709" y="2333"/>
                          </a:lnTo>
                          <a:lnTo>
                            <a:pt x="2711" y="2317"/>
                          </a:lnTo>
                          <a:lnTo>
                            <a:pt x="2716" y="2305"/>
                          </a:lnTo>
                          <a:lnTo>
                            <a:pt x="2722" y="2296"/>
                          </a:lnTo>
                          <a:lnTo>
                            <a:pt x="2729" y="2290"/>
                          </a:lnTo>
                          <a:lnTo>
                            <a:pt x="2737" y="2285"/>
                          </a:lnTo>
                          <a:lnTo>
                            <a:pt x="2745" y="2284"/>
                          </a:lnTo>
                          <a:lnTo>
                            <a:pt x="2752" y="2283"/>
                          </a:lnTo>
                          <a:lnTo>
                            <a:pt x="2752" y="2283"/>
                          </a:lnTo>
                          <a:lnTo>
                            <a:pt x="2761" y="2284"/>
                          </a:lnTo>
                          <a:lnTo>
                            <a:pt x="2768" y="2285"/>
                          </a:lnTo>
                          <a:lnTo>
                            <a:pt x="2774" y="2288"/>
                          </a:lnTo>
                          <a:lnTo>
                            <a:pt x="2780" y="2291"/>
                          </a:lnTo>
                          <a:lnTo>
                            <a:pt x="2785" y="2295"/>
                          </a:lnTo>
                          <a:lnTo>
                            <a:pt x="2790" y="2299"/>
                          </a:lnTo>
                          <a:lnTo>
                            <a:pt x="2796" y="2307"/>
                          </a:lnTo>
                          <a:lnTo>
                            <a:pt x="2796" y="2403"/>
                          </a:lnTo>
                          <a:lnTo>
                            <a:pt x="2796" y="2403"/>
                          </a:lnTo>
                          <a:lnTo>
                            <a:pt x="2789" y="2412"/>
                          </a:lnTo>
                          <a:lnTo>
                            <a:pt x="2780" y="2419"/>
                          </a:lnTo>
                          <a:lnTo>
                            <a:pt x="2774" y="2423"/>
                          </a:lnTo>
                          <a:lnTo>
                            <a:pt x="2768" y="2425"/>
                          </a:lnTo>
                          <a:lnTo>
                            <a:pt x="2761" y="2426"/>
                          </a:lnTo>
                          <a:lnTo>
                            <a:pt x="2754" y="2427"/>
                          </a:lnTo>
                          <a:lnTo>
                            <a:pt x="2754" y="2427"/>
                          </a:lnTo>
                          <a:close/>
                          <a:moveTo>
                            <a:pt x="740" y="2301"/>
                          </a:moveTo>
                          <a:lnTo>
                            <a:pt x="740" y="2301"/>
                          </a:lnTo>
                          <a:lnTo>
                            <a:pt x="732" y="2296"/>
                          </a:lnTo>
                          <a:lnTo>
                            <a:pt x="722" y="2291"/>
                          </a:lnTo>
                          <a:lnTo>
                            <a:pt x="711" y="2289"/>
                          </a:lnTo>
                          <a:lnTo>
                            <a:pt x="700" y="2288"/>
                          </a:lnTo>
                          <a:lnTo>
                            <a:pt x="700" y="2288"/>
                          </a:lnTo>
                          <a:lnTo>
                            <a:pt x="690" y="2289"/>
                          </a:lnTo>
                          <a:lnTo>
                            <a:pt x="680" y="2291"/>
                          </a:lnTo>
                          <a:lnTo>
                            <a:pt x="673" y="2296"/>
                          </a:lnTo>
                          <a:lnTo>
                            <a:pt x="667" y="2302"/>
                          </a:lnTo>
                          <a:lnTo>
                            <a:pt x="662" y="2310"/>
                          </a:lnTo>
                          <a:lnTo>
                            <a:pt x="660" y="2319"/>
                          </a:lnTo>
                          <a:lnTo>
                            <a:pt x="657" y="2331"/>
                          </a:lnTo>
                          <a:lnTo>
                            <a:pt x="656" y="2345"/>
                          </a:lnTo>
                          <a:lnTo>
                            <a:pt x="656" y="2477"/>
                          </a:lnTo>
                          <a:lnTo>
                            <a:pt x="597" y="2477"/>
                          </a:lnTo>
                          <a:lnTo>
                            <a:pt x="597" y="2233"/>
                          </a:lnTo>
                          <a:lnTo>
                            <a:pt x="656" y="2233"/>
                          </a:lnTo>
                          <a:lnTo>
                            <a:pt x="656" y="2254"/>
                          </a:lnTo>
                          <a:lnTo>
                            <a:pt x="656" y="2254"/>
                          </a:lnTo>
                          <a:lnTo>
                            <a:pt x="662" y="2248"/>
                          </a:lnTo>
                          <a:lnTo>
                            <a:pt x="668" y="2241"/>
                          </a:lnTo>
                          <a:lnTo>
                            <a:pt x="674" y="2238"/>
                          </a:lnTo>
                          <a:lnTo>
                            <a:pt x="682" y="2234"/>
                          </a:lnTo>
                          <a:lnTo>
                            <a:pt x="688" y="2231"/>
                          </a:lnTo>
                          <a:lnTo>
                            <a:pt x="695" y="2229"/>
                          </a:lnTo>
                          <a:lnTo>
                            <a:pt x="704" y="2228"/>
                          </a:lnTo>
                          <a:lnTo>
                            <a:pt x="711" y="2227"/>
                          </a:lnTo>
                          <a:lnTo>
                            <a:pt x="711" y="2227"/>
                          </a:lnTo>
                          <a:lnTo>
                            <a:pt x="723" y="2228"/>
                          </a:lnTo>
                          <a:lnTo>
                            <a:pt x="735" y="2232"/>
                          </a:lnTo>
                          <a:lnTo>
                            <a:pt x="747" y="2237"/>
                          </a:lnTo>
                          <a:lnTo>
                            <a:pt x="757" y="2243"/>
                          </a:lnTo>
                          <a:lnTo>
                            <a:pt x="740" y="2301"/>
                          </a:lnTo>
                          <a:close/>
                          <a:moveTo>
                            <a:pt x="265" y="2233"/>
                          </a:moveTo>
                          <a:lnTo>
                            <a:pt x="324" y="2233"/>
                          </a:lnTo>
                          <a:lnTo>
                            <a:pt x="255" y="2477"/>
                          </a:lnTo>
                          <a:lnTo>
                            <a:pt x="203" y="2477"/>
                          </a:lnTo>
                          <a:lnTo>
                            <a:pt x="176" y="2376"/>
                          </a:lnTo>
                          <a:lnTo>
                            <a:pt x="176" y="2376"/>
                          </a:lnTo>
                          <a:lnTo>
                            <a:pt x="163" y="2323"/>
                          </a:lnTo>
                          <a:lnTo>
                            <a:pt x="163" y="2323"/>
                          </a:lnTo>
                          <a:lnTo>
                            <a:pt x="157" y="2348"/>
                          </a:lnTo>
                          <a:lnTo>
                            <a:pt x="149" y="2378"/>
                          </a:lnTo>
                          <a:lnTo>
                            <a:pt x="122" y="2477"/>
                          </a:lnTo>
                          <a:lnTo>
                            <a:pt x="69" y="2477"/>
                          </a:lnTo>
                          <a:lnTo>
                            <a:pt x="69" y="2476"/>
                          </a:lnTo>
                          <a:lnTo>
                            <a:pt x="0" y="2233"/>
                          </a:lnTo>
                          <a:lnTo>
                            <a:pt x="63" y="2233"/>
                          </a:lnTo>
                          <a:lnTo>
                            <a:pt x="85" y="2324"/>
                          </a:lnTo>
                          <a:lnTo>
                            <a:pt x="85" y="2324"/>
                          </a:lnTo>
                          <a:lnTo>
                            <a:pt x="91" y="2353"/>
                          </a:lnTo>
                          <a:lnTo>
                            <a:pt x="97" y="2384"/>
                          </a:lnTo>
                          <a:lnTo>
                            <a:pt x="97" y="2384"/>
                          </a:lnTo>
                          <a:lnTo>
                            <a:pt x="105" y="2353"/>
                          </a:lnTo>
                          <a:lnTo>
                            <a:pt x="112" y="2323"/>
                          </a:lnTo>
                          <a:lnTo>
                            <a:pt x="137" y="2233"/>
                          </a:lnTo>
                          <a:lnTo>
                            <a:pt x="190" y="2233"/>
                          </a:lnTo>
                          <a:lnTo>
                            <a:pt x="215" y="2323"/>
                          </a:lnTo>
                          <a:lnTo>
                            <a:pt x="215" y="2323"/>
                          </a:lnTo>
                          <a:lnTo>
                            <a:pt x="222" y="2352"/>
                          </a:lnTo>
                          <a:lnTo>
                            <a:pt x="230" y="2385"/>
                          </a:lnTo>
                          <a:lnTo>
                            <a:pt x="230" y="2385"/>
                          </a:lnTo>
                          <a:lnTo>
                            <a:pt x="235" y="2357"/>
                          </a:lnTo>
                          <a:lnTo>
                            <a:pt x="242" y="2323"/>
                          </a:lnTo>
                          <a:lnTo>
                            <a:pt x="265" y="2233"/>
                          </a:lnTo>
                          <a:close/>
                          <a:moveTo>
                            <a:pt x="447" y="2227"/>
                          </a:moveTo>
                          <a:lnTo>
                            <a:pt x="447" y="2227"/>
                          </a:lnTo>
                          <a:lnTo>
                            <a:pt x="436" y="2228"/>
                          </a:lnTo>
                          <a:lnTo>
                            <a:pt x="424" y="2229"/>
                          </a:lnTo>
                          <a:lnTo>
                            <a:pt x="413" y="2233"/>
                          </a:lnTo>
                          <a:lnTo>
                            <a:pt x="403" y="2237"/>
                          </a:lnTo>
                          <a:lnTo>
                            <a:pt x="394" y="2241"/>
                          </a:lnTo>
                          <a:lnTo>
                            <a:pt x="384" y="2248"/>
                          </a:lnTo>
                          <a:lnTo>
                            <a:pt x="375" y="2255"/>
                          </a:lnTo>
                          <a:lnTo>
                            <a:pt x="368" y="2263"/>
                          </a:lnTo>
                          <a:lnTo>
                            <a:pt x="361" y="2272"/>
                          </a:lnTo>
                          <a:lnTo>
                            <a:pt x="355" y="2282"/>
                          </a:lnTo>
                          <a:lnTo>
                            <a:pt x="349" y="2293"/>
                          </a:lnTo>
                          <a:lnTo>
                            <a:pt x="345" y="2303"/>
                          </a:lnTo>
                          <a:lnTo>
                            <a:pt x="341" y="2316"/>
                          </a:lnTo>
                          <a:lnTo>
                            <a:pt x="339" y="2328"/>
                          </a:lnTo>
                          <a:lnTo>
                            <a:pt x="337" y="2341"/>
                          </a:lnTo>
                          <a:lnTo>
                            <a:pt x="337" y="2356"/>
                          </a:lnTo>
                          <a:lnTo>
                            <a:pt x="337" y="2356"/>
                          </a:lnTo>
                          <a:lnTo>
                            <a:pt x="337" y="2369"/>
                          </a:lnTo>
                          <a:lnTo>
                            <a:pt x="339" y="2382"/>
                          </a:lnTo>
                          <a:lnTo>
                            <a:pt x="341" y="2395"/>
                          </a:lnTo>
                          <a:lnTo>
                            <a:pt x="345" y="2407"/>
                          </a:lnTo>
                          <a:lnTo>
                            <a:pt x="349" y="2418"/>
                          </a:lnTo>
                          <a:lnTo>
                            <a:pt x="355" y="2429"/>
                          </a:lnTo>
                          <a:lnTo>
                            <a:pt x="361" y="2438"/>
                          </a:lnTo>
                          <a:lnTo>
                            <a:pt x="368" y="2447"/>
                          </a:lnTo>
                          <a:lnTo>
                            <a:pt x="375" y="2455"/>
                          </a:lnTo>
                          <a:lnTo>
                            <a:pt x="384" y="2463"/>
                          </a:lnTo>
                          <a:lnTo>
                            <a:pt x="394" y="2469"/>
                          </a:lnTo>
                          <a:lnTo>
                            <a:pt x="403" y="2474"/>
                          </a:lnTo>
                          <a:lnTo>
                            <a:pt x="413" y="2477"/>
                          </a:lnTo>
                          <a:lnTo>
                            <a:pt x="424" y="2481"/>
                          </a:lnTo>
                          <a:lnTo>
                            <a:pt x="436" y="2482"/>
                          </a:lnTo>
                          <a:lnTo>
                            <a:pt x="447" y="2483"/>
                          </a:lnTo>
                          <a:lnTo>
                            <a:pt x="447" y="2483"/>
                          </a:lnTo>
                          <a:lnTo>
                            <a:pt x="459" y="2482"/>
                          </a:lnTo>
                          <a:lnTo>
                            <a:pt x="471" y="2481"/>
                          </a:lnTo>
                          <a:lnTo>
                            <a:pt x="482" y="2477"/>
                          </a:lnTo>
                          <a:lnTo>
                            <a:pt x="492" y="2474"/>
                          </a:lnTo>
                          <a:lnTo>
                            <a:pt x="502" y="2469"/>
                          </a:lnTo>
                          <a:lnTo>
                            <a:pt x="512" y="2463"/>
                          </a:lnTo>
                          <a:lnTo>
                            <a:pt x="520" y="2455"/>
                          </a:lnTo>
                          <a:lnTo>
                            <a:pt x="527" y="2447"/>
                          </a:lnTo>
                          <a:lnTo>
                            <a:pt x="535" y="2438"/>
                          </a:lnTo>
                          <a:lnTo>
                            <a:pt x="541" y="2429"/>
                          </a:lnTo>
                          <a:lnTo>
                            <a:pt x="546" y="2418"/>
                          </a:lnTo>
                          <a:lnTo>
                            <a:pt x="550" y="2407"/>
                          </a:lnTo>
                          <a:lnTo>
                            <a:pt x="554" y="2395"/>
                          </a:lnTo>
                          <a:lnTo>
                            <a:pt x="557" y="2382"/>
                          </a:lnTo>
                          <a:lnTo>
                            <a:pt x="559" y="2369"/>
                          </a:lnTo>
                          <a:lnTo>
                            <a:pt x="559" y="2356"/>
                          </a:lnTo>
                          <a:lnTo>
                            <a:pt x="559" y="2356"/>
                          </a:lnTo>
                          <a:lnTo>
                            <a:pt x="559" y="2341"/>
                          </a:lnTo>
                          <a:lnTo>
                            <a:pt x="557" y="2328"/>
                          </a:lnTo>
                          <a:lnTo>
                            <a:pt x="554" y="2316"/>
                          </a:lnTo>
                          <a:lnTo>
                            <a:pt x="550" y="2303"/>
                          </a:lnTo>
                          <a:lnTo>
                            <a:pt x="546" y="2293"/>
                          </a:lnTo>
                          <a:lnTo>
                            <a:pt x="541" y="2282"/>
                          </a:lnTo>
                          <a:lnTo>
                            <a:pt x="535" y="2272"/>
                          </a:lnTo>
                          <a:lnTo>
                            <a:pt x="527" y="2263"/>
                          </a:lnTo>
                          <a:lnTo>
                            <a:pt x="520" y="2255"/>
                          </a:lnTo>
                          <a:lnTo>
                            <a:pt x="512" y="2248"/>
                          </a:lnTo>
                          <a:lnTo>
                            <a:pt x="502" y="2241"/>
                          </a:lnTo>
                          <a:lnTo>
                            <a:pt x="492" y="2237"/>
                          </a:lnTo>
                          <a:lnTo>
                            <a:pt x="482" y="2233"/>
                          </a:lnTo>
                          <a:lnTo>
                            <a:pt x="471" y="2229"/>
                          </a:lnTo>
                          <a:lnTo>
                            <a:pt x="459" y="2228"/>
                          </a:lnTo>
                          <a:lnTo>
                            <a:pt x="447" y="2227"/>
                          </a:lnTo>
                          <a:lnTo>
                            <a:pt x="447" y="2227"/>
                          </a:lnTo>
                          <a:close/>
                          <a:moveTo>
                            <a:pt x="447" y="2426"/>
                          </a:moveTo>
                          <a:lnTo>
                            <a:pt x="447" y="2426"/>
                          </a:lnTo>
                          <a:lnTo>
                            <a:pt x="436" y="2425"/>
                          </a:lnTo>
                          <a:lnTo>
                            <a:pt x="427" y="2421"/>
                          </a:lnTo>
                          <a:lnTo>
                            <a:pt x="419" y="2415"/>
                          </a:lnTo>
                          <a:lnTo>
                            <a:pt x="412" y="2407"/>
                          </a:lnTo>
                          <a:lnTo>
                            <a:pt x="406" y="2397"/>
                          </a:lnTo>
                          <a:lnTo>
                            <a:pt x="401" y="2385"/>
                          </a:lnTo>
                          <a:lnTo>
                            <a:pt x="399" y="2370"/>
                          </a:lnTo>
                          <a:lnTo>
                            <a:pt x="399" y="2356"/>
                          </a:lnTo>
                          <a:lnTo>
                            <a:pt x="399" y="2356"/>
                          </a:lnTo>
                          <a:lnTo>
                            <a:pt x="399" y="2340"/>
                          </a:lnTo>
                          <a:lnTo>
                            <a:pt x="401" y="2325"/>
                          </a:lnTo>
                          <a:lnTo>
                            <a:pt x="406" y="2314"/>
                          </a:lnTo>
                          <a:lnTo>
                            <a:pt x="412" y="2303"/>
                          </a:lnTo>
                          <a:lnTo>
                            <a:pt x="419" y="2295"/>
                          </a:lnTo>
                          <a:lnTo>
                            <a:pt x="427" y="2289"/>
                          </a:lnTo>
                          <a:lnTo>
                            <a:pt x="436" y="2285"/>
                          </a:lnTo>
                          <a:lnTo>
                            <a:pt x="447" y="2284"/>
                          </a:lnTo>
                          <a:lnTo>
                            <a:pt x="447" y="2284"/>
                          </a:lnTo>
                          <a:lnTo>
                            <a:pt x="458" y="2285"/>
                          </a:lnTo>
                          <a:lnTo>
                            <a:pt x="468" y="2289"/>
                          </a:lnTo>
                          <a:lnTo>
                            <a:pt x="476" y="2295"/>
                          </a:lnTo>
                          <a:lnTo>
                            <a:pt x="484" y="2303"/>
                          </a:lnTo>
                          <a:lnTo>
                            <a:pt x="490" y="2314"/>
                          </a:lnTo>
                          <a:lnTo>
                            <a:pt x="493" y="2325"/>
                          </a:lnTo>
                          <a:lnTo>
                            <a:pt x="496" y="2340"/>
                          </a:lnTo>
                          <a:lnTo>
                            <a:pt x="497" y="2356"/>
                          </a:lnTo>
                          <a:lnTo>
                            <a:pt x="497" y="2356"/>
                          </a:lnTo>
                          <a:lnTo>
                            <a:pt x="496" y="2370"/>
                          </a:lnTo>
                          <a:lnTo>
                            <a:pt x="493" y="2385"/>
                          </a:lnTo>
                          <a:lnTo>
                            <a:pt x="490" y="2397"/>
                          </a:lnTo>
                          <a:lnTo>
                            <a:pt x="484" y="2407"/>
                          </a:lnTo>
                          <a:lnTo>
                            <a:pt x="476" y="2415"/>
                          </a:lnTo>
                          <a:lnTo>
                            <a:pt x="468" y="2421"/>
                          </a:lnTo>
                          <a:lnTo>
                            <a:pt x="458" y="2425"/>
                          </a:lnTo>
                          <a:lnTo>
                            <a:pt x="447" y="2426"/>
                          </a:lnTo>
                          <a:lnTo>
                            <a:pt x="447" y="2426"/>
                          </a:lnTo>
                          <a:close/>
                          <a:moveTo>
                            <a:pt x="2498" y="2301"/>
                          </a:moveTo>
                          <a:lnTo>
                            <a:pt x="2498" y="2301"/>
                          </a:lnTo>
                          <a:lnTo>
                            <a:pt x="2489" y="2296"/>
                          </a:lnTo>
                          <a:lnTo>
                            <a:pt x="2479" y="2291"/>
                          </a:lnTo>
                          <a:lnTo>
                            <a:pt x="2468" y="2289"/>
                          </a:lnTo>
                          <a:lnTo>
                            <a:pt x="2458" y="2288"/>
                          </a:lnTo>
                          <a:lnTo>
                            <a:pt x="2458" y="2288"/>
                          </a:lnTo>
                          <a:lnTo>
                            <a:pt x="2447" y="2289"/>
                          </a:lnTo>
                          <a:lnTo>
                            <a:pt x="2439" y="2291"/>
                          </a:lnTo>
                          <a:lnTo>
                            <a:pt x="2432" y="2296"/>
                          </a:lnTo>
                          <a:lnTo>
                            <a:pt x="2425" y="2302"/>
                          </a:lnTo>
                          <a:lnTo>
                            <a:pt x="2421" y="2310"/>
                          </a:lnTo>
                          <a:lnTo>
                            <a:pt x="2417" y="2319"/>
                          </a:lnTo>
                          <a:lnTo>
                            <a:pt x="2415" y="2331"/>
                          </a:lnTo>
                          <a:lnTo>
                            <a:pt x="2415" y="2345"/>
                          </a:lnTo>
                          <a:lnTo>
                            <a:pt x="2415" y="2477"/>
                          </a:lnTo>
                          <a:lnTo>
                            <a:pt x="2354" y="2477"/>
                          </a:lnTo>
                          <a:lnTo>
                            <a:pt x="2354" y="2233"/>
                          </a:lnTo>
                          <a:lnTo>
                            <a:pt x="2415" y="2233"/>
                          </a:lnTo>
                          <a:lnTo>
                            <a:pt x="2415" y="2254"/>
                          </a:lnTo>
                          <a:lnTo>
                            <a:pt x="2415" y="2254"/>
                          </a:lnTo>
                          <a:lnTo>
                            <a:pt x="2419" y="2248"/>
                          </a:lnTo>
                          <a:lnTo>
                            <a:pt x="2425" y="2241"/>
                          </a:lnTo>
                          <a:lnTo>
                            <a:pt x="2432" y="2238"/>
                          </a:lnTo>
                          <a:lnTo>
                            <a:pt x="2439" y="2234"/>
                          </a:lnTo>
                          <a:lnTo>
                            <a:pt x="2446" y="2231"/>
                          </a:lnTo>
                          <a:lnTo>
                            <a:pt x="2453" y="2229"/>
                          </a:lnTo>
                          <a:lnTo>
                            <a:pt x="2461" y="2228"/>
                          </a:lnTo>
                          <a:lnTo>
                            <a:pt x="2468" y="2227"/>
                          </a:lnTo>
                          <a:lnTo>
                            <a:pt x="2468" y="2227"/>
                          </a:lnTo>
                          <a:lnTo>
                            <a:pt x="2480" y="2228"/>
                          </a:lnTo>
                          <a:lnTo>
                            <a:pt x="2492" y="2232"/>
                          </a:lnTo>
                          <a:lnTo>
                            <a:pt x="2504" y="2237"/>
                          </a:lnTo>
                          <a:lnTo>
                            <a:pt x="2514" y="2243"/>
                          </a:lnTo>
                          <a:lnTo>
                            <a:pt x="2498" y="2301"/>
                          </a:lnTo>
                          <a:close/>
                          <a:moveTo>
                            <a:pt x="2022" y="2233"/>
                          </a:moveTo>
                          <a:lnTo>
                            <a:pt x="2082" y="2233"/>
                          </a:lnTo>
                          <a:lnTo>
                            <a:pt x="2012" y="2477"/>
                          </a:lnTo>
                          <a:lnTo>
                            <a:pt x="1960" y="2477"/>
                          </a:lnTo>
                          <a:lnTo>
                            <a:pt x="1933" y="2376"/>
                          </a:lnTo>
                          <a:lnTo>
                            <a:pt x="1933" y="2376"/>
                          </a:lnTo>
                          <a:lnTo>
                            <a:pt x="1920" y="2323"/>
                          </a:lnTo>
                          <a:lnTo>
                            <a:pt x="1920" y="2323"/>
                          </a:lnTo>
                          <a:lnTo>
                            <a:pt x="1914" y="2348"/>
                          </a:lnTo>
                          <a:lnTo>
                            <a:pt x="1907" y="2378"/>
                          </a:lnTo>
                          <a:lnTo>
                            <a:pt x="1880" y="2477"/>
                          </a:lnTo>
                          <a:lnTo>
                            <a:pt x="1828" y="2477"/>
                          </a:lnTo>
                          <a:lnTo>
                            <a:pt x="1826" y="2476"/>
                          </a:lnTo>
                          <a:lnTo>
                            <a:pt x="1758" y="2233"/>
                          </a:lnTo>
                          <a:lnTo>
                            <a:pt x="1820" y="2233"/>
                          </a:lnTo>
                          <a:lnTo>
                            <a:pt x="1843" y="2324"/>
                          </a:lnTo>
                          <a:lnTo>
                            <a:pt x="1843" y="2324"/>
                          </a:lnTo>
                          <a:lnTo>
                            <a:pt x="1849" y="2353"/>
                          </a:lnTo>
                          <a:lnTo>
                            <a:pt x="1856" y="2384"/>
                          </a:lnTo>
                          <a:lnTo>
                            <a:pt x="1856" y="2384"/>
                          </a:lnTo>
                          <a:lnTo>
                            <a:pt x="1862" y="2353"/>
                          </a:lnTo>
                          <a:lnTo>
                            <a:pt x="1870" y="2323"/>
                          </a:lnTo>
                          <a:lnTo>
                            <a:pt x="1896" y="2233"/>
                          </a:lnTo>
                          <a:lnTo>
                            <a:pt x="1947" y="2233"/>
                          </a:lnTo>
                          <a:lnTo>
                            <a:pt x="1972" y="2323"/>
                          </a:lnTo>
                          <a:lnTo>
                            <a:pt x="1972" y="2323"/>
                          </a:lnTo>
                          <a:lnTo>
                            <a:pt x="1979" y="2352"/>
                          </a:lnTo>
                          <a:lnTo>
                            <a:pt x="1987" y="2385"/>
                          </a:lnTo>
                          <a:lnTo>
                            <a:pt x="1987" y="2385"/>
                          </a:lnTo>
                          <a:lnTo>
                            <a:pt x="1993" y="2357"/>
                          </a:lnTo>
                          <a:lnTo>
                            <a:pt x="2000" y="2323"/>
                          </a:lnTo>
                          <a:lnTo>
                            <a:pt x="2022" y="2233"/>
                          </a:lnTo>
                          <a:close/>
                          <a:moveTo>
                            <a:pt x="2204" y="2227"/>
                          </a:moveTo>
                          <a:lnTo>
                            <a:pt x="2204" y="2227"/>
                          </a:lnTo>
                          <a:lnTo>
                            <a:pt x="2193" y="2228"/>
                          </a:lnTo>
                          <a:lnTo>
                            <a:pt x="2181" y="2229"/>
                          </a:lnTo>
                          <a:lnTo>
                            <a:pt x="2170" y="2233"/>
                          </a:lnTo>
                          <a:lnTo>
                            <a:pt x="2161" y="2237"/>
                          </a:lnTo>
                          <a:lnTo>
                            <a:pt x="2151" y="2241"/>
                          </a:lnTo>
                          <a:lnTo>
                            <a:pt x="2141" y="2249"/>
                          </a:lnTo>
                          <a:lnTo>
                            <a:pt x="2133" y="2255"/>
                          </a:lnTo>
                          <a:lnTo>
                            <a:pt x="2125" y="2263"/>
                          </a:lnTo>
                          <a:lnTo>
                            <a:pt x="2118" y="2272"/>
                          </a:lnTo>
                          <a:lnTo>
                            <a:pt x="2112" y="2282"/>
                          </a:lnTo>
                          <a:lnTo>
                            <a:pt x="2106" y="2293"/>
                          </a:lnTo>
                          <a:lnTo>
                            <a:pt x="2102" y="2303"/>
                          </a:lnTo>
                          <a:lnTo>
                            <a:pt x="2099" y="2316"/>
                          </a:lnTo>
                          <a:lnTo>
                            <a:pt x="2095" y="2329"/>
                          </a:lnTo>
                          <a:lnTo>
                            <a:pt x="2094" y="2341"/>
                          </a:lnTo>
                          <a:lnTo>
                            <a:pt x="2094" y="2356"/>
                          </a:lnTo>
                          <a:lnTo>
                            <a:pt x="2094" y="2356"/>
                          </a:lnTo>
                          <a:lnTo>
                            <a:pt x="2094" y="2369"/>
                          </a:lnTo>
                          <a:lnTo>
                            <a:pt x="2095" y="2382"/>
                          </a:lnTo>
                          <a:lnTo>
                            <a:pt x="2099" y="2395"/>
                          </a:lnTo>
                          <a:lnTo>
                            <a:pt x="2102" y="2407"/>
                          </a:lnTo>
                          <a:lnTo>
                            <a:pt x="2106" y="2418"/>
                          </a:lnTo>
                          <a:lnTo>
                            <a:pt x="2112" y="2429"/>
                          </a:lnTo>
                          <a:lnTo>
                            <a:pt x="2118" y="2438"/>
                          </a:lnTo>
                          <a:lnTo>
                            <a:pt x="2125" y="2447"/>
                          </a:lnTo>
                          <a:lnTo>
                            <a:pt x="2133" y="2455"/>
                          </a:lnTo>
                          <a:lnTo>
                            <a:pt x="2141" y="2463"/>
                          </a:lnTo>
                          <a:lnTo>
                            <a:pt x="2151" y="2469"/>
                          </a:lnTo>
                          <a:lnTo>
                            <a:pt x="2161" y="2474"/>
                          </a:lnTo>
                          <a:lnTo>
                            <a:pt x="2170" y="2477"/>
                          </a:lnTo>
                          <a:lnTo>
                            <a:pt x="2181" y="2481"/>
                          </a:lnTo>
                          <a:lnTo>
                            <a:pt x="2193" y="2482"/>
                          </a:lnTo>
                          <a:lnTo>
                            <a:pt x="2204" y="2483"/>
                          </a:lnTo>
                          <a:lnTo>
                            <a:pt x="2204" y="2483"/>
                          </a:lnTo>
                          <a:lnTo>
                            <a:pt x="2216" y="2482"/>
                          </a:lnTo>
                          <a:lnTo>
                            <a:pt x="2229" y="2481"/>
                          </a:lnTo>
                          <a:lnTo>
                            <a:pt x="2240" y="2477"/>
                          </a:lnTo>
                          <a:lnTo>
                            <a:pt x="2249" y="2474"/>
                          </a:lnTo>
                          <a:lnTo>
                            <a:pt x="2259" y="2469"/>
                          </a:lnTo>
                          <a:lnTo>
                            <a:pt x="2269" y="2463"/>
                          </a:lnTo>
                          <a:lnTo>
                            <a:pt x="2277" y="2455"/>
                          </a:lnTo>
                          <a:lnTo>
                            <a:pt x="2284" y="2447"/>
                          </a:lnTo>
                          <a:lnTo>
                            <a:pt x="2292" y="2438"/>
                          </a:lnTo>
                          <a:lnTo>
                            <a:pt x="2298" y="2429"/>
                          </a:lnTo>
                          <a:lnTo>
                            <a:pt x="2303" y="2418"/>
                          </a:lnTo>
                          <a:lnTo>
                            <a:pt x="2308" y="2407"/>
                          </a:lnTo>
                          <a:lnTo>
                            <a:pt x="2311" y="2395"/>
                          </a:lnTo>
                          <a:lnTo>
                            <a:pt x="2314" y="2382"/>
                          </a:lnTo>
                          <a:lnTo>
                            <a:pt x="2316" y="2369"/>
                          </a:lnTo>
                          <a:lnTo>
                            <a:pt x="2316" y="2356"/>
                          </a:lnTo>
                          <a:lnTo>
                            <a:pt x="2316" y="2356"/>
                          </a:lnTo>
                          <a:lnTo>
                            <a:pt x="2316" y="2341"/>
                          </a:lnTo>
                          <a:lnTo>
                            <a:pt x="2314" y="2329"/>
                          </a:lnTo>
                          <a:lnTo>
                            <a:pt x="2311" y="2316"/>
                          </a:lnTo>
                          <a:lnTo>
                            <a:pt x="2308" y="2303"/>
                          </a:lnTo>
                          <a:lnTo>
                            <a:pt x="2303" y="2293"/>
                          </a:lnTo>
                          <a:lnTo>
                            <a:pt x="2298" y="2282"/>
                          </a:lnTo>
                          <a:lnTo>
                            <a:pt x="2292" y="2272"/>
                          </a:lnTo>
                          <a:lnTo>
                            <a:pt x="2284" y="2263"/>
                          </a:lnTo>
                          <a:lnTo>
                            <a:pt x="2277" y="2255"/>
                          </a:lnTo>
                          <a:lnTo>
                            <a:pt x="2269" y="2249"/>
                          </a:lnTo>
                          <a:lnTo>
                            <a:pt x="2259" y="2241"/>
                          </a:lnTo>
                          <a:lnTo>
                            <a:pt x="2249" y="2237"/>
                          </a:lnTo>
                          <a:lnTo>
                            <a:pt x="2240" y="2233"/>
                          </a:lnTo>
                          <a:lnTo>
                            <a:pt x="2229" y="2229"/>
                          </a:lnTo>
                          <a:lnTo>
                            <a:pt x="2216" y="2228"/>
                          </a:lnTo>
                          <a:lnTo>
                            <a:pt x="2204" y="2227"/>
                          </a:lnTo>
                          <a:lnTo>
                            <a:pt x="2204" y="2227"/>
                          </a:lnTo>
                          <a:close/>
                          <a:moveTo>
                            <a:pt x="2204" y="2426"/>
                          </a:moveTo>
                          <a:lnTo>
                            <a:pt x="2204" y="2426"/>
                          </a:lnTo>
                          <a:lnTo>
                            <a:pt x="2193" y="2425"/>
                          </a:lnTo>
                          <a:lnTo>
                            <a:pt x="2185" y="2421"/>
                          </a:lnTo>
                          <a:lnTo>
                            <a:pt x="2176" y="2415"/>
                          </a:lnTo>
                          <a:lnTo>
                            <a:pt x="2169" y="2407"/>
                          </a:lnTo>
                          <a:lnTo>
                            <a:pt x="2163" y="2397"/>
                          </a:lnTo>
                          <a:lnTo>
                            <a:pt x="2158" y="2385"/>
                          </a:lnTo>
                          <a:lnTo>
                            <a:pt x="2156" y="2370"/>
                          </a:lnTo>
                          <a:lnTo>
                            <a:pt x="2156" y="2356"/>
                          </a:lnTo>
                          <a:lnTo>
                            <a:pt x="2156" y="2356"/>
                          </a:lnTo>
                          <a:lnTo>
                            <a:pt x="2156" y="2340"/>
                          </a:lnTo>
                          <a:lnTo>
                            <a:pt x="2158" y="2327"/>
                          </a:lnTo>
                          <a:lnTo>
                            <a:pt x="2163" y="2314"/>
                          </a:lnTo>
                          <a:lnTo>
                            <a:pt x="2169" y="2303"/>
                          </a:lnTo>
                          <a:lnTo>
                            <a:pt x="2176" y="2295"/>
                          </a:lnTo>
                          <a:lnTo>
                            <a:pt x="2185" y="2289"/>
                          </a:lnTo>
                          <a:lnTo>
                            <a:pt x="2193" y="2285"/>
                          </a:lnTo>
                          <a:lnTo>
                            <a:pt x="2204" y="2284"/>
                          </a:lnTo>
                          <a:lnTo>
                            <a:pt x="2204" y="2284"/>
                          </a:lnTo>
                          <a:lnTo>
                            <a:pt x="2215" y="2285"/>
                          </a:lnTo>
                          <a:lnTo>
                            <a:pt x="2225" y="2289"/>
                          </a:lnTo>
                          <a:lnTo>
                            <a:pt x="2233" y="2295"/>
                          </a:lnTo>
                          <a:lnTo>
                            <a:pt x="2241" y="2303"/>
                          </a:lnTo>
                          <a:lnTo>
                            <a:pt x="2247" y="2314"/>
                          </a:lnTo>
                          <a:lnTo>
                            <a:pt x="2250" y="2327"/>
                          </a:lnTo>
                          <a:lnTo>
                            <a:pt x="2253" y="2340"/>
                          </a:lnTo>
                          <a:lnTo>
                            <a:pt x="2254" y="2356"/>
                          </a:lnTo>
                          <a:lnTo>
                            <a:pt x="2254" y="2356"/>
                          </a:lnTo>
                          <a:lnTo>
                            <a:pt x="2253" y="2370"/>
                          </a:lnTo>
                          <a:lnTo>
                            <a:pt x="2250" y="2385"/>
                          </a:lnTo>
                          <a:lnTo>
                            <a:pt x="2247" y="2397"/>
                          </a:lnTo>
                          <a:lnTo>
                            <a:pt x="2241" y="2407"/>
                          </a:lnTo>
                          <a:lnTo>
                            <a:pt x="2233" y="2415"/>
                          </a:lnTo>
                          <a:lnTo>
                            <a:pt x="2225" y="2421"/>
                          </a:lnTo>
                          <a:lnTo>
                            <a:pt x="2215" y="2425"/>
                          </a:lnTo>
                          <a:lnTo>
                            <a:pt x="2204" y="2426"/>
                          </a:lnTo>
                          <a:lnTo>
                            <a:pt x="2204" y="2426"/>
                          </a:lnTo>
                          <a:close/>
                          <a:moveTo>
                            <a:pt x="921" y="2313"/>
                          </a:moveTo>
                          <a:lnTo>
                            <a:pt x="995" y="2477"/>
                          </a:lnTo>
                          <a:lnTo>
                            <a:pt x="928" y="2477"/>
                          </a:lnTo>
                          <a:lnTo>
                            <a:pt x="877" y="2364"/>
                          </a:lnTo>
                          <a:lnTo>
                            <a:pt x="845" y="2404"/>
                          </a:lnTo>
                          <a:lnTo>
                            <a:pt x="845" y="2477"/>
                          </a:lnTo>
                          <a:lnTo>
                            <a:pt x="785" y="2477"/>
                          </a:lnTo>
                          <a:lnTo>
                            <a:pt x="785" y="2161"/>
                          </a:lnTo>
                          <a:lnTo>
                            <a:pt x="845" y="2131"/>
                          </a:lnTo>
                          <a:lnTo>
                            <a:pt x="845" y="2327"/>
                          </a:lnTo>
                          <a:lnTo>
                            <a:pt x="845" y="2327"/>
                          </a:lnTo>
                          <a:lnTo>
                            <a:pt x="868" y="2295"/>
                          </a:lnTo>
                          <a:lnTo>
                            <a:pt x="916" y="2233"/>
                          </a:lnTo>
                          <a:lnTo>
                            <a:pt x="987" y="2233"/>
                          </a:lnTo>
                          <a:lnTo>
                            <a:pt x="921" y="2313"/>
                          </a:lnTo>
                          <a:close/>
                          <a:moveTo>
                            <a:pt x="1208" y="2477"/>
                          </a:moveTo>
                          <a:lnTo>
                            <a:pt x="1147" y="2477"/>
                          </a:lnTo>
                          <a:lnTo>
                            <a:pt x="1147" y="2233"/>
                          </a:lnTo>
                          <a:lnTo>
                            <a:pt x="1208" y="2233"/>
                          </a:lnTo>
                          <a:lnTo>
                            <a:pt x="1208" y="2254"/>
                          </a:lnTo>
                          <a:lnTo>
                            <a:pt x="1208" y="2254"/>
                          </a:lnTo>
                          <a:lnTo>
                            <a:pt x="1214" y="2248"/>
                          </a:lnTo>
                          <a:lnTo>
                            <a:pt x="1220" y="2243"/>
                          </a:lnTo>
                          <a:lnTo>
                            <a:pt x="1227" y="2238"/>
                          </a:lnTo>
                          <a:lnTo>
                            <a:pt x="1235" y="2234"/>
                          </a:lnTo>
                          <a:lnTo>
                            <a:pt x="1243" y="2232"/>
                          </a:lnTo>
                          <a:lnTo>
                            <a:pt x="1252" y="2229"/>
                          </a:lnTo>
                          <a:lnTo>
                            <a:pt x="1260" y="2228"/>
                          </a:lnTo>
                          <a:lnTo>
                            <a:pt x="1270" y="2227"/>
                          </a:lnTo>
                          <a:lnTo>
                            <a:pt x="1270" y="2227"/>
                          </a:lnTo>
                          <a:lnTo>
                            <a:pt x="1281" y="2228"/>
                          </a:lnTo>
                          <a:lnTo>
                            <a:pt x="1290" y="2229"/>
                          </a:lnTo>
                          <a:lnTo>
                            <a:pt x="1299" y="2232"/>
                          </a:lnTo>
                          <a:lnTo>
                            <a:pt x="1309" y="2234"/>
                          </a:lnTo>
                          <a:lnTo>
                            <a:pt x="1316" y="2239"/>
                          </a:lnTo>
                          <a:lnTo>
                            <a:pt x="1323" y="2244"/>
                          </a:lnTo>
                          <a:lnTo>
                            <a:pt x="1331" y="2249"/>
                          </a:lnTo>
                          <a:lnTo>
                            <a:pt x="1337" y="2256"/>
                          </a:lnTo>
                          <a:lnTo>
                            <a:pt x="1342" y="2263"/>
                          </a:lnTo>
                          <a:lnTo>
                            <a:pt x="1346" y="2272"/>
                          </a:lnTo>
                          <a:lnTo>
                            <a:pt x="1350" y="2280"/>
                          </a:lnTo>
                          <a:lnTo>
                            <a:pt x="1354" y="2291"/>
                          </a:lnTo>
                          <a:lnTo>
                            <a:pt x="1356" y="2302"/>
                          </a:lnTo>
                          <a:lnTo>
                            <a:pt x="1357" y="2313"/>
                          </a:lnTo>
                          <a:lnTo>
                            <a:pt x="1359" y="2325"/>
                          </a:lnTo>
                          <a:lnTo>
                            <a:pt x="1360" y="2339"/>
                          </a:lnTo>
                          <a:lnTo>
                            <a:pt x="1360" y="2477"/>
                          </a:lnTo>
                          <a:lnTo>
                            <a:pt x="1299" y="2477"/>
                          </a:lnTo>
                          <a:lnTo>
                            <a:pt x="1299" y="2342"/>
                          </a:lnTo>
                          <a:lnTo>
                            <a:pt x="1299" y="2342"/>
                          </a:lnTo>
                          <a:lnTo>
                            <a:pt x="1298" y="2329"/>
                          </a:lnTo>
                          <a:lnTo>
                            <a:pt x="1297" y="2316"/>
                          </a:lnTo>
                          <a:lnTo>
                            <a:pt x="1293" y="2306"/>
                          </a:lnTo>
                          <a:lnTo>
                            <a:pt x="1288" y="2297"/>
                          </a:lnTo>
                          <a:lnTo>
                            <a:pt x="1282" y="2291"/>
                          </a:lnTo>
                          <a:lnTo>
                            <a:pt x="1275" y="2286"/>
                          </a:lnTo>
                          <a:lnTo>
                            <a:pt x="1265" y="2284"/>
                          </a:lnTo>
                          <a:lnTo>
                            <a:pt x="1254" y="2283"/>
                          </a:lnTo>
                          <a:lnTo>
                            <a:pt x="1254" y="2283"/>
                          </a:lnTo>
                          <a:lnTo>
                            <a:pt x="1244" y="2284"/>
                          </a:lnTo>
                          <a:lnTo>
                            <a:pt x="1235" y="2286"/>
                          </a:lnTo>
                          <a:lnTo>
                            <a:pt x="1226" y="2291"/>
                          </a:lnTo>
                          <a:lnTo>
                            <a:pt x="1220" y="2299"/>
                          </a:lnTo>
                          <a:lnTo>
                            <a:pt x="1215" y="2306"/>
                          </a:lnTo>
                          <a:lnTo>
                            <a:pt x="1212" y="2317"/>
                          </a:lnTo>
                          <a:lnTo>
                            <a:pt x="1209" y="2329"/>
                          </a:lnTo>
                          <a:lnTo>
                            <a:pt x="1208" y="2342"/>
                          </a:lnTo>
                          <a:lnTo>
                            <a:pt x="1208" y="2477"/>
                          </a:lnTo>
                          <a:close/>
                          <a:moveTo>
                            <a:pt x="1551" y="2250"/>
                          </a:moveTo>
                          <a:lnTo>
                            <a:pt x="1551" y="2250"/>
                          </a:lnTo>
                          <a:lnTo>
                            <a:pt x="1544" y="2245"/>
                          </a:lnTo>
                          <a:lnTo>
                            <a:pt x="1538" y="2240"/>
                          </a:lnTo>
                          <a:lnTo>
                            <a:pt x="1532" y="2237"/>
                          </a:lnTo>
                          <a:lnTo>
                            <a:pt x="1525" y="2233"/>
                          </a:lnTo>
                          <a:lnTo>
                            <a:pt x="1518" y="2231"/>
                          </a:lnTo>
                          <a:lnTo>
                            <a:pt x="1510" y="2229"/>
                          </a:lnTo>
                          <a:lnTo>
                            <a:pt x="1503" y="2228"/>
                          </a:lnTo>
                          <a:lnTo>
                            <a:pt x="1496" y="2227"/>
                          </a:lnTo>
                          <a:lnTo>
                            <a:pt x="1496" y="2227"/>
                          </a:lnTo>
                          <a:lnTo>
                            <a:pt x="1485" y="2228"/>
                          </a:lnTo>
                          <a:lnTo>
                            <a:pt x="1475" y="2229"/>
                          </a:lnTo>
                          <a:lnTo>
                            <a:pt x="1465" y="2232"/>
                          </a:lnTo>
                          <a:lnTo>
                            <a:pt x="1456" y="2237"/>
                          </a:lnTo>
                          <a:lnTo>
                            <a:pt x="1447" y="2240"/>
                          </a:lnTo>
                          <a:lnTo>
                            <a:pt x="1440" y="2246"/>
                          </a:lnTo>
                          <a:lnTo>
                            <a:pt x="1433" y="2254"/>
                          </a:lnTo>
                          <a:lnTo>
                            <a:pt x="1425" y="2261"/>
                          </a:lnTo>
                          <a:lnTo>
                            <a:pt x="1419" y="2269"/>
                          </a:lnTo>
                          <a:lnTo>
                            <a:pt x="1414" y="2279"/>
                          </a:lnTo>
                          <a:lnTo>
                            <a:pt x="1410" y="2289"/>
                          </a:lnTo>
                          <a:lnTo>
                            <a:pt x="1406" y="2301"/>
                          </a:lnTo>
                          <a:lnTo>
                            <a:pt x="1404" y="2312"/>
                          </a:lnTo>
                          <a:lnTo>
                            <a:pt x="1401" y="2325"/>
                          </a:lnTo>
                          <a:lnTo>
                            <a:pt x="1400" y="2339"/>
                          </a:lnTo>
                          <a:lnTo>
                            <a:pt x="1400" y="2352"/>
                          </a:lnTo>
                          <a:lnTo>
                            <a:pt x="1400" y="2352"/>
                          </a:lnTo>
                          <a:lnTo>
                            <a:pt x="1400" y="2368"/>
                          </a:lnTo>
                          <a:lnTo>
                            <a:pt x="1401" y="2381"/>
                          </a:lnTo>
                          <a:lnTo>
                            <a:pt x="1404" y="2395"/>
                          </a:lnTo>
                          <a:lnTo>
                            <a:pt x="1406" y="2408"/>
                          </a:lnTo>
                          <a:lnTo>
                            <a:pt x="1410" y="2419"/>
                          </a:lnTo>
                          <a:lnTo>
                            <a:pt x="1414" y="2430"/>
                          </a:lnTo>
                          <a:lnTo>
                            <a:pt x="1419" y="2440"/>
                          </a:lnTo>
                          <a:lnTo>
                            <a:pt x="1425" y="2448"/>
                          </a:lnTo>
                          <a:lnTo>
                            <a:pt x="1431" y="2457"/>
                          </a:lnTo>
                          <a:lnTo>
                            <a:pt x="1439" y="2463"/>
                          </a:lnTo>
                          <a:lnTo>
                            <a:pt x="1446" y="2469"/>
                          </a:lnTo>
                          <a:lnTo>
                            <a:pt x="1455" y="2474"/>
                          </a:lnTo>
                          <a:lnTo>
                            <a:pt x="1464" y="2477"/>
                          </a:lnTo>
                          <a:lnTo>
                            <a:pt x="1474" y="2481"/>
                          </a:lnTo>
                          <a:lnTo>
                            <a:pt x="1484" y="2482"/>
                          </a:lnTo>
                          <a:lnTo>
                            <a:pt x="1495" y="2483"/>
                          </a:lnTo>
                          <a:lnTo>
                            <a:pt x="1495" y="2483"/>
                          </a:lnTo>
                          <a:lnTo>
                            <a:pt x="1502" y="2482"/>
                          </a:lnTo>
                          <a:lnTo>
                            <a:pt x="1510" y="2481"/>
                          </a:lnTo>
                          <a:lnTo>
                            <a:pt x="1518" y="2480"/>
                          </a:lnTo>
                          <a:lnTo>
                            <a:pt x="1525" y="2477"/>
                          </a:lnTo>
                          <a:lnTo>
                            <a:pt x="1531" y="2474"/>
                          </a:lnTo>
                          <a:lnTo>
                            <a:pt x="1538" y="2470"/>
                          </a:lnTo>
                          <a:lnTo>
                            <a:pt x="1544" y="2465"/>
                          </a:lnTo>
                          <a:lnTo>
                            <a:pt x="1551" y="2459"/>
                          </a:lnTo>
                          <a:lnTo>
                            <a:pt x="1551" y="2465"/>
                          </a:lnTo>
                          <a:lnTo>
                            <a:pt x="1551" y="2465"/>
                          </a:lnTo>
                          <a:lnTo>
                            <a:pt x="1551" y="2475"/>
                          </a:lnTo>
                          <a:lnTo>
                            <a:pt x="1549" y="2486"/>
                          </a:lnTo>
                          <a:lnTo>
                            <a:pt x="1546" y="2497"/>
                          </a:lnTo>
                          <a:lnTo>
                            <a:pt x="1543" y="2502"/>
                          </a:lnTo>
                          <a:lnTo>
                            <a:pt x="1541" y="2506"/>
                          </a:lnTo>
                          <a:lnTo>
                            <a:pt x="1536" y="2511"/>
                          </a:lnTo>
                          <a:lnTo>
                            <a:pt x="1531" y="2516"/>
                          </a:lnTo>
                          <a:lnTo>
                            <a:pt x="1525" y="2520"/>
                          </a:lnTo>
                          <a:lnTo>
                            <a:pt x="1518" y="2524"/>
                          </a:lnTo>
                          <a:lnTo>
                            <a:pt x="1508" y="2526"/>
                          </a:lnTo>
                          <a:lnTo>
                            <a:pt x="1498" y="2528"/>
                          </a:lnTo>
                          <a:lnTo>
                            <a:pt x="1486" y="2530"/>
                          </a:lnTo>
                          <a:lnTo>
                            <a:pt x="1472" y="2530"/>
                          </a:lnTo>
                          <a:lnTo>
                            <a:pt x="1469" y="2530"/>
                          </a:lnTo>
                          <a:lnTo>
                            <a:pt x="1491" y="2577"/>
                          </a:lnTo>
                          <a:lnTo>
                            <a:pt x="1492" y="2577"/>
                          </a:lnTo>
                          <a:lnTo>
                            <a:pt x="1492" y="2577"/>
                          </a:lnTo>
                          <a:lnTo>
                            <a:pt x="1507" y="2577"/>
                          </a:lnTo>
                          <a:lnTo>
                            <a:pt x="1520" y="2576"/>
                          </a:lnTo>
                          <a:lnTo>
                            <a:pt x="1532" y="2572"/>
                          </a:lnTo>
                          <a:lnTo>
                            <a:pt x="1544" y="2570"/>
                          </a:lnTo>
                          <a:lnTo>
                            <a:pt x="1555" y="2565"/>
                          </a:lnTo>
                          <a:lnTo>
                            <a:pt x="1565" y="2560"/>
                          </a:lnTo>
                          <a:lnTo>
                            <a:pt x="1574" y="2554"/>
                          </a:lnTo>
                          <a:lnTo>
                            <a:pt x="1581" y="2547"/>
                          </a:lnTo>
                          <a:lnTo>
                            <a:pt x="1588" y="2538"/>
                          </a:lnTo>
                          <a:lnTo>
                            <a:pt x="1594" y="2530"/>
                          </a:lnTo>
                          <a:lnTo>
                            <a:pt x="1599" y="2519"/>
                          </a:lnTo>
                          <a:lnTo>
                            <a:pt x="1603" y="2508"/>
                          </a:lnTo>
                          <a:lnTo>
                            <a:pt x="1606" y="2497"/>
                          </a:lnTo>
                          <a:lnTo>
                            <a:pt x="1609" y="2483"/>
                          </a:lnTo>
                          <a:lnTo>
                            <a:pt x="1610" y="2470"/>
                          </a:lnTo>
                          <a:lnTo>
                            <a:pt x="1610" y="2455"/>
                          </a:lnTo>
                          <a:lnTo>
                            <a:pt x="1610" y="2233"/>
                          </a:lnTo>
                          <a:lnTo>
                            <a:pt x="1551" y="2233"/>
                          </a:lnTo>
                          <a:lnTo>
                            <a:pt x="1551" y="2250"/>
                          </a:lnTo>
                          <a:close/>
                          <a:moveTo>
                            <a:pt x="1551" y="2307"/>
                          </a:moveTo>
                          <a:lnTo>
                            <a:pt x="1551" y="2403"/>
                          </a:lnTo>
                          <a:lnTo>
                            <a:pt x="1551" y="2403"/>
                          </a:lnTo>
                          <a:lnTo>
                            <a:pt x="1542" y="2412"/>
                          </a:lnTo>
                          <a:lnTo>
                            <a:pt x="1534" y="2420"/>
                          </a:lnTo>
                          <a:lnTo>
                            <a:pt x="1527" y="2423"/>
                          </a:lnTo>
                          <a:lnTo>
                            <a:pt x="1521" y="2425"/>
                          </a:lnTo>
                          <a:lnTo>
                            <a:pt x="1515" y="2426"/>
                          </a:lnTo>
                          <a:lnTo>
                            <a:pt x="1507" y="2427"/>
                          </a:lnTo>
                          <a:lnTo>
                            <a:pt x="1507" y="2427"/>
                          </a:lnTo>
                          <a:lnTo>
                            <a:pt x="1499" y="2426"/>
                          </a:lnTo>
                          <a:lnTo>
                            <a:pt x="1491" y="2424"/>
                          </a:lnTo>
                          <a:lnTo>
                            <a:pt x="1484" y="2420"/>
                          </a:lnTo>
                          <a:lnTo>
                            <a:pt x="1476" y="2413"/>
                          </a:lnTo>
                          <a:lnTo>
                            <a:pt x="1470" y="2403"/>
                          </a:lnTo>
                          <a:lnTo>
                            <a:pt x="1465" y="2390"/>
                          </a:lnTo>
                          <a:lnTo>
                            <a:pt x="1463" y="2373"/>
                          </a:lnTo>
                          <a:lnTo>
                            <a:pt x="1462" y="2351"/>
                          </a:lnTo>
                          <a:lnTo>
                            <a:pt x="1462" y="2351"/>
                          </a:lnTo>
                          <a:lnTo>
                            <a:pt x="1463" y="2333"/>
                          </a:lnTo>
                          <a:lnTo>
                            <a:pt x="1465" y="2317"/>
                          </a:lnTo>
                          <a:lnTo>
                            <a:pt x="1470" y="2305"/>
                          </a:lnTo>
                          <a:lnTo>
                            <a:pt x="1476" y="2296"/>
                          </a:lnTo>
                          <a:lnTo>
                            <a:pt x="1484" y="2290"/>
                          </a:lnTo>
                          <a:lnTo>
                            <a:pt x="1491" y="2285"/>
                          </a:lnTo>
                          <a:lnTo>
                            <a:pt x="1499" y="2284"/>
                          </a:lnTo>
                          <a:lnTo>
                            <a:pt x="1507" y="2283"/>
                          </a:lnTo>
                          <a:lnTo>
                            <a:pt x="1507" y="2283"/>
                          </a:lnTo>
                          <a:lnTo>
                            <a:pt x="1515" y="2284"/>
                          </a:lnTo>
                          <a:lnTo>
                            <a:pt x="1523" y="2285"/>
                          </a:lnTo>
                          <a:lnTo>
                            <a:pt x="1529" y="2288"/>
                          </a:lnTo>
                          <a:lnTo>
                            <a:pt x="1535" y="2291"/>
                          </a:lnTo>
                          <a:lnTo>
                            <a:pt x="1540" y="2295"/>
                          </a:lnTo>
                          <a:lnTo>
                            <a:pt x="1543" y="2299"/>
                          </a:lnTo>
                          <a:lnTo>
                            <a:pt x="1551" y="2307"/>
                          </a:lnTo>
                          <a:lnTo>
                            <a:pt x="1551" y="2307"/>
                          </a:lnTo>
                          <a:close/>
                          <a:moveTo>
                            <a:pt x="1033" y="2233"/>
                          </a:moveTo>
                          <a:lnTo>
                            <a:pt x="1094" y="2233"/>
                          </a:lnTo>
                          <a:lnTo>
                            <a:pt x="1094" y="2341"/>
                          </a:lnTo>
                          <a:lnTo>
                            <a:pt x="1094" y="2477"/>
                          </a:lnTo>
                          <a:lnTo>
                            <a:pt x="1033" y="2477"/>
                          </a:lnTo>
                          <a:lnTo>
                            <a:pt x="1033" y="2233"/>
                          </a:lnTo>
                          <a:close/>
                          <a:moveTo>
                            <a:pt x="1094" y="2167"/>
                          </a:moveTo>
                          <a:lnTo>
                            <a:pt x="1094" y="2198"/>
                          </a:lnTo>
                          <a:lnTo>
                            <a:pt x="1033" y="2198"/>
                          </a:lnTo>
                          <a:lnTo>
                            <a:pt x="1033" y="2137"/>
                          </a:lnTo>
                          <a:lnTo>
                            <a:pt x="1094" y="2137"/>
                          </a:lnTo>
                          <a:lnTo>
                            <a:pt x="1094" y="2167"/>
                          </a:lnTo>
                          <a:close/>
                          <a:moveTo>
                            <a:pt x="2542" y="2161"/>
                          </a:moveTo>
                          <a:lnTo>
                            <a:pt x="2603" y="2131"/>
                          </a:lnTo>
                          <a:lnTo>
                            <a:pt x="2603" y="2352"/>
                          </a:lnTo>
                          <a:lnTo>
                            <a:pt x="2603" y="2477"/>
                          </a:lnTo>
                          <a:lnTo>
                            <a:pt x="2542" y="2477"/>
                          </a:lnTo>
                          <a:lnTo>
                            <a:pt x="2542" y="2161"/>
                          </a:lnTo>
                          <a:close/>
                          <a:moveTo>
                            <a:pt x="437" y="834"/>
                          </a:moveTo>
                          <a:lnTo>
                            <a:pt x="936" y="834"/>
                          </a:lnTo>
                          <a:lnTo>
                            <a:pt x="936" y="544"/>
                          </a:lnTo>
                          <a:lnTo>
                            <a:pt x="437" y="544"/>
                          </a:lnTo>
                          <a:lnTo>
                            <a:pt x="437" y="317"/>
                          </a:lnTo>
                          <a:lnTo>
                            <a:pt x="989" y="317"/>
                          </a:lnTo>
                          <a:lnTo>
                            <a:pt x="806" y="0"/>
                          </a:lnTo>
                          <a:lnTo>
                            <a:pt x="24" y="0"/>
                          </a:lnTo>
                          <a:lnTo>
                            <a:pt x="24" y="1378"/>
                          </a:lnTo>
                          <a:lnTo>
                            <a:pt x="1126" y="1378"/>
                          </a:lnTo>
                          <a:lnTo>
                            <a:pt x="1126" y="1061"/>
                          </a:lnTo>
                          <a:lnTo>
                            <a:pt x="437" y="1061"/>
                          </a:lnTo>
                          <a:lnTo>
                            <a:pt x="437" y="834"/>
                          </a:lnTo>
                          <a:close/>
                          <a:moveTo>
                            <a:pt x="1860" y="0"/>
                          </a:moveTo>
                          <a:lnTo>
                            <a:pt x="1626" y="450"/>
                          </a:lnTo>
                          <a:lnTo>
                            <a:pt x="1393" y="0"/>
                          </a:lnTo>
                          <a:lnTo>
                            <a:pt x="936" y="0"/>
                          </a:lnTo>
                          <a:lnTo>
                            <a:pt x="1417" y="834"/>
                          </a:lnTo>
                          <a:lnTo>
                            <a:pt x="1417" y="1378"/>
                          </a:lnTo>
                          <a:lnTo>
                            <a:pt x="1829" y="1378"/>
                          </a:lnTo>
                          <a:lnTo>
                            <a:pt x="1829" y="834"/>
                          </a:lnTo>
                          <a:lnTo>
                            <a:pt x="2311" y="0"/>
                          </a:lnTo>
                          <a:lnTo>
                            <a:pt x="186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</p:grpSp>
              <p:sp>
                <p:nvSpPr>
                  <p:cNvPr id="71" name="Content Placeholder 5">
                    <a:extLst>
                      <a:ext uri="{FF2B5EF4-FFF2-40B4-BE49-F238E27FC236}">
                        <a16:creationId xmlns:a16="http://schemas.microsoft.com/office/drawing/2014/main" id="{CC815212-F035-4F11-816B-7DEFFB6BEBA3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4368" y="75105"/>
                    <a:ext cx="1458345" cy="152383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b="1" kern="0">
                        <a:solidFill>
                          <a:srgbClr val="FFE600"/>
                        </a:solidFill>
                        <a:latin typeface="EYInterstate Bold" panose="02000803030000020004" pitchFamily="2" charset="0"/>
                        <a:ea typeface="+mn-ea"/>
                        <a:cs typeface="+mn-cs"/>
                      </a:rPr>
                      <a:t>Context, Scope and Objectives</a:t>
                    </a:r>
                  </a:p>
                </p:txBody>
              </p:sp>
              <p:sp>
                <p:nvSpPr>
                  <p:cNvPr id="72" name="Content Placeholder 5">
                    <a:extLst>
                      <a:ext uri="{FF2B5EF4-FFF2-40B4-BE49-F238E27FC236}">
                        <a16:creationId xmlns:a16="http://schemas.microsoft.com/office/drawing/2014/main" id="{A4535127-098E-4497-8359-FAE113705E3A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11986" y="51130"/>
                    <a:ext cx="1206296" cy="200331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+mj-lt"/>
                      <a:buNone/>
                      <a:tabLst>
                        <a:tab pos="4876815" algn="r"/>
                      </a:tabLst>
                    </a:pPr>
                    <a:r>
                      <a:rPr lang="en-US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Key Success Factors &amp; Challenges </a:t>
                    </a:r>
                  </a:p>
                </p:txBody>
              </p:sp>
              <p:sp>
                <p:nvSpPr>
                  <p:cNvPr id="73" name="Content Placeholder 5">
                    <a:extLst>
                      <a:ext uri="{FF2B5EF4-FFF2-40B4-BE49-F238E27FC236}">
                        <a16:creationId xmlns:a16="http://schemas.microsoft.com/office/drawing/2014/main" id="{803D8DD6-EF81-43B1-BAB1-8B379C56CF6E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11169709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Appendices</a:t>
                    </a:r>
                  </a:p>
                </p:txBody>
              </p:sp>
              <p:sp>
                <p:nvSpPr>
                  <p:cNvPr id="74" name="Content Placeholder 5">
                    <a:extLst>
                      <a:ext uri="{FF2B5EF4-FFF2-40B4-BE49-F238E27FC236}">
                        <a16:creationId xmlns:a16="http://schemas.microsoft.com/office/drawing/2014/main" id="{9673BDFB-9AC3-4771-9616-E387E61E9792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5947426" y="83518"/>
                    <a:ext cx="1023162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Proposed</a:t>
                    </a: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 Approach</a:t>
                    </a:r>
                  </a:p>
                </p:txBody>
              </p:sp>
              <p:sp>
                <p:nvSpPr>
                  <p:cNvPr id="75" name="Content Placeholder 5">
                    <a:extLst>
                      <a:ext uri="{FF2B5EF4-FFF2-40B4-BE49-F238E27FC236}">
                        <a16:creationId xmlns:a16="http://schemas.microsoft.com/office/drawing/2014/main" id="{8FF94AD7-E004-4CC2-9D5F-50EFDBC4AB17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7262461" y="75105"/>
                    <a:ext cx="1138227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Team &amp; </a:t>
                    </a: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Goverance</a:t>
                    </a:r>
                    <a:endParaRPr lang="fr-FR" sz="800" kern="0">
                      <a:solidFill>
                        <a:schemeClr val="bg2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Content Placeholder 5">
                    <a:extLst>
                      <a:ext uri="{FF2B5EF4-FFF2-40B4-BE49-F238E27FC236}">
                        <a16:creationId xmlns:a16="http://schemas.microsoft.com/office/drawing/2014/main" id="{A6F8A84E-4453-497A-88C6-D81010E5D117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4484077" y="75105"/>
                    <a:ext cx="1097554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Scope &amp; Assumptions</a:t>
                    </a:r>
                  </a:p>
                </p:txBody>
              </p:sp>
              <p:sp>
                <p:nvSpPr>
                  <p:cNvPr id="77" name="Content Placeholder 5">
                    <a:extLst>
                      <a:ext uri="{FF2B5EF4-FFF2-40B4-BE49-F238E27FC236}">
                        <a16:creationId xmlns:a16="http://schemas.microsoft.com/office/drawing/2014/main" id="{A3B66906-36EC-4BBD-A50F-BBD35CBFEAF9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8757114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Teams Profiles</a:t>
                    </a:r>
                  </a:p>
                </p:txBody>
              </p:sp>
              <p:sp>
                <p:nvSpPr>
                  <p:cNvPr id="78" name="Content Placeholder 5">
                    <a:extLst>
                      <a:ext uri="{FF2B5EF4-FFF2-40B4-BE49-F238E27FC236}">
                        <a16:creationId xmlns:a16="http://schemas.microsoft.com/office/drawing/2014/main" id="{0496729A-D73E-47AF-88ED-6B211798B431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9963409" y="75105"/>
                    <a:ext cx="866515" cy="176356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Key Credentials</a:t>
                    </a:r>
                  </a:p>
                </p:txBody>
              </p:sp>
            </p:grpSp>
          </p:grpSp>
          <p:sp>
            <p:nvSpPr>
              <p:cNvPr id="67" name="Content Placeholder 5">
                <a:extLst>
                  <a:ext uri="{FF2B5EF4-FFF2-40B4-BE49-F238E27FC236}">
                    <a16:creationId xmlns:a16="http://schemas.microsoft.com/office/drawing/2014/main" id="{61177610-D023-4F1A-BAC1-8FE00414F50F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1608265" y="75105"/>
                <a:ext cx="1097554" cy="135989"/>
              </a:xfrm>
              <a:prstGeom prst="rect">
                <a:avLst/>
              </a:prstGeom>
            </p:spPr>
            <p:txBody>
              <a:bodyPr anchor="ctr"/>
              <a:lstStyle>
                <a:lvl1pPr algn="l" defTabSz="995363" rtl="0" fontAlgn="base">
                  <a:lnSpc>
                    <a:spcPts val="2100"/>
                  </a:lnSpc>
                  <a:spcBef>
                    <a:spcPct val="0"/>
                  </a:spcBef>
                  <a:spcAft>
                    <a:spcPct val="40000"/>
                  </a:spcAft>
                  <a:defRPr sz="1400" b="0">
                    <a:solidFill>
                      <a:srgbClr val="646464"/>
                    </a:solidFill>
                    <a:latin typeface="+mj-lt"/>
                    <a:ea typeface="+mn-ea"/>
                    <a:cs typeface="+mn-cs"/>
                  </a:defRPr>
                </a:lvl1pPr>
                <a:lvl2pPr marL="1588" algn="l" defTabSz="995363" rtl="0"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lang="en-US" sz="1200" b="1" dirty="0" smtClean="0">
                    <a:solidFill>
                      <a:srgbClr val="646464"/>
                    </a:solidFill>
                    <a:latin typeface="+mn-lt"/>
                  </a:defRPr>
                </a:lvl2pPr>
                <a:lvl3pPr marL="3175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sz="1000">
                    <a:solidFill>
                      <a:srgbClr val="000000"/>
                    </a:solidFill>
                    <a:latin typeface="+mn-lt"/>
                  </a:defRPr>
                </a:lvl3pPr>
                <a:lvl4pPr marL="152400" indent="-147638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FFD200"/>
                  </a:buClr>
                  <a:buSzPct val="75000"/>
                  <a:buFont typeface="Arial" charset="0"/>
                  <a:buChar char="►"/>
                  <a:defRPr sz="1000">
                    <a:solidFill>
                      <a:srgbClr val="000000"/>
                    </a:solidFill>
                    <a:latin typeface="+mn-lt"/>
                  </a:defRPr>
                </a:lvl4pPr>
                <a:lvl5pPr marL="2968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5pPr>
                <a:lvl6pPr marL="7540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6pPr>
                <a:lvl7pPr marL="12112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7pPr>
                <a:lvl8pPr marL="16684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8pPr>
                <a:lvl9pPr marL="21256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lvl="2" indent="0" algn="ctr" defTabSz="8293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140000"/>
                  <a:buFont typeface="Arial" charset="0"/>
                  <a:buNone/>
                  <a:tabLst>
                    <a:tab pos="4876815" algn="r"/>
                  </a:tabLst>
                </a:pPr>
                <a:r>
                  <a:rPr lang="fr-FR" sz="800" kern="0">
                    <a:solidFill>
                      <a:schemeClr val="bg2"/>
                    </a:solidFill>
                    <a:latin typeface="EYInterstate Light" panose="02000506000000020004" pitchFamily="2" charset="0"/>
                    <a:ea typeface="+mn-ea"/>
                    <a:cs typeface="+mn-cs"/>
                  </a:rPr>
                  <a:t>Scope &amp; Assumptions</a:t>
                </a:r>
              </a:p>
            </p:txBody>
          </p:sp>
        </p:grp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75793F1-5A45-4824-8D58-901B071419A8}"/>
                </a:ext>
              </a:extLst>
            </p:cNvPr>
            <p:cNvSpPr/>
            <p:nvPr userDrawn="1"/>
          </p:nvSpPr>
          <p:spPr>
            <a:xfrm>
              <a:off x="0" y="0"/>
              <a:ext cx="12192000" cy="350540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>
                <a:solidFill>
                  <a:schemeClr val="tx1"/>
                </a:solidFill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E3B0C1C8-BF54-4BD8-910B-1E48A0096BD6}"/>
                </a:ext>
              </a:extLst>
            </p:cNvPr>
            <p:cNvGrpSpPr/>
            <p:nvPr userDrawn="1"/>
          </p:nvGrpSpPr>
          <p:grpSpPr>
            <a:xfrm>
              <a:off x="81557" y="51129"/>
              <a:ext cx="167539" cy="200331"/>
              <a:chOff x="784680" y="68072"/>
              <a:chExt cx="167539" cy="200331"/>
            </a:xfrm>
          </p:grpSpPr>
          <p:sp>
            <p:nvSpPr>
              <p:cNvPr id="48" name="Freeform 6">
                <a:extLst>
                  <a:ext uri="{FF2B5EF4-FFF2-40B4-BE49-F238E27FC236}">
                    <a16:creationId xmlns:a16="http://schemas.microsoft.com/office/drawing/2014/main" id="{EC4731AF-40B1-40B2-A7AD-E076BBE5A3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680" y="68072"/>
                <a:ext cx="134278" cy="50020"/>
              </a:xfrm>
              <a:custGeom>
                <a:avLst/>
                <a:gdLst>
                  <a:gd name="T0" fmla="*/ 2723 w 2723"/>
                  <a:gd name="T1" fmla="*/ 0 h 994"/>
                  <a:gd name="T2" fmla="*/ 0 w 2723"/>
                  <a:gd name="T3" fmla="*/ 994 h 994"/>
                  <a:gd name="T4" fmla="*/ 2723 w 2723"/>
                  <a:gd name="T5" fmla="*/ 513 h 994"/>
                  <a:gd name="T6" fmla="*/ 2723 w 2723"/>
                  <a:gd name="T7" fmla="*/ 0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23" h="994">
                    <a:moveTo>
                      <a:pt x="2723" y="0"/>
                    </a:moveTo>
                    <a:lnTo>
                      <a:pt x="0" y="994"/>
                    </a:lnTo>
                    <a:lnTo>
                      <a:pt x="2723" y="513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rgbClr val="F7D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sp>
            <p:nvSpPr>
              <p:cNvPr id="49" name="Freeform 7">
                <a:extLst>
                  <a:ext uri="{FF2B5EF4-FFF2-40B4-BE49-F238E27FC236}">
                    <a16:creationId xmlns:a16="http://schemas.microsoft.com/office/drawing/2014/main" id="{EC7A9EA4-50D1-4C4C-9657-4A199A220C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680" y="138954"/>
                <a:ext cx="167539" cy="129449"/>
              </a:xfrm>
              <a:custGeom>
                <a:avLst/>
                <a:gdLst>
                  <a:gd name="T0" fmla="*/ 256 w 3400"/>
                  <a:gd name="T1" fmla="*/ 1749 h 2577"/>
                  <a:gd name="T2" fmla="*/ 278 w 3400"/>
                  <a:gd name="T3" fmla="*/ 1978 h 2577"/>
                  <a:gd name="T4" fmla="*/ 166 w 3400"/>
                  <a:gd name="T5" fmla="*/ 1993 h 2577"/>
                  <a:gd name="T6" fmla="*/ 386 w 3400"/>
                  <a:gd name="T7" fmla="*/ 1940 h 2577"/>
                  <a:gd name="T8" fmla="*/ 458 w 3400"/>
                  <a:gd name="T9" fmla="*/ 2046 h 2577"/>
                  <a:gd name="T10" fmla="*/ 1255 w 3400"/>
                  <a:gd name="T11" fmla="*/ 1820 h 2577"/>
                  <a:gd name="T12" fmla="*/ 1339 w 3400"/>
                  <a:gd name="T13" fmla="*/ 1914 h 2577"/>
                  <a:gd name="T14" fmla="*/ 767 w 3400"/>
                  <a:gd name="T15" fmla="*/ 1703 h 2577"/>
                  <a:gd name="T16" fmla="*/ 813 w 3400"/>
                  <a:gd name="T17" fmla="*/ 1884 h 2577"/>
                  <a:gd name="T18" fmla="*/ 947 w 3400"/>
                  <a:gd name="T19" fmla="*/ 2042 h 2577"/>
                  <a:gd name="T20" fmla="*/ 916 w 3400"/>
                  <a:gd name="T21" fmla="*/ 1855 h 2577"/>
                  <a:gd name="T22" fmla="*/ 2225 w 3400"/>
                  <a:gd name="T23" fmla="*/ 2049 h 2577"/>
                  <a:gd name="T24" fmla="*/ 2376 w 3400"/>
                  <a:gd name="T25" fmla="*/ 1924 h 2577"/>
                  <a:gd name="T26" fmla="*/ 2312 w 3400"/>
                  <a:gd name="T27" fmla="*/ 1906 h 2577"/>
                  <a:gd name="T28" fmla="*/ 2267 w 3400"/>
                  <a:gd name="T29" fmla="*/ 1855 h 2577"/>
                  <a:gd name="T30" fmla="*/ 1441 w 3400"/>
                  <a:gd name="T31" fmla="*/ 1911 h 2577"/>
                  <a:gd name="T32" fmla="*/ 1591 w 3400"/>
                  <a:gd name="T33" fmla="*/ 2031 h 2577"/>
                  <a:gd name="T34" fmla="*/ 1622 w 3400"/>
                  <a:gd name="T35" fmla="*/ 2119 h 2577"/>
                  <a:gd name="T36" fmla="*/ 1507 w 3400"/>
                  <a:gd name="T37" fmla="*/ 1962 h 2577"/>
                  <a:gd name="T38" fmla="*/ 1902 w 3400"/>
                  <a:gd name="T39" fmla="*/ 1848 h 2577"/>
                  <a:gd name="T40" fmla="*/ 1797 w 3400"/>
                  <a:gd name="T41" fmla="*/ 1958 h 2577"/>
                  <a:gd name="T42" fmla="*/ 2006 w 3400"/>
                  <a:gd name="T43" fmla="*/ 1884 h 2577"/>
                  <a:gd name="T44" fmla="*/ 1857 w 3400"/>
                  <a:gd name="T45" fmla="*/ 1968 h 2577"/>
                  <a:gd name="T46" fmla="*/ 1881 w 3400"/>
                  <a:gd name="T47" fmla="*/ 2002 h 2577"/>
                  <a:gd name="T48" fmla="*/ 2467 w 3400"/>
                  <a:gd name="T49" fmla="*/ 1946 h 2577"/>
                  <a:gd name="T50" fmla="*/ 2452 w 3400"/>
                  <a:gd name="T51" fmla="*/ 1821 h 2577"/>
                  <a:gd name="T52" fmla="*/ 2521 w 3400"/>
                  <a:gd name="T53" fmla="*/ 2055 h 2577"/>
                  <a:gd name="T54" fmla="*/ 2555 w 3400"/>
                  <a:gd name="T55" fmla="*/ 1883 h 2577"/>
                  <a:gd name="T56" fmla="*/ 3202 w 3400"/>
                  <a:gd name="T57" fmla="*/ 1928 h 2577"/>
                  <a:gd name="T58" fmla="*/ 3006 w 3400"/>
                  <a:gd name="T59" fmla="*/ 1854 h 2577"/>
                  <a:gd name="T60" fmla="*/ 3140 w 3400"/>
                  <a:gd name="T61" fmla="*/ 2049 h 2577"/>
                  <a:gd name="T62" fmla="*/ 2905 w 3400"/>
                  <a:gd name="T63" fmla="*/ 1964 h 2577"/>
                  <a:gd name="T64" fmla="*/ 2868 w 3400"/>
                  <a:gd name="T65" fmla="*/ 2041 h 2577"/>
                  <a:gd name="T66" fmla="*/ 2713 w 3400"/>
                  <a:gd name="T67" fmla="*/ 2051 h 2577"/>
                  <a:gd name="T68" fmla="*/ 2747 w 3400"/>
                  <a:gd name="T69" fmla="*/ 1996 h 2577"/>
                  <a:gd name="T70" fmla="*/ 3300 w 3400"/>
                  <a:gd name="T71" fmla="*/ 1805 h 2577"/>
                  <a:gd name="T72" fmla="*/ 1073 w 3400"/>
                  <a:gd name="T73" fmla="*/ 2049 h 2577"/>
                  <a:gd name="T74" fmla="*/ 2660 w 3400"/>
                  <a:gd name="T75" fmla="*/ 2279 h 2577"/>
                  <a:gd name="T76" fmla="*/ 2763 w 3400"/>
                  <a:gd name="T77" fmla="*/ 2480 h 2577"/>
                  <a:gd name="T78" fmla="*/ 2737 w 3400"/>
                  <a:gd name="T79" fmla="*/ 2285 h 2577"/>
                  <a:gd name="T80" fmla="*/ 690 w 3400"/>
                  <a:gd name="T81" fmla="*/ 2289 h 2577"/>
                  <a:gd name="T82" fmla="*/ 740 w 3400"/>
                  <a:gd name="T83" fmla="*/ 2301 h 2577"/>
                  <a:gd name="T84" fmla="*/ 222 w 3400"/>
                  <a:gd name="T85" fmla="*/ 2352 h 2577"/>
                  <a:gd name="T86" fmla="*/ 341 w 3400"/>
                  <a:gd name="T87" fmla="*/ 2395 h 2577"/>
                  <a:gd name="T88" fmla="*/ 554 w 3400"/>
                  <a:gd name="T89" fmla="*/ 2395 h 2577"/>
                  <a:gd name="T90" fmla="*/ 412 w 3400"/>
                  <a:gd name="T91" fmla="*/ 2407 h 2577"/>
                  <a:gd name="T92" fmla="*/ 484 w 3400"/>
                  <a:gd name="T93" fmla="*/ 2407 h 2577"/>
                  <a:gd name="T94" fmla="*/ 2419 w 3400"/>
                  <a:gd name="T95" fmla="*/ 2248 h 2577"/>
                  <a:gd name="T96" fmla="*/ 1758 w 3400"/>
                  <a:gd name="T97" fmla="*/ 2233 h 2577"/>
                  <a:gd name="T98" fmla="*/ 2133 w 3400"/>
                  <a:gd name="T99" fmla="*/ 2255 h 2577"/>
                  <a:gd name="T100" fmla="*/ 2204 w 3400"/>
                  <a:gd name="T101" fmla="*/ 2483 h 2577"/>
                  <a:gd name="T102" fmla="*/ 2269 w 3400"/>
                  <a:gd name="T103" fmla="*/ 2249 h 2577"/>
                  <a:gd name="T104" fmla="*/ 2204 w 3400"/>
                  <a:gd name="T105" fmla="*/ 2284 h 2577"/>
                  <a:gd name="T106" fmla="*/ 845 w 3400"/>
                  <a:gd name="T107" fmla="*/ 2131 h 2577"/>
                  <a:gd name="T108" fmla="*/ 1323 w 3400"/>
                  <a:gd name="T109" fmla="*/ 2244 h 2577"/>
                  <a:gd name="T110" fmla="*/ 1220 w 3400"/>
                  <a:gd name="T111" fmla="*/ 2299 h 2577"/>
                  <a:gd name="T112" fmla="*/ 1410 w 3400"/>
                  <a:gd name="T113" fmla="*/ 2289 h 2577"/>
                  <a:gd name="T114" fmla="*/ 1525 w 3400"/>
                  <a:gd name="T115" fmla="*/ 2477 h 2577"/>
                  <a:gd name="T116" fmla="*/ 1544 w 3400"/>
                  <a:gd name="T117" fmla="*/ 2570 h 2577"/>
                  <a:gd name="T118" fmla="*/ 1491 w 3400"/>
                  <a:gd name="T119" fmla="*/ 2424 h 2577"/>
                  <a:gd name="T120" fmla="*/ 1094 w 3400"/>
                  <a:gd name="T121" fmla="*/ 2341 h 2577"/>
                  <a:gd name="T122" fmla="*/ 437 w 3400"/>
                  <a:gd name="T123" fmla="*/ 1061 h 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00" h="2577">
                    <a:moveTo>
                      <a:pt x="283" y="1942"/>
                    </a:moveTo>
                    <a:lnTo>
                      <a:pt x="283" y="1942"/>
                    </a:lnTo>
                    <a:lnTo>
                      <a:pt x="283" y="1934"/>
                    </a:lnTo>
                    <a:lnTo>
                      <a:pt x="282" y="1927"/>
                    </a:lnTo>
                    <a:lnTo>
                      <a:pt x="278" y="1912"/>
                    </a:lnTo>
                    <a:lnTo>
                      <a:pt x="272" y="1900"/>
                    </a:lnTo>
                    <a:lnTo>
                      <a:pt x="265" y="1890"/>
                    </a:lnTo>
                    <a:lnTo>
                      <a:pt x="256" y="1883"/>
                    </a:lnTo>
                    <a:lnTo>
                      <a:pt x="248" y="1877"/>
                    </a:lnTo>
                    <a:lnTo>
                      <a:pt x="241" y="1872"/>
                    </a:lnTo>
                    <a:lnTo>
                      <a:pt x="233" y="1868"/>
                    </a:lnTo>
                    <a:lnTo>
                      <a:pt x="233" y="1868"/>
                    </a:lnTo>
                    <a:lnTo>
                      <a:pt x="242" y="1862"/>
                    </a:lnTo>
                    <a:lnTo>
                      <a:pt x="249" y="1856"/>
                    </a:lnTo>
                    <a:lnTo>
                      <a:pt x="255" y="1849"/>
                    </a:lnTo>
                    <a:lnTo>
                      <a:pt x="261" y="1840"/>
                    </a:lnTo>
                    <a:lnTo>
                      <a:pt x="266" y="1832"/>
                    </a:lnTo>
                    <a:lnTo>
                      <a:pt x="269" y="1822"/>
                    </a:lnTo>
                    <a:lnTo>
                      <a:pt x="271" y="1812"/>
                    </a:lnTo>
                    <a:lnTo>
                      <a:pt x="271" y="1801"/>
                    </a:lnTo>
                    <a:lnTo>
                      <a:pt x="271" y="1801"/>
                    </a:lnTo>
                    <a:lnTo>
                      <a:pt x="271" y="1792"/>
                    </a:lnTo>
                    <a:lnTo>
                      <a:pt x="270" y="1782"/>
                    </a:lnTo>
                    <a:lnTo>
                      <a:pt x="267" y="1773"/>
                    </a:lnTo>
                    <a:lnTo>
                      <a:pt x="265" y="1765"/>
                    </a:lnTo>
                    <a:lnTo>
                      <a:pt x="261" y="1756"/>
                    </a:lnTo>
                    <a:lnTo>
                      <a:pt x="256" y="1749"/>
                    </a:lnTo>
                    <a:lnTo>
                      <a:pt x="250" y="1743"/>
                    </a:lnTo>
                    <a:lnTo>
                      <a:pt x="244" y="1737"/>
                    </a:lnTo>
                    <a:lnTo>
                      <a:pt x="237" y="1732"/>
                    </a:lnTo>
                    <a:lnTo>
                      <a:pt x="230" y="1727"/>
                    </a:lnTo>
                    <a:lnTo>
                      <a:pt x="221" y="1724"/>
                    </a:lnTo>
                    <a:lnTo>
                      <a:pt x="211" y="1720"/>
                    </a:lnTo>
                    <a:lnTo>
                      <a:pt x="202" y="1718"/>
                    </a:lnTo>
                    <a:lnTo>
                      <a:pt x="191" y="1715"/>
                    </a:lnTo>
                    <a:lnTo>
                      <a:pt x="180" y="1715"/>
                    </a:lnTo>
                    <a:lnTo>
                      <a:pt x="168" y="1714"/>
                    </a:lnTo>
                    <a:lnTo>
                      <a:pt x="24" y="1714"/>
                    </a:lnTo>
                    <a:lnTo>
                      <a:pt x="24" y="2049"/>
                    </a:lnTo>
                    <a:lnTo>
                      <a:pt x="166" y="2049"/>
                    </a:lnTo>
                    <a:lnTo>
                      <a:pt x="166" y="2049"/>
                    </a:lnTo>
                    <a:lnTo>
                      <a:pt x="180" y="2049"/>
                    </a:lnTo>
                    <a:lnTo>
                      <a:pt x="192" y="2048"/>
                    </a:lnTo>
                    <a:lnTo>
                      <a:pt x="204" y="2046"/>
                    </a:lnTo>
                    <a:lnTo>
                      <a:pt x="215" y="2042"/>
                    </a:lnTo>
                    <a:lnTo>
                      <a:pt x="226" y="2038"/>
                    </a:lnTo>
                    <a:lnTo>
                      <a:pt x="236" y="2034"/>
                    </a:lnTo>
                    <a:lnTo>
                      <a:pt x="244" y="2028"/>
                    </a:lnTo>
                    <a:lnTo>
                      <a:pt x="252" y="2021"/>
                    </a:lnTo>
                    <a:lnTo>
                      <a:pt x="259" y="2014"/>
                    </a:lnTo>
                    <a:lnTo>
                      <a:pt x="265" y="2006"/>
                    </a:lnTo>
                    <a:lnTo>
                      <a:pt x="271" y="1997"/>
                    </a:lnTo>
                    <a:lnTo>
                      <a:pt x="275" y="1987"/>
                    </a:lnTo>
                    <a:lnTo>
                      <a:pt x="278" y="1978"/>
                    </a:lnTo>
                    <a:lnTo>
                      <a:pt x="281" y="1967"/>
                    </a:lnTo>
                    <a:lnTo>
                      <a:pt x="282" y="1955"/>
                    </a:lnTo>
                    <a:lnTo>
                      <a:pt x="283" y="1942"/>
                    </a:lnTo>
                    <a:lnTo>
                      <a:pt x="283" y="1942"/>
                    </a:lnTo>
                    <a:close/>
                    <a:moveTo>
                      <a:pt x="166" y="1993"/>
                    </a:moveTo>
                    <a:lnTo>
                      <a:pt x="86" y="1993"/>
                    </a:lnTo>
                    <a:lnTo>
                      <a:pt x="86" y="1897"/>
                    </a:lnTo>
                    <a:lnTo>
                      <a:pt x="166" y="1897"/>
                    </a:lnTo>
                    <a:lnTo>
                      <a:pt x="166" y="1897"/>
                    </a:lnTo>
                    <a:lnTo>
                      <a:pt x="179" y="1899"/>
                    </a:lnTo>
                    <a:lnTo>
                      <a:pt x="188" y="1900"/>
                    </a:lnTo>
                    <a:lnTo>
                      <a:pt x="197" y="1904"/>
                    </a:lnTo>
                    <a:lnTo>
                      <a:pt x="204" y="1910"/>
                    </a:lnTo>
                    <a:lnTo>
                      <a:pt x="210" y="1916"/>
                    </a:lnTo>
                    <a:lnTo>
                      <a:pt x="214" y="1924"/>
                    </a:lnTo>
                    <a:lnTo>
                      <a:pt x="216" y="1934"/>
                    </a:lnTo>
                    <a:lnTo>
                      <a:pt x="218" y="1945"/>
                    </a:lnTo>
                    <a:lnTo>
                      <a:pt x="218" y="1945"/>
                    </a:lnTo>
                    <a:lnTo>
                      <a:pt x="216" y="1956"/>
                    </a:lnTo>
                    <a:lnTo>
                      <a:pt x="214" y="1966"/>
                    </a:lnTo>
                    <a:lnTo>
                      <a:pt x="209" y="1974"/>
                    </a:lnTo>
                    <a:lnTo>
                      <a:pt x="204" y="1980"/>
                    </a:lnTo>
                    <a:lnTo>
                      <a:pt x="197" y="1986"/>
                    </a:lnTo>
                    <a:lnTo>
                      <a:pt x="188" y="1990"/>
                    </a:lnTo>
                    <a:lnTo>
                      <a:pt x="177" y="1992"/>
                    </a:lnTo>
                    <a:lnTo>
                      <a:pt x="166" y="1993"/>
                    </a:lnTo>
                    <a:lnTo>
                      <a:pt x="166" y="1993"/>
                    </a:lnTo>
                    <a:close/>
                    <a:moveTo>
                      <a:pt x="165" y="1843"/>
                    </a:moveTo>
                    <a:lnTo>
                      <a:pt x="86" y="1843"/>
                    </a:lnTo>
                    <a:lnTo>
                      <a:pt x="86" y="1771"/>
                    </a:lnTo>
                    <a:lnTo>
                      <a:pt x="163" y="1771"/>
                    </a:lnTo>
                    <a:lnTo>
                      <a:pt x="163" y="1771"/>
                    </a:lnTo>
                    <a:lnTo>
                      <a:pt x="173" y="1772"/>
                    </a:lnTo>
                    <a:lnTo>
                      <a:pt x="182" y="1773"/>
                    </a:lnTo>
                    <a:lnTo>
                      <a:pt x="190" y="1776"/>
                    </a:lnTo>
                    <a:lnTo>
                      <a:pt x="196" y="1780"/>
                    </a:lnTo>
                    <a:lnTo>
                      <a:pt x="201" y="1786"/>
                    </a:lnTo>
                    <a:lnTo>
                      <a:pt x="204" y="1792"/>
                    </a:lnTo>
                    <a:lnTo>
                      <a:pt x="205" y="1799"/>
                    </a:lnTo>
                    <a:lnTo>
                      <a:pt x="207" y="1807"/>
                    </a:lnTo>
                    <a:lnTo>
                      <a:pt x="207" y="1807"/>
                    </a:lnTo>
                    <a:lnTo>
                      <a:pt x="207" y="1814"/>
                    </a:lnTo>
                    <a:lnTo>
                      <a:pt x="205" y="1820"/>
                    </a:lnTo>
                    <a:lnTo>
                      <a:pt x="203" y="1826"/>
                    </a:lnTo>
                    <a:lnTo>
                      <a:pt x="199" y="1831"/>
                    </a:lnTo>
                    <a:lnTo>
                      <a:pt x="193" y="1835"/>
                    </a:lnTo>
                    <a:lnTo>
                      <a:pt x="186" y="1839"/>
                    </a:lnTo>
                    <a:lnTo>
                      <a:pt x="177" y="1842"/>
                    </a:lnTo>
                    <a:lnTo>
                      <a:pt x="165" y="1843"/>
                    </a:lnTo>
                    <a:lnTo>
                      <a:pt x="165" y="1843"/>
                    </a:lnTo>
                    <a:close/>
                    <a:moveTo>
                      <a:pt x="326" y="1944"/>
                    </a:moveTo>
                    <a:lnTo>
                      <a:pt x="326" y="1805"/>
                    </a:lnTo>
                    <a:lnTo>
                      <a:pt x="386" y="1805"/>
                    </a:lnTo>
                    <a:lnTo>
                      <a:pt x="386" y="1940"/>
                    </a:lnTo>
                    <a:lnTo>
                      <a:pt x="386" y="1940"/>
                    </a:lnTo>
                    <a:lnTo>
                      <a:pt x="386" y="1953"/>
                    </a:lnTo>
                    <a:lnTo>
                      <a:pt x="389" y="1967"/>
                    </a:lnTo>
                    <a:lnTo>
                      <a:pt x="392" y="1976"/>
                    </a:lnTo>
                    <a:lnTo>
                      <a:pt x="397" y="1985"/>
                    </a:lnTo>
                    <a:lnTo>
                      <a:pt x="403" y="1991"/>
                    </a:lnTo>
                    <a:lnTo>
                      <a:pt x="411" y="1996"/>
                    </a:lnTo>
                    <a:lnTo>
                      <a:pt x="420" y="1998"/>
                    </a:lnTo>
                    <a:lnTo>
                      <a:pt x="431" y="2000"/>
                    </a:lnTo>
                    <a:lnTo>
                      <a:pt x="431" y="2000"/>
                    </a:lnTo>
                    <a:lnTo>
                      <a:pt x="442" y="1998"/>
                    </a:lnTo>
                    <a:lnTo>
                      <a:pt x="451" y="1996"/>
                    </a:lnTo>
                    <a:lnTo>
                      <a:pt x="459" y="1991"/>
                    </a:lnTo>
                    <a:lnTo>
                      <a:pt x="465" y="1985"/>
                    </a:lnTo>
                    <a:lnTo>
                      <a:pt x="470" y="1976"/>
                    </a:lnTo>
                    <a:lnTo>
                      <a:pt x="474" y="1966"/>
                    </a:lnTo>
                    <a:lnTo>
                      <a:pt x="476" y="1953"/>
                    </a:lnTo>
                    <a:lnTo>
                      <a:pt x="476" y="1940"/>
                    </a:lnTo>
                    <a:lnTo>
                      <a:pt x="476" y="1805"/>
                    </a:lnTo>
                    <a:lnTo>
                      <a:pt x="537" y="1805"/>
                    </a:lnTo>
                    <a:lnTo>
                      <a:pt x="537" y="2049"/>
                    </a:lnTo>
                    <a:lnTo>
                      <a:pt x="476" y="2049"/>
                    </a:lnTo>
                    <a:lnTo>
                      <a:pt x="476" y="2030"/>
                    </a:lnTo>
                    <a:lnTo>
                      <a:pt x="476" y="2030"/>
                    </a:lnTo>
                    <a:lnTo>
                      <a:pt x="471" y="2036"/>
                    </a:lnTo>
                    <a:lnTo>
                      <a:pt x="464" y="2041"/>
                    </a:lnTo>
                    <a:lnTo>
                      <a:pt x="458" y="2046"/>
                    </a:lnTo>
                    <a:lnTo>
                      <a:pt x="451" y="2048"/>
                    </a:lnTo>
                    <a:lnTo>
                      <a:pt x="444" y="2052"/>
                    </a:lnTo>
                    <a:lnTo>
                      <a:pt x="435" y="2053"/>
                    </a:lnTo>
                    <a:lnTo>
                      <a:pt x="427" y="2054"/>
                    </a:lnTo>
                    <a:lnTo>
                      <a:pt x="418" y="2055"/>
                    </a:lnTo>
                    <a:lnTo>
                      <a:pt x="418" y="2055"/>
                    </a:lnTo>
                    <a:lnTo>
                      <a:pt x="403" y="2054"/>
                    </a:lnTo>
                    <a:lnTo>
                      <a:pt x="391" y="2052"/>
                    </a:lnTo>
                    <a:lnTo>
                      <a:pt x="380" y="2048"/>
                    </a:lnTo>
                    <a:lnTo>
                      <a:pt x="369" y="2043"/>
                    </a:lnTo>
                    <a:lnTo>
                      <a:pt x="361" y="2037"/>
                    </a:lnTo>
                    <a:lnTo>
                      <a:pt x="354" y="2031"/>
                    </a:lnTo>
                    <a:lnTo>
                      <a:pt x="348" y="2023"/>
                    </a:lnTo>
                    <a:lnTo>
                      <a:pt x="341" y="2014"/>
                    </a:lnTo>
                    <a:lnTo>
                      <a:pt x="338" y="2006"/>
                    </a:lnTo>
                    <a:lnTo>
                      <a:pt x="334" y="1997"/>
                    </a:lnTo>
                    <a:lnTo>
                      <a:pt x="329" y="1978"/>
                    </a:lnTo>
                    <a:lnTo>
                      <a:pt x="327" y="1959"/>
                    </a:lnTo>
                    <a:lnTo>
                      <a:pt x="326" y="1944"/>
                    </a:lnTo>
                    <a:lnTo>
                      <a:pt x="326" y="1944"/>
                    </a:lnTo>
                    <a:close/>
                    <a:moveTo>
                      <a:pt x="1249" y="2049"/>
                    </a:moveTo>
                    <a:lnTo>
                      <a:pt x="1188" y="2049"/>
                    </a:lnTo>
                    <a:lnTo>
                      <a:pt x="1188" y="1805"/>
                    </a:lnTo>
                    <a:lnTo>
                      <a:pt x="1249" y="1805"/>
                    </a:lnTo>
                    <a:lnTo>
                      <a:pt x="1249" y="1826"/>
                    </a:lnTo>
                    <a:lnTo>
                      <a:pt x="1249" y="1826"/>
                    </a:lnTo>
                    <a:lnTo>
                      <a:pt x="1255" y="1820"/>
                    </a:lnTo>
                    <a:lnTo>
                      <a:pt x="1261" y="1814"/>
                    </a:lnTo>
                    <a:lnTo>
                      <a:pt x="1269" y="1810"/>
                    </a:lnTo>
                    <a:lnTo>
                      <a:pt x="1276" y="1806"/>
                    </a:lnTo>
                    <a:lnTo>
                      <a:pt x="1284" y="1803"/>
                    </a:lnTo>
                    <a:lnTo>
                      <a:pt x="1292" y="1801"/>
                    </a:lnTo>
                    <a:lnTo>
                      <a:pt x="1301" y="1800"/>
                    </a:lnTo>
                    <a:lnTo>
                      <a:pt x="1310" y="1799"/>
                    </a:lnTo>
                    <a:lnTo>
                      <a:pt x="1310" y="1799"/>
                    </a:lnTo>
                    <a:lnTo>
                      <a:pt x="1321" y="1800"/>
                    </a:lnTo>
                    <a:lnTo>
                      <a:pt x="1331" y="1801"/>
                    </a:lnTo>
                    <a:lnTo>
                      <a:pt x="1340" y="1804"/>
                    </a:lnTo>
                    <a:lnTo>
                      <a:pt x="1349" y="1806"/>
                    </a:lnTo>
                    <a:lnTo>
                      <a:pt x="1357" y="1810"/>
                    </a:lnTo>
                    <a:lnTo>
                      <a:pt x="1365" y="1816"/>
                    </a:lnTo>
                    <a:lnTo>
                      <a:pt x="1371" y="1821"/>
                    </a:lnTo>
                    <a:lnTo>
                      <a:pt x="1377" y="1828"/>
                    </a:lnTo>
                    <a:lnTo>
                      <a:pt x="1383" y="1835"/>
                    </a:lnTo>
                    <a:lnTo>
                      <a:pt x="1386" y="1844"/>
                    </a:lnTo>
                    <a:lnTo>
                      <a:pt x="1391" y="1852"/>
                    </a:lnTo>
                    <a:lnTo>
                      <a:pt x="1394" y="1862"/>
                    </a:lnTo>
                    <a:lnTo>
                      <a:pt x="1396" y="1873"/>
                    </a:lnTo>
                    <a:lnTo>
                      <a:pt x="1399" y="1885"/>
                    </a:lnTo>
                    <a:lnTo>
                      <a:pt x="1400" y="1897"/>
                    </a:lnTo>
                    <a:lnTo>
                      <a:pt x="1400" y="1911"/>
                    </a:lnTo>
                    <a:lnTo>
                      <a:pt x="1400" y="2049"/>
                    </a:lnTo>
                    <a:lnTo>
                      <a:pt x="1339" y="2049"/>
                    </a:lnTo>
                    <a:lnTo>
                      <a:pt x="1339" y="1914"/>
                    </a:lnTo>
                    <a:lnTo>
                      <a:pt x="1339" y="1914"/>
                    </a:lnTo>
                    <a:lnTo>
                      <a:pt x="1339" y="1900"/>
                    </a:lnTo>
                    <a:lnTo>
                      <a:pt x="1337" y="1888"/>
                    </a:lnTo>
                    <a:lnTo>
                      <a:pt x="1333" y="1878"/>
                    </a:lnTo>
                    <a:lnTo>
                      <a:pt x="1328" y="1869"/>
                    </a:lnTo>
                    <a:lnTo>
                      <a:pt x="1322" y="1863"/>
                    </a:lnTo>
                    <a:lnTo>
                      <a:pt x="1315" y="1859"/>
                    </a:lnTo>
                    <a:lnTo>
                      <a:pt x="1306" y="1856"/>
                    </a:lnTo>
                    <a:lnTo>
                      <a:pt x="1295" y="1855"/>
                    </a:lnTo>
                    <a:lnTo>
                      <a:pt x="1295" y="1855"/>
                    </a:lnTo>
                    <a:lnTo>
                      <a:pt x="1284" y="1856"/>
                    </a:lnTo>
                    <a:lnTo>
                      <a:pt x="1275" y="1859"/>
                    </a:lnTo>
                    <a:lnTo>
                      <a:pt x="1267" y="1863"/>
                    </a:lnTo>
                    <a:lnTo>
                      <a:pt x="1261" y="1869"/>
                    </a:lnTo>
                    <a:lnTo>
                      <a:pt x="1255" y="1878"/>
                    </a:lnTo>
                    <a:lnTo>
                      <a:pt x="1252" y="1889"/>
                    </a:lnTo>
                    <a:lnTo>
                      <a:pt x="1249" y="1901"/>
                    </a:lnTo>
                    <a:lnTo>
                      <a:pt x="1249" y="1914"/>
                    </a:lnTo>
                    <a:lnTo>
                      <a:pt x="1249" y="2049"/>
                    </a:lnTo>
                    <a:close/>
                    <a:moveTo>
                      <a:pt x="653" y="1927"/>
                    </a:moveTo>
                    <a:lnTo>
                      <a:pt x="653" y="2049"/>
                    </a:lnTo>
                    <a:lnTo>
                      <a:pt x="592" y="2049"/>
                    </a:lnTo>
                    <a:lnTo>
                      <a:pt x="592" y="1805"/>
                    </a:lnTo>
                    <a:lnTo>
                      <a:pt x="653" y="1805"/>
                    </a:lnTo>
                    <a:lnTo>
                      <a:pt x="653" y="1927"/>
                    </a:lnTo>
                    <a:close/>
                    <a:moveTo>
                      <a:pt x="706" y="1733"/>
                    </a:moveTo>
                    <a:lnTo>
                      <a:pt x="767" y="1703"/>
                    </a:lnTo>
                    <a:lnTo>
                      <a:pt x="767" y="1924"/>
                    </a:lnTo>
                    <a:lnTo>
                      <a:pt x="767" y="2049"/>
                    </a:lnTo>
                    <a:lnTo>
                      <a:pt x="706" y="2049"/>
                    </a:lnTo>
                    <a:lnTo>
                      <a:pt x="706" y="1733"/>
                    </a:lnTo>
                    <a:close/>
                    <a:moveTo>
                      <a:pt x="959" y="1822"/>
                    </a:moveTo>
                    <a:lnTo>
                      <a:pt x="959" y="1822"/>
                    </a:lnTo>
                    <a:lnTo>
                      <a:pt x="954" y="1816"/>
                    </a:lnTo>
                    <a:lnTo>
                      <a:pt x="948" y="1812"/>
                    </a:lnTo>
                    <a:lnTo>
                      <a:pt x="941" y="1807"/>
                    </a:lnTo>
                    <a:lnTo>
                      <a:pt x="934" y="1805"/>
                    </a:lnTo>
                    <a:lnTo>
                      <a:pt x="927" y="1803"/>
                    </a:lnTo>
                    <a:lnTo>
                      <a:pt x="920" y="1800"/>
                    </a:lnTo>
                    <a:lnTo>
                      <a:pt x="905" y="1799"/>
                    </a:lnTo>
                    <a:lnTo>
                      <a:pt x="905" y="1799"/>
                    </a:lnTo>
                    <a:lnTo>
                      <a:pt x="894" y="1800"/>
                    </a:lnTo>
                    <a:lnTo>
                      <a:pt x="883" y="1801"/>
                    </a:lnTo>
                    <a:lnTo>
                      <a:pt x="874" y="1804"/>
                    </a:lnTo>
                    <a:lnTo>
                      <a:pt x="865" y="1807"/>
                    </a:lnTo>
                    <a:lnTo>
                      <a:pt x="857" y="1812"/>
                    </a:lnTo>
                    <a:lnTo>
                      <a:pt x="848" y="1818"/>
                    </a:lnTo>
                    <a:lnTo>
                      <a:pt x="841" y="1826"/>
                    </a:lnTo>
                    <a:lnTo>
                      <a:pt x="835" y="1833"/>
                    </a:lnTo>
                    <a:lnTo>
                      <a:pt x="829" y="1842"/>
                    </a:lnTo>
                    <a:lnTo>
                      <a:pt x="824" y="1851"/>
                    </a:lnTo>
                    <a:lnTo>
                      <a:pt x="819" y="1861"/>
                    </a:lnTo>
                    <a:lnTo>
                      <a:pt x="815" y="1872"/>
                    </a:lnTo>
                    <a:lnTo>
                      <a:pt x="813" y="1884"/>
                    </a:lnTo>
                    <a:lnTo>
                      <a:pt x="811" y="1897"/>
                    </a:lnTo>
                    <a:lnTo>
                      <a:pt x="809" y="1911"/>
                    </a:lnTo>
                    <a:lnTo>
                      <a:pt x="809" y="1924"/>
                    </a:lnTo>
                    <a:lnTo>
                      <a:pt x="809" y="1924"/>
                    </a:lnTo>
                    <a:lnTo>
                      <a:pt x="809" y="1940"/>
                    </a:lnTo>
                    <a:lnTo>
                      <a:pt x="811" y="1953"/>
                    </a:lnTo>
                    <a:lnTo>
                      <a:pt x="813" y="1967"/>
                    </a:lnTo>
                    <a:lnTo>
                      <a:pt x="815" y="1979"/>
                    </a:lnTo>
                    <a:lnTo>
                      <a:pt x="819" y="1991"/>
                    </a:lnTo>
                    <a:lnTo>
                      <a:pt x="823" y="2002"/>
                    </a:lnTo>
                    <a:lnTo>
                      <a:pt x="828" y="2012"/>
                    </a:lnTo>
                    <a:lnTo>
                      <a:pt x="834" y="2020"/>
                    </a:lnTo>
                    <a:lnTo>
                      <a:pt x="841" y="2029"/>
                    </a:lnTo>
                    <a:lnTo>
                      <a:pt x="847" y="2035"/>
                    </a:lnTo>
                    <a:lnTo>
                      <a:pt x="855" y="2041"/>
                    </a:lnTo>
                    <a:lnTo>
                      <a:pt x="864" y="2046"/>
                    </a:lnTo>
                    <a:lnTo>
                      <a:pt x="872" y="2049"/>
                    </a:lnTo>
                    <a:lnTo>
                      <a:pt x="882" y="2053"/>
                    </a:lnTo>
                    <a:lnTo>
                      <a:pt x="893" y="2054"/>
                    </a:lnTo>
                    <a:lnTo>
                      <a:pt x="904" y="2055"/>
                    </a:lnTo>
                    <a:lnTo>
                      <a:pt x="904" y="2055"/>
                    </a:lnTo>
                    <a:lnTo>
                      <a:pt x="911" y="2054"/>
                    </a:lnTo>
                    <a:lnTo>
                      <a:pt x="919" y="2053"/>
                    </a:lnTo>
                    <a:lnTo>
                      <a:pt x="926" y="2052"/>
                    </a:lnTo>
                    <a:lnTo>
                      <a:pt x="933" y="2049"/>
                    </a:lnTo>
                    <a:lnTo>
                      <a:pt x="939" y="2046"/>
                    </a:lnTo>
                    <a:lnTo>
                      <a:pt x="947" y="2042"/>
                    </a:lnTo>
                    <a:lnTo>
                      <a:pt x="953" y="2037"/>
                    </a:lnTo>
                    <a:lnTo>
                      <a:pt x="959" y="2031"/>
                    </a:lnTo>
                    <a:lnTo>
                      <a:pt x="959" y="2049"/>
                    </a:lnTo>
                    <a:lnTo>
                      <a:pt x="1020" y="2049"/>
                    </a:lnTo>
                    <a:lnTo>
                      <a:pt x="1020" y="1703"/>
                    </a:lnTo>
                    <a:lnTo>
                      <a:pt x="959" y="1733"/>
                    </a:lnTo>
                    <a:lnTo>
                      <a:pt x="959" y="1822"/>
                    </a:lnTo>
                    <a:close/>
                    <a:moveTo>
                      <a:pt x="916" y="2000"/>
                    </a:moveTo>
                    <a:lnTo>
                      <a:pt x="916" y="2000"/>
                    </a:lnTo>
                    <a:lnTo>
                      <a:pt x="909" y="1998"/>
                    </a:lnTo>
                    <a:lnTo>
                      <a:pt x="900" y="1996"/>
                    </a:lnTo>
                    <a:lnTo>
                      <a:pt x="893" y="1992"/>
                    </a:lnTo>
                    <a:lnTo>
                      <a:pt x="886" y="1985"/>
                    </a:lnTo>
                    <a:lnTo>
                      <a:pt x="880" y="1975"/>
                    </a:lnTo>
                    <a:lnTo>
                      <a:pt x="875" y="1962"/>
                    </a:lnTo>
                    <a:lnTo>
                      <a:pt x="871" y="1945"/>
                    </a:lnTo>
                    <a:lnTo>
                      <a:pt x="870" y="1923"/>
                    </a:lnTo>
                    <a:lnTo>
                      <a:pt x="870" y="1923"/>
                    </a:lnTo>
                    <a:lnTo>
                      <a:pt x="871" y="1904"/>
                    </a:lnTo>
                    <a:lnTo>
                      <a:pt x="875" y="1889"/>
                    </a:lnTo>
                    <a:lnTo>
                      <a:pt x="880" y="1877"/>
                    </a:lnTo>
                    <a:lnTo>
                      <a:pt x="886" y="1868"/>
                    </a:lnTo>
                    <a:lnTo>
                      <a:pt x="892" y="1861"/>
                    </a:lnTo>
                    <a:lnTo>
                      <a:pt x="900" y="1857"/>
                    </a:lnTo>
                    <a:lnTo>
                      <a:pt x="908" y="1855"/>
                    </a:lnTo>
                    <a:lnTo>
                      <a:pt x="916" y="1855"/>
                    </a:lnTo>
                    <a:lnTo>
                      <a:pt x="916" y="1855"/>
                    </a:lnTo>
                    <a:lnTo>
                      <a:pt x="924" y="1855"/>
                    </a:lnTo>
                    <a:lnTo>
                      <a:pt x="931" y="1857"/>
                    </a:lnTo>
                    <a:lnTo>
                      <a:pt x="938" y="1860"/>
                    </a:lnTo>
                    <a:lnTo>
                      <a:pt x="943" y="1863"/>
                    </a:lnTo>
                    <a:lnTo>
                      <a:pt x="948" y="1867"/>
                    </a:lnTo>
                    <a:lnTo>
                      <a:pt x="953" y="1871"/>
                    </a:lnTo>
                    <a:lnTo>
                      <a:pt x="959" y="1879"/>
                    </a:lnTo>
                    <a:lnTo>
                      <a:pt x="959" y="1975"/>
                    </a:lnTo>
                    <a:lnTo>
                      <a:pt x="959" y="1975"/>
                    </a:lnTo>
                    <a:lnTo>
                      <a:pt x="951" y="1984"/>
                    </a:lnTo>
                    <a:lnTo>
                      <a:pt x="943" y="1991"/>
                    </a:lnTo>
                    <a:lnTo>
                      <a:pt x="938" y="1995"/>
                    </a:lnTo>
                    <a:lnTo>
                      <a:pt x="931" y="1997"/>
                    </a:lnTo>
                    <a:lnTo>
                      <a:pt x="925" y="1998"/>
                    </a:lnTo>
                    <a:lnTo>
                      <a:pt x="916" y="2000"/>
                    </a:lnTo>
                    <a:lnTo>
                      <a:pt x="916" y="2000"/>
                    </a:lnTo>
                    <a:close/>
                    <a:moveTo>
                      <a:pt x="2278" y="1799"/>
                    </a:moveTo>
                    <a:lnTo>
                      <a:pt x="2278" y="1799"/>
                    </a:lnTo>
                    <a:lnTo>
                      <a:pt x="2272" y="1800"/>
                    </a:lnTo>
                    <a:lnTo>
                      <a:pt x="2265" y="1801"/>
                    </a:lnTo>
                    <a:lnTo>
                      <a:pt x="2250" y="1805"/>
                    </a:lnTo>
                    <a:lnTo>
                      <a:pt x="2237" y="1812"/>
                    </a:lnTo>
                    <a:lnTo>
                      <a:pt x="2225" y="1822"/>
                    </a:lnTo>
                    <a:lnTo>
                      <a:pt x="2225" y="1709"/>
                    </a:lnTo>
                    <a:lnTo>
                      <a:pt x="2164" y="1739"/>
                    </a:lnTo>
                    <a:lnTo>
                      <a:pt x="2164" y="2049"/>
                    </a:lnTo>
                    <a:lnTo>
                      <a:pt x="2225" y="2049"/>
                    </a:lnTo>
                    <a:lnTo>
                      <a:pt x="2225" y="2031"/>
                    </a:lnTo>
                    <a:lnTo>
                      <a:pt x="2225" y="2031"/>
                    </a:lnTo>
                    <a:lnTo>
                      <a:pt x="2230" y="2037"/>
                    </a:lnTo>
                    <a:lnTo>
                      <a:pt x="2237" y="2042"/>
                    </a:lnTo>
                    <a:lnTo>
                      <a:pt x="2243" y="2046"/>
                    </a:lnTo>
                    <a:lnTo>
                      <a:pt x="2250" y="2049"/>
                    </a:lnTo>
                    <a:lnTo>
                      <a:pt x="2257" y="2052"/>
                    </a:lnTo>
                    <a:lnTo>
                      <a:pt x="2265" y="2053"/>
                    </a:lnTo>
                    <a:lnTo>
                      <a:pt x="2272" y="2054"/>
                    </a:lnTo>
                    <a:lnTo>
                      <a:pt x="2280" y="2055"/>
                    </a:lnTo>
                    <a:lnTo>
                      <a:pt x="2280" y="2055"/>
                    </a:lnTo>
                    <a:lnTo>
                      <a:pt x="2291" y="2054"/>
                    </a:lnTo>
                    <a:lnTo>
                      <a:pt x="2302" y="2053"/>
                    </a:lnTo>
                    <a:lnTo>
                      <a:pt x="2311" y="2051"/>
                    </a:lnTo>
                    <a:lnTo>
                      <a:pt x="2321" y="2046"/>
                    </a:lnTo>
                    <a:lnTo>
                      <a:pt x="2329" y="2041"/>
                    </a:lnTo>
                    <a:lnTo>
                      <a:pt x="2337" y="2036"/>
                    </a:lnTo>
                    <a:lnTo>
                      <a:pt x="2344" y="2029"/>
                    </a:lnTo>
                    <a:lnTo>
                      <a:pt x="2350" y="2021"/>
                    </a:lnTo>
                    <a:lnTo>
                      <a:pt x="2356" y="2012"/>
                    </a:lnTo>
                    <a:lnTo>
                      <a:pt x="2361" y="2002"/>
                    </a:lnTo>
                    <a:lnTo>
                      <a:pt x="2365" y="1991"/>
                    </a:lnTo>
                    <a:lnTo>
                      <a:pt x="2368" y="1980"/>
                    </a:lnTo>
                    <a:lnTo>
                      <a:pt x="2372" y="1968"/>
                    </a:lnTo>
                    <a:lnTo>
                      <a:pt x="2373" y="1955"/>
                    </a:lnTo>
                    <a:lnTo>
                      <a:pt x="2374" y="1940"/>
                    </a:lnTo>
                    <a:lnTo>
                      <a:pt x="2376" y="1924"/>
                    </a:lnTo>
                    <a:lnTo>
                      <a:pt x="2376" y="1924"/>
                    </a:lnTo>
                    <a:lnTo>
                      <a:pt x="2374" y="1911"/>
                    </a:lnTo>
                    <a:lnTo>
                      <a:pt x="2373" y="1897"/>
                    </a:lnTo>
                    <a:lnTo>
                      <a:pt x="2371" y="1884"/>
                    </a:lnTo>
                    <a:lnTo>
                      <a:pt x="2368" y="1872"/>
                    </a:lnTo>
                    <a:lnTo>
                      <a:pt x="2365" y="1861"/>
                    </a:lnTo>
                    <a:lnTo>
                      <a:pt x="2360" y="1851"/>
                    </a:lnTo>
                    <a:lnTo>
                      <a:pt x="2355" y="1842"/>
                    </a:lnTo>
                    <a:lnTo>
                      <a:pt x="2349" y="1833"/>
                    </a:lnTo>
                    <a:lnTo>
                      <a:pt x="2343" y="1826"/>
                    </a:lnTo>
                    <a:lnTo>
                      <a:pt x="2336" y="1818"/>
                    </a:lnTo>
                    <a:lnTo>
                      <a:pt x="2327" y="1812"/>
                    </a:lnTo>
                    <a:lnTo>
                      <a:pt x="2319" y="1807"/>
                    </a:lnTo>
                    <a:lnTo>
                      <a:pt x="2310" y="1804"/>
                    </a:lnTo>
                    <a:lnTo>
                      <a:pt x="2300" y="1801"/>
                    </a:lnTo>
                    <a:lnTo>
                      <a:pt x="2289" y="1800"/>
                    </a:lnTo>
                    <a:lnTo>
                      <a:pt x="2278" y="1799"/>
                    </a:lnTo>
                    <a:lnTo>
                      <a:pt x="2278" y="1799"/>
                    </a:lnTo>
                    <a:close/>
                    <a:moveTo>
                      <a:pt x="2267" y="1855"/>
                    </a:moveTo>
                    <a:lnTo>
                      <a:pt x="2267" y="1855"/>
                    </a:lnTo>
                    <a:lnTo>
                      <a:pt x="2276" y="1856"/>
                    </a:lnTo>
                    <a:lnTo>
                      <a:pt x="2284" y="1859"/>
                    </a:lnTo>
                    <a:lnTo>
                      <a:pt x="2292" y="1863"/>
                    </a:lnTo>
                    <a:lnTo>
                      <a:pt x="2299" y="1871"/>
                    </a:lnTo>
                    <a:lnTo>
                      <a:pt x="2305" y="1879"/>
                    </a:lnTo>
                    <a:lnTo>
                      <a:pt x="2309" y="1891"/>
                    </a:lnTo>
                    <a:lnTo>
                      <a:pt x="2312" y="1906"/>
                    </a:lnTo>
                    <a:lnTo>
                      <a:pt x="2314" y="1923"/>
                    </a:lnTo>
                    <a:lnTo>
                      <a:pt x="2314" y="1923"/>
                    </a:lnTo>
                    <a:lnTo>
                      <a:pt x="2312" y="1941"/>
                    </a:lnTo>
                    <a:lnTo>
                      <a:pt x="2310" y="1957"/>
                    </a:lnTo>
                    <a:lnTo>
                      <a:pt x="2308" y="1969"/>
                    </a:lnTo>
                    <a:lnTo>
                      <a:pt x="2303" y="1980"/>
                    </a:lnTo>
                    <a:lnTo>
                      <a:pt x="2295" y="1989"/>
                    </a:lnTo>
                    <a:lnTo>
                      <a:pt x="2288" y="1995"/>
                    </a:lnTo>
                    <a:lnTo>
                      <a:pt x="2280" y="1998"/>
                    </a:lnTo>
                    <a:lnTo>
                      <a:pt x="2269" y="2000"/>
                    </a:lnTo>
                    <a:lnTo>
                      <a:pt x="2269" y="2000"/>
                    </a:lnTo>
                    <a:lnTo>
                      <a:pt x="2260" y="1998"/>
                    </a:lnTo>
                    <a:lnTo>
                      <a:pt x="2253" y="1997"/>
                    </a:lnTo>
                    <a:lnTo>
                      <a:pt x="2247" y="1993"/>
                    </a:lnTo>
                    <a:lnTo>
                      <a:pt x="2241" y="1991"/>
                    </a:lnTo>
                    <a:lnTo>
                      <a:pt x="2231" y="1983"/>
                    </a:lnTo>
                    <a:lnTo>
                      <a:pt x="2225" y="1976"/>
                    </a:lnTo>
                    <a:lnTo>
                      <a:pt x="2225" y="1879"/>
                    </a:lnTo>
                    <a:lnTo>
                      <a:pt x="2225" y="1879"/>
                    </a:lnTo>
                    <a:lnTo>
                      <a:pt x="2229" y="1874"/>
                    </a:lnTo>
                    <a:lnTo>
                      <a:pt x="2233" y="1869"/>
                    </a:lnTo>
                    <a:lnTo>
                      <a:pt x="2238" y="1865"/>
                    </a:lnTo>
                    <a:lnTo>
                      <a:pt x="2243" y="1861"/>
                    </a:lnTo>
                    <a:lnTo>
                      <a:pt x="2249" y="1859"/>
                    </a:lnTo>
                    <a:lnTo>
                      <a:pt x="2255" y="1856"/>
                    </a:lnTo>
                    <a:lnTo>
                      <a:pt x="2261" y="1855"/>
                    </a:lnTo>
                    <a:lnTo>
                      <a:pt x="2267" y="1855"/>
                    </a:lnTo>
                    <a:lnTo>
                      <a:pt x="2267" y="1855"/>
                    </a:lnTo>
                    <a:close/>
                    <a:moveTo>
                      <a:pt x="1591" y="1822"/>
                    </a:moveTo>
                    <a:lnTo>
                      <a:pt x="1591" y="1822"/>
                    </a:lnTo>
                    <a:lnTo>
                      <a:pt x="1586" y="1817"/>
                    </a:lnTo>
                    <a:lnTo>
                      <a:pt x="1580" y="1812"/>
                    </a:lnTo>
                    <a:lnTo>
                      <a:pt x="1572" y="1809"/>
                    </a:lnTo>
                    <a:lnTo>
                      <a:pt x="1566" y="1805"/>
                    </a:lnTo>
                    <a:lnTo>
                      <a:pt x="1559" y="1803"/>
                    </a:lnTo>
                    <a:lnTo>
                      <a:pt x="1552" y="1800"/>
                    </a:lnTo>
                    <a:lnTo>
                      <a:pt x="1544" y="1800"/>
                    </a:lnTo>
                    <a:lnTo>
                      <a:pt x="1537" y="1799"/>
                    </a:lnTo>
                    <a:lnTo>
                      <a:pt x="1537" y="1799"/>
                    </a:lnTo>
                    <a:lnTo>
                      <a:pt x="1526" y="1800"/>
                    </a:lnTo>
                    <a:lnTo>
                      <a:pt x="1515" y="1801"/>
                    </a:lnTo>
                    <a:lnTo>
                      <a:pt x="1506" y="1804"/>
                    </a:lnTo>
                    <a:lnTo>
                      <a:pt x="1497" y="1807"/>
                    </a:lnTo>
                    <a:lnTo>
                      <a:pt x="1489" y="1812"/>
                    </a:lnTo>
                    <a:lnTo>
                      <a:pt x="1480" y="1818"/>
                    </a:lnTo>
                    <a:lnTo>
                      <a:pt x="1473" y="1826"/>
                    </a:lnTo>
                    <a:lnTo>
                      <a:pt x="1467" y="1833"/>
                    </a:lnTo>
                    <a:lnTo>
                      <a:pt x="1461" y="1842"/>
                    </a:lnTo>
                    <a:lnTo>
                      <a:pt x="1456" y="1851"/>
                    </a:lnTo>
                    <a:lnTo>
                      <a:pt x="1451" y="1861"/>
                    </a:lnTo>
                    <a:lnTo>
                      <a:pt x="1447" y="1872"/>
                    </a:lnTo>
                    <a:lnTo>
                      <a:pt x="1445" y="1884"/>
                    </a:lnTo>
                    <a:lnTo>
                      <a:pt x="1442" y="1897"/>
                    </a:lnTo>
                    <a:lnTo>
                      <a:pt x="1441" y="1911"/>
                    </a:lnTo>
                    <a:lnTo>
                      <a:pt x="1441" y="1924"/>
                    </a:lnTo>
                    <a:lnTo>
                      <a:pt x="1441" y="1924"/>
                    </a:lnTo>
                    <a:lnTo>
                      <a:pt x="1441" y="1940"/>
                    </a:lnTo>
                    <a:lnTo>
                      <a:pt x="1442" y="1953"/>
                    </a:lnTo>
                    <a:lnTo>
                      <a:pt x="1445" y="1967"/>
                    </a:lnTo>
                    <a:lnTo>
                      <a:pt x="1447" y="1979"/>
                    </a:lnTo>
                    <a:lnTo>
                      <a:pt x="1451" y="1991"/>
                    </a:lnTo>
                    <a:lnTo>
                      <a:pt x="1455" y="2002"/>
                    </a:lnTo>
                    <a:lnTo>
                      <a:pt x="1461" y="2012"/>
                    </a:lnTo>
                    <a:lnTo>
                      <a:pt x="1465" y="2020"/>
                    </a:lnTo>
                    <a:lnTo>
                      <a:pt x="1473" y="2029"/>
                    </a:lnTo>
                    <a:lnTo>
                      <a:pt x="1479" y="2035"/>
                    </a:lnTo>
                    <a:lnTo>
                      <a:pt x="1487" y="2041"/>
                    </a:lnTo>
                    <a:lnTo>
                      <a:pt x="1496" y="2046"/>
                    </a:lnTo>
                    <a:lnTo>
                      <a:pt x="1504" y="2049"/>
                    </a:lnTo>
                    <a:lnTo>
                      <a:pt x="1514" y="2053"/>
                    </a:lnTo>
                    <a:lnTo>
                      <a:pt x="1525" y="2054"/>
                    </a:lnTo>
                    <a:lnTo>
                      <a:pt x="1536" y="2054"/>
                    </a:lnTo>
                    <a:lnTo>
                      <a:pt x="1536" y="2054"/>
                    </a:lnTo>
                    <a:lnTo>
                      <a:pt x="1543" y="2054"/>
                    </a:lnTo>
                    <a:lnTo>
                      <a:pt x="1551" y="2053"/>
                    </a:lnTo>
                    <a:lnTo>
                      <a:pt x="1558" y="2052"/>
                    </a:lnTo>
                    <a:lnTo>
                      <a:pt x="1565" y="2049"/>
                    </a:lnTo>
                    <a:lnTo>
                      <a:pt x="1572" y="2046"/>
                    </a:lnTo>
                    <a:lnTo>
                      <a:pt x="1578" y="2041"/>
                    </a:lnTo>
                    <a:lnTo>
                      <a:pt x="1585" y="2037"/>
                    </a:lnTo>
                    <a:lnTo>
                      <a:pt x="1591" y="2031"/>
                    </a:lnTo>
                    <a:lnTo>
                      <a:pt x="1591" y="2037"/>
                    </a:lnTo>
                    <a:lnTo>
                      <a:pt x="1591" y="2037"/>
                    </a:lnTo>
                    <a:lnTo>
                      <a:pt x="1591" y="2047"/>
                    </a:lnTo>
                    <a:lnTo>
                      <a:pt x="1589" y="2058"/>
                    </a:lnTo>
                    <a:lnTo>
                      <a:pt x="1587" y="2069"/>
                    </a:lnTo>
                    <a:lnTo>
                      <a:pt x="1585" y="2074"/>
                    </a:lnTo>
                    <a:lnTo>
                      <a:pt x="1581" y="2079"/>
                    </a:lnTo>
                    <a:lnTo>
                      <a:pt x="1577" y="2083"/>
                    </a:lnTo>
                    <a:lnTo>
                      <a:pt x="1572" y="2088"/>
                    </a:lnTo>
                    <a:lnTo>
                      <a:pt x="1565" y="2092"/>
                    </a:lnTo>
                    <a:lnTo>
                      <a:pt x="1558" y="2094"/>
                    </a:lnTo>
                    <a:lnTo>
                      <a:pt x="1549" y="2098"/>
                    </a:lnTo>
                    <a:lnTo>
                      <a:pt x="1538" y="2099"/>
                    </a:lnTo>
                    <a:lnTo>
                      <a:pt x="1526" y="2102"/>
                    </a:lnTo>
                    <a:lnTo>
                      <a:pt x="1513" y="2102"/>
                    </a:lnTo>
                    <a:lnTo>
                      <a:pt x="1510" y="2102"/>
                    </a:lnTo>
                    <a:lnTo>
                      <a:pt x="1531" y="2149"/>
                    </a:lnTo>
                    <a:lnTo>
                      <a:pt x="1532" y="2149"/>
                    </a:lnTo>
                    <a:lnTo>
                      <a:pt x="1532" y="2149"/>
                    </a:lnTo>
                    <a:lnTo>
                      <a:pt x="1547" y="2149"/>
                    </a:lnTo>
                    <a:lnTo>
                      <a:pt x="1560" y="2147"/>
                    </a:lnTo>
                    <a:lnTo>
                      <a:pt x="1574" y="2144"/>
                    </a:lnTo>
                    <a:lnTo>
                      <a:pt x="1585" y="2141"/>
                    </a:lnTo>
                    <a:lnTo>
                      <a:pt x="1595" y="2137"/>
                    </a:lnTo>
                    <a:lnTo>
                      <a:pt x="1605" y="2132"/>
                    </a:lnTo>
                    <a:lnTo>
                      <a:pt x="1614" y="2125"/>
                    </a:lnTo>
                    <a:lnTo>
                      <a:pt x="1622" y="2119"/>
                    </a:lnTo>
                    <a:lnTo>
                      <a:pt x="1630" y="2110"/>
                    </a:lnTo>
                    <a:lnTo>
                      <a:pt x="1634" y="2100"/>
                    </a:lnTo>
                    <a:lnTo>
                      <a:pt x="1640" y="2091"/>
                    </a:lnTo>
                    <a:lnTo>
                      <a:pt x="1644" y="2080"/>
                    </a:lnTo>
                    <a:lnTo>
                      <a:pt x="1648" y="2068"/>
                    </a:lnTo>
                    <a:lnTo>
                      <a:pt x="1650" y="2055"/>
                    </a:lnTo>
                    <a:lnTo>
                      <a:pt x="1651" y="2042"/>
                    </a:lnTo>
                    <a:lnTo>
                      <a:pt x="1651" y="2026"/>
                    </a:lnTo>
                    <a:lnTo>
                      <a:pt x="1651" y="1805"/>
                    </a:lnTo>
                    <a:lnTo>
                      <a:pt x="1591" y="1805"/>
                    </a:lnTo>
                    <a:lnTo>
                      <a:pt x="1591" y="1822"/>
                    </a:lnTo>
                    <a:close/>
                    <a:moveTo>
                      <a:pt x="1591" y="1879"/>
                    </a:moveTo>
                    <a:lnTo>
                      <a:pt x="1591" y="1975"/>
                    </a:lnTo>
                    <a:lnTo>
                      <a:pt x="1591" y="1975"/>
                    </a:lnTo>
                    <a:lnTo>
                      <a:pt x="1583" y="1984"/>
                    </a:lnTo>
                    <a:lnTo>
                      <a:pt x="1574" y="1992"/>
                    </a:lnTo>
                    <a:lnTo>
                      <a:pt x="1569" y="1995"/>
                    </a:lnTo>
                    <a:lnTo>
                      <a:pt x="1563" y="1997"/>
                    </a:lnTo>
                    <a:lnTo>
                      <a:pt x="1555" y="1998"/>
                    </a:lnTo>
                    <a:lnTo>
                      <a:pt x="1548" y="2000"/>
                    </a:lnTo>
                    <a:lnTo>
                      <a:pt x="1548" y="2000"/>
                    </a:lnTo>
                    <a:lnTo>
                      <a:pt x="1540" y="1998"/>
                    </a:lnTo>
                    <a:lnTo>
                      <a:pt x="1532" y="1996"/>
                    </a:lnTo>
                    <a:lnTo>
                      <a:pt x="1524" y="1991"/>
                    </a:lnTo>
                    <a:lnTo>
                      <a:pt x="1518" y="1985"/>
                    </a:lnTo>
                    <a:lnTo>
                      <a:pt x="1512" y="1975"/>
                    </a:lnTo>
                    <a:lnTo>
                      <a:pt x="1507" y="1962"/>
                    </a:lnTo>
                    <a:lnTo>
                      <a:pt x="1503" y="1945"/>
                    </a:lnTo>
                    <a:lnTo>
                      <a:pt x="1502" y="1923"/>
                    </a:lnTo>
                    <a:lnTo>
                      <a:pt x="1502" y="1923"/>
                    </a:lnTo>
                    <a:lnTo>
                      <a:pt x="1503" y="1904"/>
                    </a:lnTo>
                    <a:lnTo>
                      <a:pt x="1507" y="1889"/>
                    </a:lnTo>
                    <a:lnTo>
                      <a:pt x="1512" y="1877"/>
                    </a:lnTo>
                    <a:lnTo>
                      <a:pt x="1518" y="1868"/>
                    </a:lnTo>
                    <a:lnTo>
                      <a:pt x="1524" y="1861"/>
                    </a:lnTo>
                    <a:lnTo>
                      <a:pt x="1532" y="1857"/>
                    </a:lnTo>
                    <a:lnTo>
                      <a:pt x="1540" y="1855"/>
                    </a:lnTo>
                    <a:lnTo>
                      <a:pt x="1548" y="1855"/>
                    </a:lnTo>
                    <a:lnTo>
                      <a:pt x="1548" y="1855"/>
                    </a:lnTo>
                    <a:lnTo>
                      <a:pt x="1555" y="1855"/>
                    </a:lnTo>
                    <a:lnTo>
                      <a:pt x="1563" y="1857"/>
                    </a:lnTo>
                    <a:lnTo>
                      <a:pt x="1570" y="1860"/>
                    </a:lnTo>
                    <a:lnTo>
                      <a:pt x="1575" y="1862"/>
                    </a:lnTo>
                    <a:lnTo>
                      <a:pt x="1580" y="1867"/>
                    </a:lnTo>
                    <a:lnTo>
                      <a:pt x="1585" y="1871"/>
                    </a:lnTo>
                    <a:lnTo>
                      <a:pt x="1591" y="1879"/>
                    </a:lnTo>
                    <a:lnTo>
                      <a:pt x="1591" y="1879"/>
                    </a:lnTo>
                    <a:close/>
                    <a:moveTo>
                      <a:pt x="1840" y="1865"/>
                    </a:moveTo>
                    <a:lnTo>
                      <a:pt x="1840" y="1865"/>
                    </a:lnTo>
                    <a:lnTo>
                      <a:pt x="1854" y="1857"/>
                    </a:lnTo>
                    <a:lnTo>
                      <a:pt x="1869" y="1852"/>
                    </a:lnTo>
                    <a:lnTo>
                      <a:pt x="1885" y="1849"/>
                    </a:lnTo>
                    <a:lnTo>
                      <a:pt x="1902" y="1848"/>
                    </a:lnTo>
                    <a:lnTo>
                      <a:pt x="1902" y="1848"/>
                    </a:lnTo>
                    <a:lnTo>
                      <a:pt x="1913" y="1849"/>
                    </a:lnTo>
                    <a:lnTo>
                      <a:pt x="1921" y="1850"/>
                    </a:lnTo>
                    <a:lnTo>
                      <a:pt x="1928" y="1852"/>
                    </a:lnTo>
                    <a:lnTo>
                      <a:pt x="1935" y="1857"/>
                    </a:lnTo>
                    <a:lnTo>
                      <a:pt x="1939" y="1862"/>
                    </a:lnTo>
                    <a:lnTo>
                      <a:pt x="1943" y="1868"/>
                    </a:lnTo>
                    <a:lnTo>
                      <a:pt x="1945" y="1874"/>
                    </a:lnTo>
                    <a:lnTo>
                      <a:pt x="1945" y="1883"/>
                    </a:lnTo>
                    <a:lnTo>
                      <a:pt x="1945" y="1900"/>
                    </a:lnTo>
                    <a:lnTo>
                      <a:pt x="1945" y="1900"/>
                    </a:lnTo>
                    <a:lnTo>
                      <a:pt x="1935" y="1895"/>
                    </a:lnTo>
                    <a:lnTo>
                      <a:pt x="1921" y="1891"/>
                    </a:lnTo>
                    <a:lnTo>
                      <a:pt x="1908" y="1889"/>
                    </a:lnTo>
                    <a:lnTo>
                      <a:pt x="1893" y="1888"/>
                    </a:lnTo>
                    <a:lnTo>
                      <a:pt x="1893" y="1888"/>
                    </a:lnTo>
                    <a:lnTo>
                      <a:pt x="1876" y="1889"/>
                    </a:lnTo>
                    <a:lnTo>
                      <a:pt x="1859" y="1893"/>
                    </a:lnTo>
                    <a:lnTo>
                      <a:pt x="1843" y="1897"/>
                    </a:lnTo>
                    <a:lnTo>
                      <a:pt x="1835" y="1901"/>
                    </a:lnTo>
                    <a:lnTo>
                      <a:pt x="1828" y="1906"/>
                    </a:lnTo>
                    <a:lnTo>
                      <a:pt x="1822" y="1911"/>
                    </a:lnTo>
                    <a:lnTo>
                      <a:pt x="1815" y="1917"/>
                    </a:lnTo>
                    <a:lnTo>
                      <a:pt x="1809" y="1923"/>
                    </a:lnTo>
                    <a:lnTo>
                      <a:pt x="1805" y="1930"/>
                    </a:lnTo>
                    <a:lnTo>
                      <a:pt x="1801" y="1939"/>
                    </a:lnTo>
                    <a:lnTo>
                      <a:pt x="1798" y="1948"/>
                    </a:lnTo>
                    <a:lnTo>
                      <a:pt x="1797" y="1958"/>
                    </a:lnTo>
                    <a:lnTo>
                      <a:pt x="1796" y="1968"/>
                    </a:lnTo>
                    <a:lnTo>
                      <a:pt x="1796" y="1968"/>
                    </a:lnTo>
                    <a:lnTo>
                      <a:pt x="1797" y="1980"/>
                    </a:lnTo>
                    <a:lnTo>
                      <a:pt x="1798" y="1991"/>
                    </a:lnTo>
                    <a:lnTo>
                      <a:pt x="1801" y="2000"/>
                    </a:lnTo>
                    <a:lnTo>
                      <a:pt x="1805" y="2009"/>
                    </a:lnTo>
                    <a:lnTo>
                      <a:pt x="1808" y="2017"/>
                    </a:lnTo>
                    <a:lnTo>
                      <a:pt x="1814" y="2024"/>
                    </a:lnTo>
                    <a:lnTo>
                      <a:pt x="1819" y="2030"/>
                    </a:lnTo>
                    <a:lnTo>
                      <a:pt x="1826" y="2036"/>
                    </a:lnTo>
                    <a:lnTo>
                      <a:pt x="1832" y="2041"/>
                    </a:lnTo>
                    <a:lnTo>
                      <a:pt x="1840" y="2045"/>
                    </a:lnTo>
                    <a:lnTo>
                      <a:pt x="1856" y="2051"/>
                    </a:lnTo>
                    <a:lnTo>
                      <a:pt x="1871" y="2054"/>
                    </a:lnTo>
                    <a:lnTo>
                      <a:pt x="1887" y="2055"/>
                    </a:lnTo>
                    <a:lnTo>
                      <a:pt x="1887" y="2055"/>
                    </a:lnTo>
                    <a:lnTo>
                      <a:pt x="1901" y="2053"/>
                    </a:lnTo>
                    <a:lnTo>
                      <a:pt x="1909" y="2052"/>
                    </a:lnTo>
                    <a:lnTo>
                      <a:pt x="1916" y="2049"/>
                    </a:lnTo>
                    <a:lnTo>
                      <a:pt x="1925" y="2046"/>
                    </a:lnTo>
                    <a:lnTo>
                      <a:pt x="1932" y="2041"/>
                    </a:lnTo>
                    <a:lnTo>
                      <a:pt x="1939" y="2036"/>
                    </a:lnTo>
                    <a:lnTo>
                      <a:pt x="1945" y="2030"/>
                    </a:lnTo>
                    <a:lnTo>
                      <a:pt x="1945" y="2049"/>
                    </a:lnTo>
                    <a:lnTo>
                      <a:pt x="2006" y="2049"/>
                    </a:lnTo>
                    <a:lnTo>
                      <a:pt x="2006" y="1884"/>
                    </a:lnTo>
                    <a:lnTo>
                      <a:pt x="2006" y="1884"/>
                    </a:lnTo>
                    <a:lnTo>
                      <a:pt x="2006" y="1874"/>
                    </a:lnTo>
                    <a:lnTo>
                      <a:pt x="2005" y="1866"/>
                    </a:lnTo>
                    <a:lnTo>
                      <a:pt x="2003" y="1857"/>
                    </a:lnTo>
                    <a:lnTo>
                      <a:pt x="2000" y="1849"/>
                    </a:lnTo>
                    <a:lnTo>
                      <a:pt x="1995" y="1842"/>
                    </a:lnTo>
                    <a:lnTo>
                      <a:pt x="1992" y="1834"/>
                    </a:lnTo>
                    <a:lnTo>
                      <a:pt x="1986" y="1828"/>
                    </a:lnTo>
                    <a:lnTo>
                      <a:pt x="1979" y="1822"/>
                    </a:lnTo>
                    <a:lnTo>
                      <a:pt x="1973" y="1817"/>
                    </a:lnTo>
                    <a:lnTo>
                      <a:pt x="1966" y="1812"/>
                    </a:lnTo>
                    <a:lnTo>
                      <a:pt x="1958" y="1809"/>
                    </a:lnTo>
                    <a:lnTo>
                      <a:pt x="1949" y="1805"/>
                    </a:lnTo>
                    <a:lnTo>
                      <a:pt x="1939" y="1803"/>
                    </a:lnTo>
                    <a:lnTo>
                      <a:pt x="1930" y="1801"/>
                    </a:lnTo>
                    <a:lnTo>
                      <a:pt x="1919" y="1800"/>
                    </a:lnTo>
                    <a:lnTo>
                      <a:pt x="1908" y="1799"/>
                    </a:lnTo>
                    <a:lnTo>
                      <a:pt x="1908" y="1799"/>
                    </a:lnTo>
                    <a:lnTo>
                      <a:pt x="1894" y="1800"/>
                    </a:lnTo>
                    <a:lnTo>
                      <a:pt x="1883" y="1800"/>
                    </a:lnTo>
                    <a:lnTo>
                      <a:pt x="1871" y="1803"/>
                    </a:lnTo>
                    <a:lnTo>
                      <a:pt x="1859" y="1805"/>
                    </a:lnTo>
                    <a:lnTo>
                      <a:pt x="1848" y="1809"/>
                    </a:lnTo>
                    <a:lnTo>
                      <a:pt x="1837" y="1812"/>
                    </a:lnTo>
                    <a:lnTo>
                      <a:pt x="1826" y="1817"/>
                    </a:lnTo>
                    <a:lnTo>
                      <a:pt x="1815" y="1823"/>
                    </a:lnTo>
                    <a:lnTo>
                      <a:pt x="1840" y="1865"/>
                    </a:lnTo>
                    <a:close/>
                    <a:moveTo>
                      <a:pt x="1857" y="1968"/>
                    </a:moveTo>
                    <a:lnTo>
                      <a:pt x="1857" y="1968"/>
                    </a:lnTo>
                    <a:lnTo>
                      <a:pt x="1857" y="1961"/>
                    </a:lnTo>
                    <a:lnTo>
                      <a:pt x="1859" y="1953"/>
                    </a:lnTo>
                    <a:lnTo>
                      <a:pt x="1863" y="1947"/>
                    </a:lnTo>
                    <a:lnTo>
                      <a:pt x="1868" y="1942"/>
                    </a:lnTo>
                    <a:lnTo>
                      <a:pt x="1874" y="1939"/>
                    </a:lnTo>
                    <a:lnTo>
                      <a:pt x="1881" y="1936"/>
                    </a:lnTo>
                    <a:lnTo>
                      <a:pt x="1890" y="1934"/>
                    </a:lnTo>
                    <a:lnTo>
                      <a:pt x="1898" y="1934"/>
                    </a:lnTo>
                    <a:lnTo>
                      <a:pt x="1898" y="1934"/>
                    </a:lnTo>
                    <a:lnTo>
                      <a:pt x="1911" y="1934"/>
                    </a:lnTo>
                    <a:lnTo>
                      <a:pt x="1924" y="1936"/>
                    </a:lnTo>
                    <a:lnTo>
                      <a:pt x="1935" y="1940"/>
                    </a:lnTo>
                    <a:lnTo>
                      <a:pt x="1945" y="1946"/>
                    </a:lnTo>
                    <a:lnTo>
                      <a:pt x="1945" y="1979"/>
                    </a:lnTo>
                    <a:lnTo>
                      <a:pt x="1945" y="1979"/>
                    </a:lnTo>
                    <a:lnTo>
                      <a:pt x="1943" y="1984"/>
                    </a:lnTo>
                    <a:lnTo>
                      <a:pt x="1938" y="1989"/>
                    </a:lnTo>
                    <a:lnTo>
                      <a:pt x="1933" y="1993"/>
                    </a:lnTo>
                    <a:lnTo>
                      <a:pt x="1927" y="1997"/>
                    </a:lnTo>
                    <a:lnTo>
                      <a:pt x="1921" y="2001"/>
                    </a:lnTo>
                    <a:lnTo>
                      <a:pt x="1914" y="2003"/>
                    </a:lnTo>
                    <a:lnTo>
                      <a:pt x="1907" y="2004"/>
                    </a:lnTo>
                    <a:lnTo>
                      <a:pt x="1898" y="2006"/>
                    </a:lnTo>
                    <a:lnTo>
                      <a:pt x="1898" y="2006"/>
                    </a:lnTo>
                    <a:lnTo>
                      <a:pt x="1890" y="2004"/>
                    </a:lnTo>
                    <a:lnTo>
                      <a:pt x="1881" y="2002"/>
                    </a:lnTo>
                    <a:lnTo>
                      <a:pt x="1874" y="2000"/>
                    </a:lnTo>
                    <a:lnTo>
                      <a:pt x="1868" y="1995"/>
                    </a:lnTo>
                    <a:lnTo>
                      <a:pt x="1863" y="1990"/>
                    </a:lnTo>
                    <a:lnTo>
                      <a:pt x="1859" y="1984"/>
                    </a:lnTo>
                    <a:lnTo>
                      <a:pt x="1858" y="1976"/>
                    </a:lnTo>
                    <a:lnTo>
                      <a:pt x="1857" y="1968"/>
                    </a:lnTo>
                    <a:lnTo>
                      <a:pt x="1857" y="1968"/>
                    </a:lnTo>
                    <a:close/>
                    <a:moveTo>
                      <a:pt x="2569" y="1979"/>
                    </a:moveTo>
                    <a:lnTo>
                      <a:pt x="2569" y="1979"/>
                    </a:lnTo>
                    <a:lnTo>
                      <a:pt x="2560" y="1986"/>
                    </a:lnTo>
                    <a:lnTo>
                      <a:pt x="2549" y="1992"/>
                    </a:lnTo>
                    <a:lnTo>
                      <a:pt x="2543" y="1995"/>
                    </a:lnTo>
                    <a:lnTo>
                      <a:pt x="2536" y="1997"/>
                    </a:lnTo>
                    <a:lnTo>
                      <a:pt x="2529" y="1998"/>
                    </a:lnTo>
                    <a:lnTo>
                      <a:pt x="2521" y="2000"/>
                    </a:lnTo>
                    <a:lnTo>
                      <a:pt x="2521" y="2000"/>
                    </a:lnTo>
                    <a:lnTo>
                      <a:pt x="2515" y="1998"/>
                    </a:lnTo>
                    <a:lnTo>
                      <a:pt x="2508" y="1998"/>
                    </a:lnTo>
                    <a:lnTo>
                      <a:pt x="2500" y="1996"/>
                    </a:lnTo>
                    <a:lnTo>
                      <a:pt x="2490" y="1991"/>
                    </a:lnTo>
                    <a:lnTo>
                      <a:pt x="2481" y="1985"/>
                    </a:lnTo>
                    <a:lnTo>
                      <a:pt x="2478" y="1980"/>
                    </a:lnTo>
                    <a:lnTo>
                      <a:pt x="2474" y="1975"/>
                    </a:lnTo>
                    <a:lnTo>
                      <a:pt x="2472" y="1969"/>
                    </a:lnTo>
                    <a:lnTo>
                      <a:pt x="2469" y="1962"/>
                    </a:lnTo>
                    <a:lnTo>
                      <a:pt x="2468" y="1955"/>
                    </a:lnTo>
                    <a:lnTo>
                      <a:pt x="2467" y="1946"/>
                    </a:lnTo>
                    <a:lnTo>
                      <a:pt x="2616" y="1946"/>
                    </a:lnTo>
                    <a:lnTo>
                      <a:pt x="2616" y="1946"/>
                    </a:lnTo>
                    <a:lnTo>
                      <a:pt x="2617" y="1928"/>
                    </a:lnTo>
                    <a:lnTo>
                      <a:pt x="2617" y="1928"/>
                    </a:lnTo>
                    <a:lnTo>
                      <a:pt x="2617" y="1913"/>
                    </a:lnTo>
                    <a:lnTo>
                      <a:pt x="2615" y="1900"/>
                    </a:lnTo>
                    <a:lnTo>
                      <a:pt x="2614" y="1886"/>
                    </a:lnTo>
                    <a:lnTo>
                      <a:pt x="2610" y="1874"/>
                    </a:lnTo>
                    <a:lnTo>
                      <a:pt x="2607" y="1863"/>
                    </a:lnTo>
                    <a:lnTo>
                      <a:pt x="2602" y="1852"/>
                    </a:lnTo>
                    <a:lnTo>
                      <a:pt x="2596" y="1843"/>
                    </a:lnTo>
                    <a:lnTo>
                      <a:pt x="2589" y="1834"/>
                    </a:lnTo>
                    <a:lnTo>
                      <a:pt x="2582" y="1826"/>
                    </a:lnTo>
                    <a:lnTo>
                      <a:pt x="2575" y="1820"/>
                    </a:lnTo>
                    <a:lnTo>
                      <a:pt x="2566" y="1814"/>
                    </a:lnTo>
                    <a:lnTo>
                      <a:pt x="2557" y="1809"/>
                    </a:lnTo>
                    <a:lnTo>
                      <a:pt x="2547" y="1805"/>
                    </a:lnTo>
                    <a:lnTo>
                      <a:pt x="2537" y="1801"/>
                    </a:lnTo>
                    <a:lnTo>
                      <a:pt x="2526" y="1800"/>
                    </a:lnTo>
                    <a:lnTo>
                      <a:pt x="2514" y="1799"/>
                    </a:lnTo>
                    <a:lnTo>
                      <a:pt x="2514" y="1799"/>
                    </a:lnTo>
                    <a:lnTo>
                      <a:pt x="2503" y="1800"/>
                    </a:lnTo>
                    <a:lnTo>
                      <a:pt x="2492" y="1801"/>
                    </a:lnTo>
                    <a:lnTo>
                      <a:pt x="2481" y="1805"/>
                    </a:lnTo>
                    <a:lnTo>
                      <a:pt x="2470" y="1809"/>
                    </a:lnTo>
                    <a:lnTo>
                      <a:pt x="2461" y="1814"/>
                    </a:lnTo>
                    <a:lnTo>
                      <a:pt x="2452" y="1821"/>
                    </a:lnTo>
                    <a:lnTo>
                      <a:pt x="2444" y="1827"/>
                    </a:lnTo>
                    <a:lnTo>
                      <a:pt x="2436" y="1835"/>
                    </a:lnTo>
                    <a:lnTo>
                      <a:pt x="2429" y="1844"/>
                    </a:lnTo>
                    <a:lnTo>
                      <a:pt x="2423" y="1854"/>
                    </a:lnTo>
                    <a:lnTo>
                      <a:pt x="2418" y="1865"/>
                    </a:lnTo>
                    <a:lnTo>
                      <a:pt x="2413" y="1876"/>
                    </a:lnTo>
                    <a:lnTo>
                      <a:pt x="2410" y="1888"/>
                    </a:lnTo>
                    <a:lnTo>
                      <a:pt x="2407" y="1901"/>
                    </a:lnTo>
                    <a:lnTo>
                      <a:pt x="2406" y="1913"/>
                    </a:lnTo>
                    <a:lnTo>
                      <a:pt x="2405" y="1928"/>
                    </a:lnTo>
                    <a:lnTo>
                      <a:pt x="2405" y="1928"/>
                    </a:lnTo>
                    <a:lnTo>
                      <a:pt x="2406" y="1941"/>
                    </a:lnTo>
                    <a:lnTo>
                      <a:pt x="2407" y="1955"/>
                    </a:lnTo>
                    <a:lnTo>
                      <a:pt x="2410" y="1968"/>
                    </a:lnTo>
                    <a:lnTo>
                      <a:pt x="2413" y="1980"/>
                    </a:lnTo>
                    <a:lnTo>
                      <a:pt x="2418" y="1991"/>
                    </a:lnTo>
                    <a:lnTo>
                      <a:pt x="2423" y="2002"/>
                    </a:lnTo>
                    <a:lnTo>
                      <a:pt x="2429" y="2012"/>
                    </a:lnTo>
                    <a:lnTo>
                      <a:pt x="2436" y="2020"/>
                    </a:lnTo>
                    <a:lnTo>
                      <a:pt x="2445" y="2028"/>
                    </a:lnTo>
                    <a:lnTo>
                      <a:pt x="2453" y="2035"/>
                    </a:lnTo>
                    <a:lnTo>
                      <a:pt x="2463" y="2041"/>
                    </a:lnTo>
                    <a:lnTo>
                      <a:pt x="2473" y="2046"/>
                    </a:lnTo>
                    <a:lnTo>
                      <a:pt x="2484" y="2049"/>
                    </a:lnTo>
                    <a:lnTo>
                      <a:pt x="2496" y="2053"/>
                    </a:lnTo>
                    <a:lnTo>
                      <a:pt x="2508" y="2054"/>
                    </a:lnTo>
                    <a:lnTo>
                      <a:pt x="2521" y="2055"/>
                    </a:lnTo>
                    <a:lnTo>
                      <a:pt x="2521" y="2055"/>
                    </a:lnTo>
                    <a:lnTo>
                      <a:pt x="2534" y="2054"/>
                    </a:lnTo>
                    <a:lnTo>
                      <a:pt x="2545" y="2053"/>
                    </a:lnTo>
                    <a:lnTo>
                      <a:pt x="2557" y="2049"/>
                    </a:lnTo>
                    <a:lnTo>
                      <a:pt x="2568" y="2046"/>
                    </a:lnTo>
                    <a:lnTo>
                      <a:pt x="2579" y="2040"/>
                    </a:lnTo>
                    <a:lnTo>
                      <a:pt x="2588" y="2034"/>
                    </a:lnTo>
                    <a:lnTo>
                      <a:pt x="2598" y="2025"/>
                    </a:lnTo>
                    <a:lnTo>
                      <a:pt x="2608" y="2017"/>
                    </a:lnTo>
                    <a:lnTo>
                      <a:pt x="2569" y="1979"/>
                    </a:lnTo>
                    <a:close/>
                    <a:moveTo>
                      <a:pt x="2468" y="1901"/>
                    </a:moveTo>
                    <a:lnTo>
                      <a:pt x="2468" y="1901"/>
                    </a:lnTo>
                    <a:lnTo>
                      <a:pt x="2469" y="1890"/>
                    </a:lnTo>
                    <a:lnTo>
                      <a:pt x="2472" y="1880"/>
                    </a:lnTo>
                    <a:lnTo>
                      <a:pt x="2475" y="1872"/>
                    </a:lnTo>
                    <a:lnTo>
                      <a:pt x="2481" y="1865"/>
                    </a:lnTo>
                    <a:lnTo>
                      <a:pt x="2487" y="1859"/>
                    </a:lnTo>
                    <a:lnTo>
                      <a:pt x="2495" y="1855"/>
                    </a:lnTo>
                    <a:lnTo>
                      <a:pt x="2503" y="1851"/>
                    </a:lnTo>
                    <a:lnTo>
                      <a:pt x="2513" y="1851"/>
                    </a:lnTo>
                    <a:lnTo>
                      <a:pt x="2513" y="1851"/>
                    </a:lnTo>
                    <a:lnTo>
                      <a:pt x="2524" y="1852"/>
                    </a:lnTo>
                    <a:lnTo>
                      <a:pt x="2534" y="1855"/>
                    </a:lnTo>
                    <a:lnTo>
                      <a:pt x="2541" y="1860"/>
                    </a:lnTo>
                    <a:lnTo>
                      <a:pt x="2547" y="1867"/>
                    </a:lnTo>
                    <a:lnTo>
                      <a:pt x="2552" y="1874"/>
                    </a:lnTo>
                    <a:lnTo>
                      <a:pt x="2555" y="1883"/>
                    </a:lnTo>
                    <a:lnTo>
                      <a:pt x="2558" y="1893"/>
                    </a:lnTo>
                    <a:lnTo>
                      <a:pt x="2559" y="1901"/>
                    </a:lnTo>
                    <a:lnTo>
                      <a:pt x="2468" y="1901"/>
                    </a:lnTo>
                    <a:close/>
                    <a:moveTo>
                      <a:pt x="3153" y="1979"/>
                    </a:moveTo>
                    <a:lnTo>
                      <a:pt x="3153" y="1979"/>
                    </a:lnTo>
                    <a:lnTo>
                      <a:pt x="3144" y="1986"/>
                    </a:lnTo>
                    <a:lnTo>
                      <a:pt x="3134" y="1992"/>
                    </a:lnTo>
                    <a:lnTo>
                      <a:pt x="3127" y="1995"/>
                    </a:lnTo>
                    <a:lnTo>
                      <a:pt x="3121" y="1997"/>
                    </a:lnTo>
                    <a:lnTo>
                      <a:pt x="3113" y="1998"/>
                    </a:lnTo>
                    <a:lnTo>
                      <a:pt x="3105" y="2000"/>
                    </a:lnTo>
                    <a:lnTo>
                      <a:pt x="3105" y="2000"/>
                    </a:lnTo>
                    <a:lnTo>
                      <a:pt x="3099" y="1998"/>
                    </a:lnTo>
                    <a:lnTo>
                      <a:pt x="3091" y="1998"/>
                    </a:lnTo>
                    <a:lnTo>
                      <a:pt x="3083" y="1996"/>
                    </a:lnTo>
                    <a:lnTo>
                      <a:pt x="3074" y="1991"/>
                    </a:lnTo>
                    <a:lnTo>
                      <a:pt x="3066" y="1985"/>
                    </a:lnTo>
                    <a:lnTo>
                      <a:pt x="3062" y="1980"/>
                    </a:lnTo>
                    <a:lnTo>
                      <a:pt x="3059" y="1975"/>
                    </a:lnTo>
                    <a:lnTo>
                      <a:pt x="3056" y="1969"/>
                    </a:lnTo>
                    <a:lnTo>
                      <a:pt x="3054" y="1962"/>
                    </a:lnTo>
                    <a:lnTo>
                      <a:pt x="3051" y="1955"/>
                    </a:lnTo>
                    <a:lnTo>
                      <a:pt x="3050" y="1946"/>
                    </a:lnTo>
                    <a:lnTo>
                      <a:pt x="3201" y="1946"/>
                    </a:lnTo>
                    <a:lnTo>
                      <a:pt x="3201" y="1946"/>
                    </a:lnTo>
                    <a:lnTo>
                      <a:pt x="3202" y="1928"/>
                    </a:lnTo>
                    <a:lnTo>
                      <a:pt x="3202" y="1928"/>
                    </a:lnTo>
                    <a:lnTo>
                      <a:pt x="3201" y="1913"/>
                    </a:lnTo>
                    <a:lnTo>
                      <a:pt x="3199" y="1900"/>
                    </a:lnTo>
                    <a:lnTo>
                      <a:pt x="3197" y="1886"/>
                    </a:lnTo>
                    <a:lnTo>
                      <a:pt x="3195" y="1874"/>
                    </a:lnTo>
                    <a:lnTo>
                      <a:pt x="3190" y="1863"/>
                    </a:lnTo>
                    <a:lnTo>
                      <a:pt x="3185" y="1852"/>
                    </a:lnTo>
                    <a:lnTo>
                      <a:pt x="3180" y="1843"/>
                    </a:lnTo>
                    <a:lnTo>
                      <a:pt x="3174" y="1834"/>
                    </a:lnTo>
                    <a:lnTo>
                      <a:pt x="3167" y="1826"/>
                    </a:lnTo>
                    <a:lnTo>
                      <a:pt x="3158" y="1820"/>
                    </a:lnTo>
                    <a:lnTo>
                      <a:pt x="3150" y="1814"/>
                    </a:lnTo>
                    <a:lnTo>
                      <a:pt x="3141" y="1809"/>
                    </a:lnTo>
                    <a:lnTo>
                      <a:pt x="3131" y="1805"/>
                    </a:lnTo>
                    <a:lnTo>
                      <a:pt x="3121" y="1801"/>
                    </a:lnTo>
                    <a:lnTo>
                      <a:pt x="3110" y="1800"/>
                    </a:lnTo>
                    <a:lnTo>
                      <a:pt x="3099" y="1799"/>
                    </a:lnTo>
                    <a:lnTo>
                      <a:pt x="3099" y="1799"/>
                    </a:lnTo>
                    <a:lnTo>
                      <a:pt x="3086" y="1800"/>
                    </a:lnTo>
                    <a:lnTo>
                      <a:pt x="3076" y="1801"/>
                    </a:lnTo>
                    <a:lnTo>
                      <a:pt x="3065" y="1805"/>
                    </a:lnTo>
                    <a:lnTo>
                      <a:pt x="3055" y="1809"/>
                    </a:lnTo>
                    <a:lnTo>
                      <a:pt x="3045" y="1814"/>
                    </a:lnTo>
                    <a:lnTo>
                      <a:pt x="3035" y="1821"/>
                    </a:lnTo>
                    <a:lnTo>
                      <a:pt x="3028" y="1827"/>
                    </a:lnTo>
                    <a:lnTo>
                      <a:pt x="3020" y="1835"/>
                    </a:lnTo>
                    <a:lnTo>
                      <a:pt x="3012" y="1844"/>
                    </a:lnTo>
                    <a:lnTo>
                      <a:pt x="3006" y="1854"/>
                    </a:lnTo>
                    <a:lnTo>
                      <a:pt x="3001" y="1865"/>
                    </a:lnTo>
                    <a:lnTo>
                      <a:pt x="2997" y="1876"/>
                    </a:lnTo>
                    <a:lnTo>
                      <a:pt x="2994" y="1888"/>
                    </a:lnTo>
                    <a:lnTo>
                      <a:pt x="2990" y="1901"/>
                    </a:lnTo>
                    <a:lnTo>
                      <a:pt x="2989" y="1913"/>
                    </a:lnTo>
                    <a:lnTo>
                      <a:pt x="2989" y="1928"/>
                    </a:lnTo>
                    <a:lnTo>
                      <a:pt x="2989" y="1928"/>
                    </a:lnTo>
                    <a:lnTo>
                      <a:pt x="2989" y="1941"/>
                    </a:lnTo>
                    <a:lnTo>
                      <a:pt x="2990" y="1955"/>
                    </a:lnTo>
                    <a:lnTo>
                      <a:pt x="2993" y="1968"/>
                    </a:lnTo>
                    <a:lnTo>
                      <a:pt x="2997" y="1980"/>
                    </a:lnTo>
                    <a:lnTo>
                      <a:pt x="3001" y="1991"/>
                    </a:lnTo>
                    <a:lnTo>
                      <a:pt x="3008" y="2002"/>
                    </a:lnTo>
                    <a:lnTo>
                      <a:pt x="3014" y="2012"/>
                    </a:lnTo>
                    <a:lnTo>
                      <a:pt x="3021" y="2020"/>
                    </a:lnTo>
                    <a:lnTo>
                      <a:pt x="3028" y="2028"/>
                    </a:lnTo>
                    <a:lnTo>
                      <a:pt x="3037" y="2035"/>
                    </a:lnTo>
                    <a:lnTo>
                      <a:pt x="3046" y="2041"/>
                    </a:lnTo>
                    <a:lnTo>
                      <a:pt x="3057" y="2046"/>
                    </a:lnTo>
                    <a:lnTo>
                      <a:pt x="3068" y="2049"/>
                    </a:lnTo>
                    <a:lnTo>
                      <a:pt x="3079" y="2053"/>
                    </a:lnTo>
                    <a:lnTo>
                      <a:pt x="3093" y="2054"/>
                    </a:lnTo>
                    <a:lnTo>
                      <a:pt x="3105" y="2055"/>
                    </a:lnTo>
                    <a:lnTo>
                      <a:pt x="3105" y="2055"/>
                    </a:lnTo>
                    <a:lnTo>
                      <a:pt x="3117" y="2054"/>
                    </a:lnTo>
                    <a:lnTo>
                      <a:pt x="3129" y="2053"/>
                    </a:lnTo>
                    <a:lnTo>
                      <a:pt x="3140" y="2049"/>
                    </a:lnTo>
                    <a:lnTo>
                      <a:pt x="3151" y="2046"/>
                    </a:lnTo>
                    <a:lnTo>
                      <a:pt x="3162" y="2040"/>
                    </a:lnTo>
                    <a:lnTo>
                      <a:pt x="3173" y="2034"/>
                    </a:lnTo>
                    <a:lnTo>
                      <a:pt x="3182" y="2025"/>
                    </a:lnTo>
                    <a:lnTo>
                      <a:pt x="3191" y="2017"/>
                    </a:lnTo>
                    <a:lnTo>
                      <a:pt x="3153" y="1979"/>
                    </a:lnTo>
                    <a:close/>
                    <a:moveTo>
                      <a:pt x="3051" y="1901"/>
                    </a:moveTo>
                    <a:lnTo>
                      <a:pt x="3051" y="1901"/>
                    </a:lnTo>
                    <a:lnTo>
                      <a:pt x="3052" y="1890"/>
                    </a:lnTo>
                    <a:lnTo>
                      <a:pt x="3056" y="1880"/>
                    </a:lnTo>
                    <a:lnTo>
                      <a:pt x="3060" y="1872"/>
                    </a:lnTo>
                    <a:lnTo>
                      <a:pt x="3065" y="1865"/>
                    </a:lnTo>
                    <a:lnTo>
                      <a:pt x="3072" y="1859"/>
                    </a:lnTo>
                    <a:lnTo>
                      <a:pt x="3079" y="1855"/>
                    </a:lnTo>
                    <a:lnTo>
                      <a:pt x="3088" y="1851"/>
                    </a:lnTo>
                    <a:lnTo>
                      <a:pt x="3097" y="1851"/>
                    </a:lnTo>
                    <a:lnTo>
                      <a:pt x="3097" y="1851"/>
                    </a:lnTo>
                    <a:lnTo>
                      <a:pt x="3108" y="1852"/>
                    </a:lnTo>
                    <a:lnTo>
                      <a:pt x="3117" y="1855"/>
                    </a:lnTo>
                    <a:lnTo>
                      <a:pt x="3125" y="1860"/>
                    </a:lnTo>
                    <a:lnTo>
                      <a:pt x="3131" y="1867"/>
                    </a:lnTo>
                    <a:lnTo>
                      <a:pt x="3136" y="1874"/>
                    </a:lnTo>
                    <a:lnTo>
                      <a:pt x="3140" y="1883"/>
                    </a:lnTo>
                    <a:lnTo>
                      <a:pt x="3142" y="1893"/>
                    </a:lnTo>
                    <a:lnTo>
                      <a:pt x="3144" y="1901"/>
                    </a:lnTo>
                    <a:lnTo>
                      <a:pt x="3051" y="1901"/>
                    </a:lnTo>
                    <a:close/>
                    <a:moveTo>
                      <a:pt x="2905" y="1964"/>
                    </a:moveTo>
                    <a:lnTo>
                      <a:pt x="2905" y="1964"/>
                    </a:lnTo>
                    <a:lnTo>
                      <a:pt x="2905" y="1973"/>
                    </a:lnTo>
                    <a:lnTo>
                      <a:pt x="2907" y="1979"/>
                    </a:lnTo>
                    <a:lnTo>
                      <a:pt x="2909" y="1985"/>
                    </a:lnTo>
                    <a:lnTo>
                      <a:pt x="2912" y="1990"/>
                    </a:lnTo>
                    <a:lnTo>
                      <a:pt x="2915" y="1993"/>
                    </a:lnTo>
                    <a:lnTo>
                      <a:pt x="2920" y="1996"/>
                    </a:lnTo>
                    <a:lnTo>
                      <a:pt x="2925" y="1997"/>
                    </a:lnTo>
                    <a:lnTo>
                      <a:pt x="2932" y="1997"/>
                    </a:lnTo>
                    <a:lnTo>
                      <a:pt x="2932" y="1997"/>
                    </a:lnTo>
                    <a:lnTo>
                      <a:pt x="2941" y="1997"/>
                    </a:lnTo>
                    <a:lnTo>
                      <a:pt x="2950" y="1995"/>
                    </a:lnTo>
                    <a:lnTo>
                      <a:pt x="2960" y="1991"/>
                    </a:lnTo>
                    <a:lnTo>
                      <a:pt x="2969" y="1986"/>
                    </a:lnTo>
                    <a:lnTo>
                      <a:pt x="2961" y="2043"/>
                    </a:lnTo>
                    <a:lnTo>
                      <a:pt x="2961" y="2043"/>
                    </a:lnTo>
                    <a:lnTo>
                      <a:pt x="2950" y="2048"/>
                    </a:lnTo>
                    <a:lnTo>
                      <a:pt x="2937" y="2052"/>
                    </a:lnTo>
                    <a:lnTo>
                      <a:pt x="2924" y="2054"/>
                    </a:lnTo>
                    <a:lnTo>
                      <a:pt x="2910" y="2055"/>
                    </a:lnTo>
                    <a:lnTo>
                      <a:pt x="2910" y="2055"/>
                    </a:lnTo>
                    <a:lnTo>
                      <a:pt x="2902" y="2054"/>
                    </a:lnTo>
                    <a:lnTo>
                      <a:pt x="2893" y="2053"/>
                    </a:lnTo>
                    <a:lnTo>
                      <a:pt x="2886" y="2051"/>
                    </a:lnTo>
                    <a:lnTo>
                      <a:pt x="2880" y="2048"/>
                    </a:lnTo>
                    <a:lnTo>
                      <a:pt x="2874" y="2045"/>
                    </a:lnTo>
                    <a:lnTo>
                      <a:pt x="2868" y="2041"/>
                    </a:lnTo>
                    <a:lnTo>
                      <a:pt x="2864" y="2036"/>
                    </a:lnTo>
                    <a:lnTo>
                      <a:pt x="2859" y="2030"/>
                    </a:lnTo>
                    <a:lnTo>
                      <a:pt x="2853" y="2019"/>
                    </a:lnTo>
                    <a:lnTo>
                      <a:pt x="2848" y="2006"/>
                    </a:lnTo>
                    <a:lnTo>
                      <a:pt x="2846" y="1993"/>
                    </a:lnTo>
                    <a:lnTo>
                      <a:pt x="2845" y="1980"/>
                    </a:lnTo>
                    <a:lnTo>
                      <a:pt x="2845" y="1861"/>
                    </a:lnTo>
                    <a:lnTo>
                      <a:pt x="2807" y="1861"/>
                    </a:lnTo>
                    <a:lnTo>
                      <a:pt x="2807" y="1805"/>
                    </a:lnTo>
                    <a:lnTo>
                      <a:pt x="2845" y="1805"/>
                    </a:lnTo>
                    <a:lnTo>
                      <a:pt x="2845" y="1742"/>
                    </a:lnTo>
                    <a:lnTo>
                      <a:pt x="2905" y="1711"/>
                    </a:lnTo>
                    <a:lnTo>
                      <a:pt x="2905" y="1805"/>
                    </a:lnTo>
                    <a:lnTo>
                      <a:pt x="2960" y="1805"/>
                    </a:lnTo>
                    <a:lnTo>
                      <a:pt x="2960" y="1861"/>
                    </a:lnTo>
                    <a:lnTo>
                      <a:pt x="2905" y="1861"/>
                    </a:lnTo>
                    <a:lnTo>
                      <a:pt x="2905" y="1964"/>
                    </a:lnTo>
                    <a:close/>
                    <a:moveTo>
                      <a:pt x="2788" y="2043"/>
                    </a:moveTo>
                    <a:lnTo>
                      <a:pt x="2788" y="2043"/>
                    </a:lnTo>
                    <a:lnTo>
                      <a:pt x="2777" y="2048"/>
                    </a:lnTo>
                    <a:lnTo>
                      <a:pt x="2764" y="2052"/>
                    </a:lnTo>
                    <a:lnTo>
                      <a:pt x="2751" y="2054"/>
                    </a:lnTo>
                    <a:lnTo>
                      <a:pt x="2738" y="2055"/>
                    </a:lnTo>
                    <a:lnTo>
                      <a:pt x="2738" y="2055"/>
                    </a:lnTo>
                    <a:lnTo>
                      <a:pt x="2728" y="2054"/>
                    </a:lnTo>
                    <a:lnTo>
                      <a:pt x="2721" y="2053"/>
                    </a:lnTo>
                    <a:lnTo>
                      <a:pt x="2713" y="2051"/>
                    </a:lnTo>
                    <a:lnTo>
                      <a:pt x="2706" y="2048"/>
                    </a:lnTo>
                    <a:lnTo>
                      <a:pt x="2701" y="2045"/>
                    </a:lnTo>
                    <a:lnTo>
                      <a:pt x="2695" y="2041"/>
                    </a:lnTo>
                    <a:lnTo>
                      <a:pt x="2690" y="2036"/>
                    </a:lnTo>
                    <a:lnTo>
                      <a:pt x="2687" y="2030"/>
                    </a:lnTo>
                    <a:lnTo>
                      <a:pt x="2679" y="2019"/>
                    </a:lnTo>
                    <a:lnTo>
                      <a:pt x="2676" y="2006"/>
                    </a:lnTo>
                    <a:lnTo>
                      <a:pt x="2672" y="1993"/>
                    </a:lnTo>
                    <a:lnTo>
                      <a:pt x="2672" y="1980"/>
                    </a:lnTo>
                    <a:lnTo>
                      <a:pt x="2672" y="1861"/>
                    </a:lnTo>
                    <a:lnTo>
                      <a:pt x="2634" y="1861"/>
                    </a:lnTo>
                    <a:lnTo>
                      <a:pt x="2634" y="1805"/>
                    </a:lnTo>
                    <a:lnTo>
                      <a:pt x="2672" y="1805"/>
                    </a:lnTo>
                    <a:lnTo>
                      <a:pt x="2672" y="1742"/>
                    </a:lnTo>
                    <a:lnTo>
                      <a:pt x="2733" y="1711"/>
                    </a:lnTo>
                    <a:lnTo>
                      <a:pt x="2733" y="1805"/>
                    </a:lnTo>
                    <a:lnTo>
                      <a:pt x="2784" y="1805"/>
                    </a:lnTo>
                    <a:lnTo>
                      <a:pt x="2784" y="1861"/>
                    </a:lnTo>
                    <a:lnTo>
                      <a:pt x="2733" y="1861"/>
                    </a:lnTo>
                    <a:lnTo>
                      <a:pt x="2733" y="1964"/>
                    </a:lnTo>
                    <a:lnTo>
                      <a:pt x="2733" y="1964"/>
                    </a:lnTo>
                    <a:lnTo>
                      <a:pt x="2733" y="1973"/>
                    </a:lnTo>
                    <a:lnTo>
                      <a:pt x="2734" y="1979"/>
                    </a:lnTo>
                    <a:lnTo>
                      <a:pt x="2737" y="1985"/>
                    </a:lnTo>
                    <a:lnTo>
                      <a:pt x="2739" y="1990"/>
                    </a:lnTo>
                    <a:lnTo>
                      <a:pt x="2743" y="1993"/>
                    </a:lnTo>
                    <a:lnTo>
                      <a:pt x="2747" y="1996"/>
                    </a:lnTo>
                    <a:lnTo>
                      <a:pt x="2752" y="1997"/>
                    </a:lnTo>
                    <a:lnTo>
                      <a:pt x="2758" y="1997"/>
                    </a:lnTo>
                    <a:lnTo>
                      <a:pt x="2758" y="1997"/>
                    </a:lnTo>
                    <a:lnTo>
                      <a:pt x="2768" y="1997"/>
                    </a:lnTo>
                    <a:lnTo>
                      <a:pt x="2778" y="1995"/>
                    </a:lnTo>
                    <a:lnTo>
                      <a:pt x="2786" y="1991"/>
                    </a:lnTo>
                    <a:lnTo>
                      <a:pt x="2795" y="1986"/>
                    </a:lnTo>
                    <a:lnTo>
                      <a:pt x="2788" y="2043"/>
                    </a:lnTo>
                    <a:close/>
                    <a:moveTo>
                      <a:pt x="3384" y="1873"/>
                    </a:moveTo>
                    <a:lnTo>
                      <a:pt x="3384" y="1873"/>
                    </a:lnTo>
                    <a:lnTo>
                      <a:pt x="3376" y="1867"/>
                    </a:lnTo>
                    <a:lnTo>
                      <a:pt x="3366" y="1863"/>
                    </a:lnTo>
                    <a:lnTo>
                      <a:pt x="3355" y="1861"/>
                    </a:lnTo>
                    <a:lnTo>
                      <a:pt x="3344" y="1860"/>
                    </a:lnTo>
                    <a:lnTo>
                      <a:pt x="3344" y="1860"/>
                    </a:lnTo>
                    <a:lnTo>
                      <a:pt x="3334" y="1861"/>
                    </a:lnTo>
                    <a:lnTo>
                      <a:pt x="3325" y="1863"/>
                    </a:lnTo>
                    <a:lnTo>
                      <a:pt x="3317" y="1868"/>
                    </a:lnTo>
                    <a:lnTo>
                      <a:pt x="3311" y="1874"/>
                    </a:lnTo>
                    <a:lnTo>
                      <a:pt x="3306" y="1882"/>
                    </a:lnTo>
                    <a:lnTo>
                      <a:pt x="3304" y="1891"/>
                    </a:lnTo>
                    <a:lnTo>
                      <a:pt x="3302" y="1904"/>
                    </a:lnTo>
                    <a:lnTo>
                      <a:pt x="3300" y="1917"/>
                    </a:lnTo>
                    <a:lnTo>
                      <a:pt x="3300" y="2049"/>
                    </a:lnTo>
                    <a:lnTo>
                      <a:pt x="3241" y="2049"/>
                    </a:lnTo>
                    <a:lnTo>
                      <a:pt x="3241" y="1805"/>
                    </a:lnTo>
                    <a:lnTo>
                      <a:pt x="3300" y="1805"/>
                    </a:lnTo>
                    <a:lnTo>
                      <a:pt x="3300" y="1826"/>
                    </a:lnTo>
                    <a:lnTo>
                      <a:pt x="3300" y="1826"/>
                    </a:lnTo>
                    <a:lnTo>
                      <a:pt x="3306" y="1820"/>
                    </a:lnTo>
                    <a:lnTo>
                      <a:pt x="3313" y="1814"/>
                    </a:lnTo>
                    <a:lnTo>
                      <a:pt x="3319" y="1810"/>
                    </a:lnTo>
                    <a:lnTo>
                      <a:pt x="3326" y="1806"/>
                    </a:lnTo>
                    <a:lnTo>
                      <a:pt x="3332" y="1803"/>
                    </a:lnTo>
                    <a:lnTo>
                      <a:pt x="3339" y="1801"/>
                    </a:lnTo>
                    <a:lnTo>
                      <a:pt x="3347" y="1800"/>
                    </a:lnTo>
                    <a:lnTo>
                      <a:pt x="3355" y="1799"/>
                    </a:lnTo>
                    <a:lnTo>
                      <a:pt x="3355" y="1799"/>
                    </a:lnTo>
                    <a:lnTo>
                      <a:pt x="3367" y="1800"/>
                    </a:lnTo>
                    <a:lnTo>
                      <a:pt x="3379" y="1804"/>
                    </a:lnTo>
                    <a:lnTo>
                      <a:pt x="3390" y="1807"/>
                    </a:lnTo>
                    <a:lnTo>
                      <a:pt x="3400" y="1814"/>
                    </a:lnTo>
                    <a:lnTo>
                      <a:pt x="3384" y="1873"/>
                    </a:lnTo>
                    <a:close/>
                    <a:moveTo>
                      <a:pt x="653" y="1747"/>
                    </a:moveTo>
                    <a:lnTo>
                      <a:pt x="653" y="1770"/>
                    </a:lnTo>
                    <a:lnTo>
                      <a:pt x="592" y="1770"/>
                    </a:lnTo>
                    <a:lnTo>
                      <a:pt x="592" y="1709"/>
                    </a:lnTo>
                    <a:lnTo>
                      <a:pt x="653" y="1709"/>
                    </a:lnTo>
                    <a:lnTo>
                      <a:pt x="653" y="1747"/>
                    </a:lnTo>
                    <a:close/>
                    <a:moveTo>
                      <a:pt x="1073" y="1805"/>
                    </a:moveTo>
                    <a:lnTo>
                      <a:pt x="1134" y="1805"/>
                    </a:lnTo>
                    <a:lnTo>
                      <a:pt x="1134" y="1930"/>
                    </a:lnTo>
                    <a:lnTo>
                      <a:pt x="1134" y="2049"/>
                    </a:lnTo>
                    <a:lnTo>
                      <a:pt x="1073" y="2049"/>
                    </a:lnTo>
                    <a:lnTo>
                      <a:pt x="1073" y="1805"/>
                    </a:lnTo>
                    <a:close/>
                    <a:moveTo>
                      <a:pt x="1134" y="1739"/>
                    </a:moveTo>
                    <a:lnTo>
                      <a:pt x="1134" y="1770"/>
                    </a:lnTo>
                    <a:lnTo>
                      <a:pt x="1073" y="1770"/>
                    </a:lnTo>
                    <a:lnTo>
                      <a:pt x="1073" y="1709"/>
                    </a:lnTo>
                    <a:lnTo>
                      <a:pt x="1134" y="1709"/>
                    </a:lnTo>
                    <a:lnTo>
                      <a:pt x="1134" y="1739"/>
                    </a:lnTo>
                    <a:close/>
                    <a:moveTo>
                      <a:pt x="2796" y="2250"/>
                    </a:moveTo>
                    <a:lnTo>
                      <a:pt x="2796" y="2250"/>
                    </a:lnTo>
                    <a:lnTo>
                      <a:pt x="2790" y="2245"/>
                    </a:lnTo>
                    <a:lnTo>
                      <a:pt x="2784" y="2240"/>
                    </a:lnTo>
                    <a:lnTo>
                      <a:pt x="2778" y="2237"/>
                    </a:lnTo>
                    <a:lnTo>
                      <a:pt x="2771" y="2233"/>
                    </a:lnTo>
                    <a:lnTo>
                      <a:pt x="2764" y="2231"/>
                    </a:lnTo>
                    <a:lnTo>
                      <a:pt x="2757" y="2229"/>
                    </a:lnTo>
                    <a:lnTo>
                      <a:pt x="2741" y="2227"/>
                    </a:lnTo>
                    <a:lnTo>
                      <a:pt x="2741" y="2227"/>
                    </a:lnTo>
                    <a:lnTo>
                      <a:pt x="2730" y="2228"/>
                    </a:lnTo>
                    <a:lnTo>
                      <a:pt x="2721" y="2229"/>
                    </a:lnTo>
                    <a:lnTo>
                      <a:pt x="2711" y="2233"/>
                    </a:lnTo>
                    <a:lnTo>
                      <a:pt x="2701" y="2237"/>
                    </a:lnTo>
                    <a:lnTo>
                      <a:pt x="2693" y="2241"/>
                    </a:lnTo>
                    <a:lnTo>
                      <a:pt x="2685" y="2246"/>
                    </a:lnTo>
                    <a:lnTo>
                      <a:pt x="2678" y="2254"/>
                    </a:lnTo>
                    <a:lnTo>
                      <a:pt x="2671" y="2261"/>
                    </a:lnTo>
                    <a:lnTo>
                      <a:pt x="2666" y="2269"/>
                    </a:lnTo>
                    <a:lnTo>
                      <a:pt x="2660" y="2279"/>
                    </a:lnTo>
                    <a:lnTo>
                      <a:pt x="2656" y="2289"/>
                    </a:lnTo>
                    <a:lnTo>
                      <a:pt x="2653" y="2301"/>
                    </a:lnTo>
                    <a:lnTo>
                      <a:pt x="2649" y="2312"/>
                    </a:lnTo>
                    <a:lnTo>
                      <a:pt x="2648" y="2325"/>
                    </a:lnTo>
                    <a:lnTo>
                      <a:pt x="2647" y="2339"/>
                    </a:lnTo>
                    <a:lnTo>
                      <a:pt x="2645" y="2353"/>
                    </a:lnTo>
                    <a:lnTo>
                      <a:pt x="2645" y="2353"/>
                    </a:lnTo>
                    <a:lnTo>
                      <a:pt x="2647" y="2368"/>
                    </a:lnTo>
                    <a:lnTo>
                      <a:pt x="2648" y="2381"/>
                    </a:lnTo>
                    <a:lnTo>
                      <a:pt x="2649" y="2395"/>
                    </a:lnTo>
                    <a:lnTo>
                      <a:pt x="2653" y="2408"/>
                    </a:lnTo>
                    <a:lnTo>
                      <a:pt x="2655" y="2419"/>
                    </a:lnTo>
                    <a:lnTo>
                      <a:pt x="2660" y="2430"/>
                    </a:lnTo>
                    <a:lnTo>
                      <a:pt x="2665" y="2440"/>
                    </a:lnTo>
                    <a:lnTo>
                      <a:pt x="2671" y="2448"/>
                    </a:lnTo>
                    <a:lnTo>
                      <a:pt x="2677" y="2457"/>
                    </a:lnTo>
                    <a:lnTo>
                      <a:pt x="2684" y="2463"/>
                    </a:lnTo>
                    <a:lnTo>
                      <a:pt x="2692" y="2469"/>
                    </a:lnTo>
                    <a:lnTo>
                      <a:pt x="2700" y="2474"/>
                    </a:lnTo>
                    <a:lnTo>
                      <a:pt x="2710" y="2479"/>
                    </a:lnTo>
                    <a:lnTo>
                      <a:pt x="2720" y="2481"/>
                    </a:lnTo>
                    <a:lnTo>
                      <a:pt x="2729" y="2482"/>
                    </a:lnTo>
                    <a:lnTo>
                      <a:pt x="2740" y="2483"/>
                    </a:lnTo>
                    <a:lnTo>
                      <a:pt x="2740" y="2483"/>
                    </a:lnTo>
                    <a:lnTo>
                      <a:pt x="2747" y="2482"/>
                    </a:lnTo>
                    <a:lnTo>
                      <a:pt x="2756" y="2481"/>
                    </a:lnTo>
                    <a:lnTo>
                      <a:pt x="2763" y="2480"/>
                    </a:lnTo>
                    <a:lnTo>
                      <a:pt x="2769" y="2477"/>
                    </a:lnTo>
                    <a:lnTo>
                      <a:pt x="2777" y="2474"/>
                    </a:lnTo>
                    <a:lnTo>
                      <a:pt x="2784" y="2470"/>
                    </a:lnTo>
                    <a:lnTo>
                      <a:pt x="2790" y="2465"/>
                    </a:lnTo>
                    <a:lnTo>
                      <a:pt x="2796" y="2459"/>
                    </a:lnTo>
                    <a:lnTo>
                      <a:pt x="2796" y="2477"/>
                    </a:lnTo>
                    <a:lnTo>
                      <a:pt x="2857" y="2477"/>
                    </a:lnTo>
                    <a:lnTo>
                      <a:pt x="2857" y="2131"/>
                    </a:lnTo>
                    <a:lnTo>
                      <a:pt x="2796" y="2161"/>
                    </a:lnTo>
                    <a:lnTo>
                      <a:pt x="2796" y="2250"/>
                    </a:lnTo>
                    <a:close/>
                    <a:moveTo>
                      <a:pt x="2754" y="2427"/>
                    </a:moveTo>
                    <a:lnTo>
                      <a:pt x="2754" y="2427"/>
                    </a:lnTo>
                    <a:lnTo>
                      <a:pt x="2745" y="2426"/>
                    </a:lnTo>
                    <a:lnTo>
                      <a:pt x="2738" y="2424"/>
                    </a:lnTo>
                    <a:lnTo>
                      <a:pt x="2729" y="2420"/>
                    </a:lnTo>
                    <a:lnTo>
                      <a:pt x="2722" y="2413"/>
                    </a:lnTo>
                    <a:lnTo>
                      <a:pt x="2716" y="2403"/>
                    </a:lnTo>
                    <a:lnTo>
                      <a:pt x="2711" y="2390"/>
                    </a:lnTo>
                    <a:lnTo>
                      <a:pt x="2709" y="2373"/>
                    </a:lnTo>
                    <a:lnTo>
                      <a:pt x="2707" y="2351"/>
                    </a:lnTo>
                    <a:lnTo>
                      <a:pt x="2707" y="2351"/>
                    </a:lnTo>
                    <a:lnTo>
                      <a:pt x="2709" y="2333"/>
                    </a:lnTo>
                    <a:lnTo>
                      <a:pt x="2711" y="2317"/>
                    </a:lnTo>
                    <a:lnTo>
                      <a:pt x="2716" y="2305"/>
                    </a:lnTo>
                    <a:lnTo>
                      <a:pt x="2722" y="2296"/>
                    </a:lnTo>
                    <a:lnTo>
                      <a:pt x="2729" y="2290"/>
                    </a:lnTo>
                    <a:lnTo>
                      <a:pt x="2737" y="2285"/>
                    </a:lnTo>
                    <a:lnTo>
                      <a:pt x="2745" y="2284"/>
                    </a:lnTo>
                    <a:lnTo>
                      <a:pt x="2752" y="2283"/>
                    </a:lnTo>
                    <a:lnTo>
                      <a:pt x="2752" y="2283"/>
                    </a:lnTo>
                    <a:lnTo>
                      <a:pt x="2761" y="2284"/>
                    </a:lnTo>
                    <a:lnTo>
                      <a:pt x="2768" y="2285"/>
                    </a:lnTo>
                    <a:lnTo>
                      <a:pt x="2774" y="2288"/>
                    </a:lnTo>
                    <a:lnTo>
                      <a:pt x="2780" y="2291"/>
                    </a:lnTo>
                    <a:lnTo>
                      <a:pt x="2785" y="2295"/>
                    </a:lnTo>
                    <a:lnTo>
                      <a:pt x="2790" y="2299"/>
                    </a:lnTo>
                    <a:lnTo>
                      <a:pt x="2796" y="2307"/>
                    </a:lnTo>
                    <a:lnTo>
                      <a:pt x="2796" y="2403"/>
                    </a:lnTo>
                    <a:lnTo>
                      <a:pt x="2796" y="2403"/>
                    </a:lnTo>
                    <a:lnTo>
                      <a:pt x="2789" y="2412"/>
                    </a:lnTo>
                    <a:lnTo>
                      <a:pt x="2780" y="2419"/>
                    </a:lnTo>
                    <a:lnTo>
                      <a:pt x="2774" y="2423"/>
                    </a:lnTo>
                    <a:lnTo>
                      <a:pt x="2768" y="2425"/>
                    </a:lnTo>
                    <a:lnTo>
                      <a:pt x="2761" y="2426"/>
                    </a:lnTo>
                    <a:lnTo>
                      <a:pt x="2754" y="2427"/>
                    </a:lnTo>
                    <a:lnTo>
                      <a:pt x="2754" y="2427"/>
                    </a:lnTo>
                    <a:close/>
                    <a:moveTo>
                      <a:pt x="740" y="2301"/>
                    </a:moveTo>
                    <a:lnTo>
                      <a:pt x="740" y="2301"/>
                    </a:lnTo>
                    <a:lnTo>
                      <a:pt x="732" y="2296"/>
                    </a:lnTo>
                    <a:lnTo>
                      <a:pt x="722" y="2291"/>
                    </a:lnTo>
                    <a:lnTo>
                      <a:pt x="711" y="2289"/>
                    </a:lnTo>
                    <a:lnTo>
                      <a:pt x="700" y="2288"/>
                    </a:lnTo>
                    <a:lnTo>
                      <a:pt x="700" y="2288"/>
                    </a:lnTo>
                    <a:lnTo>
                      <a:pt x="690" y="2289"/>
                    </a:lnTo>
                    <a:lnTo>
                      <a:pt x="680" y="2291"/>
                    </a:lnTo>
                    <a:lnTo>
                      <a:pt x="673" y="2296"/>
                    </a:lnTo>
                    <a:lnTo>
                      <a:pt x="667" y="2302"/>
                    </a:lnTo>
                    <a:lnTo>
                      <a:pt x="662" y="2310"/>
                    </a:lnTo>
                    <a:lnTo>
                      <a:pt x="660" y="2319"/>
                    </a:lnTo>
                    <a:lnTo>
                      <a:pt x="657" y="2331"/>
                    </a:lnTo>
                    <a:lnTo>
                      <a:pt x="656" y="2345"/>
                    </a:lnTo>
                    <a:lnTo>
                      <a:pt x="656" y="2477"/>
                    </a:lnTo>
                    <a:lnTo>
                      <a:pt x="597" y="2477"/>
                    </a:lnTo>
                    <a:lnTo>
                      <a:pt x="597" y="2233"/>
                    </a:lnTo>
                    <a:lnTo>
                      <a:pt x="656" y="2233"/>
                    </a:lnTo>
                    <a:lnTo>
                      <a:pt x="656" y="2254"/>
                    </a:lnTo>
                    <a:lnTo>
                      <a:pt x="656" y="2254"/>
                    </a:lnTo>
                    <a:lnTo>
                      <a:pt x="662" y="2248"/>
                    </a:lnTo>
                    <a:lnTo>
                      <a:pt x="668" y="2241"/>
                    </a:lnTo>
                    <a:lnTo>
                      <a:pt x="674" y="2238"/>
                    </a:lnTo>
                    <a:lnTo>
                      <a:pt x="682" y="2234"/>
                    </a:lnTo>
                    <a:lnTo>
                      <a:pt x="688" y="2231"/>
                    </a:lnTo>
                    <a:lnTo>
                      <a:pt x="695" y="2229"/>
                    </a:lnTo>
                    <a:lnTo>
                      <a:pt x="704" y="2228"/>
                    </a:lnTo>
                    <a:lnTo>
                      <a:pt x="711" y="2227"/>
                    </a:lnTo>
                    <a:lnTo>
                      <a:pt x="711" y="2227"/>
                    </a:lnTo>
                    <a:lnTo>
                      <a:pt x="723" y="2228"/>
                    </a:lnTo>
                    <a:lnTo>
                      <a:pt x="735" y="2232"/>
                    </a:lnTo>
                    <a:lnTo>
                      <a:pt x="747" y="2237"/>
                    </a:lnTo>
                    <a:lnTo>
                      <a:pt x="757" y="2243"/>
                    </a:lnTo>
                    <a:lnTo>
                      <a:pt x="740" y="2301"/>
                    </a:lnTo>
                    <a:close/>
                    <a:moveTo>
                      <a:pt x="265" y="2233"/>
                    </a:moveTo>
                    <a:lnTo>
                      <a:pt x="324" y="2233"/>
                    </a:lnTo>
                    <a:lnTo>
                      <a:pt x="255" y="2477"/>
                    </a:lnTo>
                    <a:lnTo>
                      <a:pt x="203" y="2477"/>
                    </a:lnTo>
                    <a:lnTo>
                      <a:pt x="176" y="2376"/>
                    </a:lnTo>
                    <a:lnTo>
                      <a:pt x="176" y="2376"/>
                    </a:lnTo>
                    <a:lnTo>
                      <a:pt x="163" y="2323"/>
                    </a:lnTo>
                    <a:lnTo>
                      <a:pt x="163" y="2323"/>
                    </a:lnTo>
                    <a:lnTo>
                      <a:pt x="157" y="2348"/>
                    </a:lnTo>
                    <a:lnTo>
                      <a:pt x="149" y="2378"/>
                    </a:lnTo>
                    <a:lnTo>
                      <a:pt x="122" y="2477"/>
                    </a:lnTo>
                    <a:lnTo>
                      <a:pt x="69" y="2477"/>
                    </a:lnTo>
                    <a:lnTo>
                      <a:pt x="69" y="2476"/>
                    </a:lnTo>
                    <a:lnTo>
                      <a:pt x="0" y="2233"/>
                    </a:lnTo>
                    <a:lnTo>
                      <a:pt x="63" y="2233"/>
                    </a:lnTo>
                    <a:lnTo>
                      <a:pt x="85" y="2324"/>
                    </a:lnTo>
                    <a:lnTo>
                      <a:pt x="85" y="2324"/>
                    </a:lnTo>
                    <a:lnTo>
                      <a:pt x="91" y="2353"/>
                    </a:lnTo>
                    <a:lnTo>
                      <a:pt x="97" y="2384"/>
                    </a:lnTo>
                    <a:lnTo>
                      <a:pt x="97" y="2384"/>
                    </a:lnTo>
                    <a:lnTo>
                      <a:pt x="105" y="2353"/>
                    </a:lnTo>
                    <a:lnTo>
                      <a:pt x="112" y="2323"/>
                    </a:lnTo>
                    <a:lnTo>
                      <a:pt x="137" y="2233"/>
                    </a:lnTo>
                    <a:lnTo>
                      <a:pt x="190" y="2233"/>
                    </a:lnTo>
                    <a:lnTo>
                      <a:pt x="215" y="2323"/>
                    </a:lnTo>
                    <a:lnTo>
                      <a:pt x="215" y="2323"/>
                    </a:lnTo>
                    <a:lnTo>
                      <a:pt x="222" y="2352"/>
                    </a:lnTo>
                    <a:lnTo>
                      <a:pt x="230" y="2385"/>
                    </a:lnTo>
                    <a:lnTo>
                      <a:pt x="230" y="2385"/>
                    </a:lnTo>
                    <a:lnTo>
                      <a:pt x="235" y="2357"/>
                    </a:lnTo>
                    <a:lnTo>
                      <a:pt x="242" y="2323"/>
                    </a:lnTo>
                    <a:lnTo>
                      <a:pt x="265" y="2233"/>
                    </a:lnTo>
                    <a:close/>
                    <a:moveTo>
                      <a:pt x="447" y="2227"/>
                    </a:moveTo>
                    <a:lnTo>
                      <a:pt x="447" y="2227"/>
                    </a:lnTo>
                    <a:lnTo>
                      <a:pt x="436" y="2228"/>
                    </a:lnTo>
                    <a:lnTo>
                      <a:pt x="424" y="2229"/>
                    </a:lnTo>
                    <a:lnTo>
                      <a:pt x="413" y="2233"/>
                    </a:lnTo>
                    <a:lnTo>
                      <a:pt x="403" y="2237"/>
                    </a:lnTo>
                    <a:lnTo>
                      <a:pt x="394" y="2241"/>
                    </a:lnTo>
                    <a:lnTo>
                      <a:pt x="384" y="2248"/>
                    </a:lnTo>
                    <a:lnTo>
                      <a:pt x="375" y="2255"/>
                    </a:lnTo>
                    <a:lnTo>
                      <a:pt x="368" y="2263"/>
                    </a:lnTo>
                    <a:lnTo>
                      <a:pt x="361" y="2272"/>
                    </a:lnTo>
                    <a:lnTo>
                      <a:pt x="355" y="2282"/>
                    </a:lnTo>
                    <a:lnTo>
                      <a:pt x="349" y="2293"/>
                    </a:lnTo>
                    <a:lnTo>
                      <a:pt x="345" y="2303"/>
                    </a:lnTo>
                    <a:lnTo>
                      <a:pt x="341" y="2316"/>
                    </a:lnTo>
                    <a:lnTo>
                      <a:pt x="339" y="2328"/>
                    </a:lnTo>
                    <a:lnTo>
                      <a:pt x="337" y="2341"/>
                    </a:lnTo>
                    <a:lnTo>
                      <a:pt x="337" y="2356"/>
                    </a:lnTo>
                    <a:lnTo>
                      <a:pt x="337" y="2356"/>
                    </a:lnTo>
                    <a:lnTo>
                      <a:pt x="337" y="2369"/>
                    </a:lnTo>
                    <a:lnTo>
                      <a:pt x="339" y="2382"/>
                    </a:lnTo>
                    <a:lnTo>
                      <a:pt x="341" y="2395"/>
                    </a:lnTo>
                    <a:lnTo>
                      <a:pt x="345" y="2407"/>
                    </a:lnTo>
                    <a:lnTo>
                      <a:pt x="349" y="2418"/>
                    </a:lnTo>
                    <a:lnTo>
                      <a:pt x="355" y="2429"/>
                    </a:lnTo>
                    <a:lnTo>
                      <a:pt x="361" y="2438"/>
                    </a:lnTo>
                    <a:lnTo>
                      <a:pt x="368" y="2447"/>
                    </a:lnTo>
                    <a:lnTo>
                      <a:pt x="375" y="2455"/>
                    </a:lnTo>
                    <a:lnTo>
                      <a:pt x="384" y="2463"/>
                    </a:lnTo>
                    <a:lnTo>
                      <a:pt x="394" y="2469"/>
                    </a:lnTo>
                    <a:lnTo>
                      <a:pt x="403" y="2474"/>
                    </a:lnTo>
                    <a:lnTo>
                      <a:pt x="413" y="2477"/>
                    </a:lnTo>
                    <a:lnTo>
                      <a:pt x="424" y="2481"/>
                    </a:lnTo>
                    <a:lnTo>
                      <a:pt x="436" y="2482"/>
                    </a:lnTo>
                    <a:lnTo>
                      <a:pt x="447" y="2483"/>
                    </a:lnTo>
                    <a:lnTo>
                      <a:pt x="447" y="2483"/>
                    </a:lnTo>
                    <a:lnTo>
                      <a:pt x="459" y="2482"/>
                    </a:lnTo>
                    <a:lnTo>
                      <a:pt x="471" y="2481"/>
                    </a:lnTo>
                    <a:lnTo>
                      <a:pt x="482" y="2477"/>
                    </a:lnTo>
                    <a:lnTo>
                      <a:pt x="492" y="2474"/>
                    </a:lnTo>
                    <a:lnTo>
                      <a:pt x="502" y="2469"/>
                    </a:lnTo>
                    <a:lnTo>
                      <a:pt x="512" y="2463"/>
                    </a:lnTo>
                    <a:lnTo>
                      <a:pt x="520" y="2455"/>
                    </a:lnTo>
                    <a:lnTo>
                      <a:pt x="527" y="2447"/>
                    </a:lnTo>
                    <a:lnTo>
                      <a:pt x="535" y="2438"/>
                    </a:lnTo>
                    <a:lnTo>
                      <a:pt x="541" y="2429"/>
                    </a:lnTo>
                    <a:lnTo>
                      <a:pt x="546" y="2418"/>
                    </a:lnTo>
                    <a:lnTo>
                      <a:pt x="550" y="2407"/>
                    </a:lnTo>
                    <a:lnTo>
                      <a:pt x="554" y="2395"/>
                    </a:lnTo>
                    <a:lnTo>
                      <a:pt x="557" y="2382"/>
                    </a:lnTo>
                    <a:lnTo>
                      <a:pt x="559" y="2369"/>
                    </a:lnTo>
                    <a:lnTo>
                      <a:pt x="559" y="2356"/>
                    </a:lnTo>
                    <a:lnTo>
                      <a:pt x="559" y="2356"/>
                    </a:lnTo>
                    <a:lnTo>
                      <a:pt x="559" y="2341"/>
                    </a:lnTo>
                    <a:lnTo>
                      <a:pt x="557" y="2328"/>
                    </a:lnTo>
                    <a:lnTo>
                      <a:pt x="554" y="2316"/>
                    </a:lnTo>
                    <a:lnTo>
                      <a:pt x="550" y="2303"/>
                    </a:lnTo>
                    <a:lnTo>
                      <a:pt x="546" y="2293"/>
                    </a:lnTo>
                    <a:lnTo>
                      <a:pt x="541" y="2282"/>
                    </a:lnTo>
                    <a:lnTo>
                      <a:pt x="535" y="2272"/>
                    </a:lnTo>
                    <a:lnTo>
                      <a:pt x="527" y="2263"/>
                    </a:lnTo>
                    <a:lnTo>
                      <a:pt x="520" y="2255"/>
                    </a:lnTo>
                    <a:lnTo>
                      <a:pt x="512" y="2248"/>
                    </a:lnTo>
                    <a:lnTo>
                      <a:pt x="502" y="2241"/>
                    </a:lnTo>
                    <a:lnTo>
                      <a:pt x="492" y="2237"/>
                    </a:lnTo>
                    <a:lnTo>
                      <a:pt x="482" y="2233"/>
                    </a:lnTo>
                    <a:lnTo>
                      <a:pt x="471" y="2229"/>
                    </a:lnTo>
                    <a:lnTo>
                      <a:pt x="459" y="2228"/>
                    </a:lnTo>
                    <a:lnTo>
                      <a:pt x="447" y="2227"/>
                    </a:lnTo>
                    <a:lnTo>
                      <a:pt x="447" y="2227"/>
                    </a:lnTo>
                    <a:close/>
                    <a:moveTo>
                      <a:pt x="447" y="2426"/>
                    </a:moveTo>
                    <a:lnTo>
                      <a:pt x="447" y="2426"/>
                    </a:lnTo>
                    <a:lnTo>
                      <a:pt x="436" y="2425"/>
                    </a:lnTo>
                    <a:lnTo>
                      <a:pt x="427" y="2421"/>
                    </a:lnTo>
                    <a:lnTo>
                      <a:pt x="419" y="2415"/>
                    </a:lnTo>
                    <a:lnTo>
                      <a:pt x="412" y="2407"/>
                    </a:lnTo>
                    <a:lnTo>
                      <a:pt x="406" y="2397"/>
                    </a:lnTo>
                    <a:lnTo>
                      <a:pt x="401" y="2385"/>
                    </a:lnTo>
                    <a:lnTo>
                      <a:pt x="399" y="2370"/>
                    </a:lnTo>
                    <a:lnTo>
                      <a:pt x="399" y="2356"/>
                    </a:lnTo>
                    <a:lnTo>
                      <a:pt x="399" y="2356"/>
                    </a:lnTo>
                    <a:lnTo>
                      <a:pt x="399" y="2340"/>
                    </a:lnTo>
                    <a:lnTo>
                      <a:pt x="401" y="2325"/>
                    </a:lnTo>
                    <a:lnTo>
                      <a:pt x="406" y="2314"/>
                    </a:lnTo>
                    <a:lnTo>
                      <a:pt x="412" y="2303"/>
                    </a:lnTo>
                    <a:lnTo>
                      <a:pt x="419" y="2295"/>
                    </a:lnTo>
                    <a:lnTo>
                      <a:pt x="427" y="2289"/>
                    </a:lnTo>
                    <a:lnTo>
                      <a:pt x="436" y="2285"/>
                    </a:lnTo>
                    <a:lnTo>
                      <a:pt x="447" y="2284"/>
                    </a:lnTo>
                    <a:lnTo>
                      <a:pt x="447" y="2284"/>
                    </a:lnTo>
                    <a:lnTo>
                      <a:pt x="458" y="2285"/>
                    </a:lnTo>
                    <a:lnTo>
                      <a:pt x="468" y="2289"/>
                    </a:lnTo>
                    <a:lnTo>
                      <a:pt x="476" y="2295"/>
                    </a:lnTo>
                    <a:lnTo>
                      <a:pt x="484" y="2303"/>
                    </a:lnTo>
                    <a:lnTo>
                      <a:pt x="490" y="2314"/>
                    </a:lnTo>
                    <a:lnTo>
                      <a:pt x="493" y="2325"/>
                    </a:lnTo>
                    <a:lnTo>
                      <a:pt x="496" y="2340"/>
                    </a:lnTo>
                    <a:lnTo>
                      <a:pt x="497" y="2356"/>
                    </a:lnTo>
                    <a:lnTo>
                      <a:pt x="497" y="2356"/>
                    </a:lnTo>
                    <a:lnTo>
                      <a:pt x="496" y="2370"/>
                    </a:lnTo>
                    <a:lnTo>
                      <a:pt x="493" y="2385"/>
                    </a:lnTo>
                    <a:lnTo>
                      <a:pt x="490" y="2397"/>
                    </a:lnTo>
                    <a:lnTo>
                      <a:pt x="484" y="2407"/>
                    </a:lnTo>
                    <a:lnTo>
                      <a:pt x="476" y="2415"/>
                    </a:lnTo>
                    <a:lnTo>
                      <a:pt x="468" y="2421"/>
                    </a:lnTo>
                    <a:lnTo>
                      <a:pt x="458" y="2425"/>
                    </a:lnTo>
                    <a:lnTo>
                      <a:pt x="447" y="2426"/>
                    </a:lnTo>
                    <a:lnTo>
                      <a:pt x="447" y="2426"/>
                    </a:lnTo>
                    <a:close/>
                    <a:moveTo>
                      <a:pt x="2498" y="2301"/>
                    </a:moveTo>
                    <a:lnTo>
                      <a:pt x="2498" y="2301"/>
                    </a:lnTo>
                    <a:lnTo>
                      <a:pt x="2489" y="2296"/>
                    </a:lnTo>
                    <a:lnTo>
                      <a:pt x="2479" y="2291"/>
                    </a:lnTo>
                    <a:lnTo>
                      <a:pt x="2468" y="2289"/>
                    </a:lnTo>
                    <a:lnTo>
                      <a:pt x="2458" y="2288"/>
                    </a:lnTo>
                    <a:lnTo>
                      <a:pt x="2458" y="2288"/>
                    </a:lnTo>
                    <a:lnTo>
                      <a:pt x="2447" y="2289"/>
                    </a:lnTo>
                    <a:lnTo>
                      <a:pt x="2439" y="2291"/>
                    </a:lnTo>
                    <a:lnTo>
                      <a:pt x="2432" y="2296"/>
                    </a:lnTo>
                    <a:lnTo>
                      <a:pt x="2425" y="2302"/>
                    </a:lnTo>
                    <a:lnTo>
                      <a:pt x="2421" y="2310"/>
                    </a:lnTo>
                    <a:lnTo>
                      <a:pt x="2417" y="2319"/>
                    </a:lnTo>
                    <a:lnTo>
                      <a:pt x="2415" y="2331"/>
                    </a:lnTo>
                    <a:lnTo>
                      <a:pt x="2415" y="2345"/>
                    </a:lnTo>
                    <a:lnTo>
                      <a:pt x="2415" y="2477"/>
                    </a:lnTo>
                    <a:lnTo>
                      <a:pt x="2354" y="2477"/>
                    </a:lnTo>
                    <a:lnTo>
                      <a:pt x="2354" y="2233"/>
                    </a:lnTo>
                    <a:lnTo>
                      <a:pt x="2415" y="2233"/>
                    </a:lnTo>
                    <a:lnTo>
                      <a:pt x="2415" y="2254"/>
                    </a:lnTo>
                    <a:lnTo>
                      <a:pt x="2415" y="2254"/>
                    </a:lnTo>
                    <a:lnTo>
                      <a:pt x="2419" y="2248"/>
                    </a:lnTo>
                    <a:lnTo>
                      <a:pt x="2425" y="2241"/>
                    </a:lnTo>
                    <a:lnTo>
                      <a:pt x="2432" y="2238"/>
                    </a:lnTo>
                    <a:lnTo>
                      <a:pt x="2439" y="2234"/>
                    </a:lnTo>
                    <a:lnTo>
                      <a:pt x="2446" y="2231"/>
                    </a:lnTo>
                    <a:lnTo>
                      <a:pt x="2453" y="2229"/>
                    </a:lnTo>
                    <a:lnTo>
                      <a:pt x="2461" y="2228"/>
                    </a:lnTo>
                    <a:lnTo>
                      <a:pt x="2468" y="2227"/>
                    </a:lnTo>
                    <a:lnTo>
                      <a:pt x="2468" y="2227"/>
                    </a:lnTo>
                    <a:lnTo>
                      <a:pt x="2480" y="2228"/>
                    </a:lnTo>
                    <a:lnTo>
                      <a:pt x="2492" y="2232"/>
                    </a:lnTo>
                    <a:lnTo>
                      <a:pt x="2504" y="2237"/>
                    </a:lnTo>
                    <a:lnTo>
                      <a:pt x="2514" y="2243"/>
                    </a:lnTo>
                    <a:lnTo>
                      <a:pt x="2498" y="2301"/>
                    </a:lnTo>
                    <a:close/>
                    <a:moveTo>
                      <a:pt x="2022" y="2233"/>
                    </a:moveTo>
                    <a:lnTo>
                      <a:pt x="2082" y="2233"/>
                    </a:lnTo>
                    <a:lnTo>
                      <a:pt x="2012" y="2477"/>
                    </a:lnTo>
                    <a:lnTo>
                      <a:pt x="1960" y="2477"/>
                    </a:lnTo>
                    <a:lnTo>
                      <a:pt x="1933" y="2376"/>
                    </a:lnTo>
                    <a:lnTo>
                      <a:pt x="1933" y="2376"/>
                    </a:lnTo>
                    <a:lnTo>
                      <a:pt x="1920" y="2323"/>
                    </a:lnTo>
                    <a:lnTo>
                      <a:pt x="1920" y="2323"/>
                    </a:lnTo>
                    <a:lnTo>
                      <a:pt x="1914" y="2348"/>
                    </a:lnTo>
                    <a:lnTo>
                      <a:pt x="1907" y="2378"/>
                    </a:lnTo>
                    <a:lnTo>
                      <a:pt x="1880" y="2477"/>
                    </a:lnTo>
                    <a:lnTo>
                      <a:pt x="1828" y="2477"/>
                    </a:lnTo>
                    <a:lnTo>
                      <a:pt x="1826" y="2476"/>
                    </a:lnTo>
                    <a:lnTo>
                      <a:pt x="1758" y="2233"/>
                    </a:lnTo>
                    <a:lnTo>
                      <a:pt x="1820" y="2233"/>
                    </a:lnTo>
                    <a:lnTo>
                      <a:pt x="1843" y="2324"/>
                    </a:lnTo>
                    <a:lnTo>
                      <a:pt x="1843" y="2324"/>
                    </a:lnTo>
                    <a:lnTo>
                      <a:pt x="1849" y="2353"/>
                    </a:lnTo>
                    <a:lnTo>
                      <a:pt x="1856" y="2384"/>
                    </a:lnTo>
                    <a:lnTo>
                      <a:pt x="1856" y="2384"/>
                    </a:lnTo>
                    <a:lnTo>
                      <a:pt x="1862" y="2353"/>
                    </a:lnTo>
                    <a:lnTo>
                      <a:pt x="1870" y="2323"/>
                    </a:lnTo>
                    <a:lnTo>
                      <a:pt x="1896" y="2233"/>
                    </a:lnTo>
                    <a:lnTo>
                      <a:pt x="1947" y="2233"/>
                    </a:lnTo>
                    <a:lnTo>
                      <a:pt x="1972" y="2323"/>
                    </a:lnTo>
                    <a:lnTo>
                      <a:pt x="1972" y="2323"/>
                    </a:lnTo>
                    <a:lnTo>
                      <a:pt x="1979" y="2352"/>
                    </a:lnTo>
                    <a:lnTo>
                      <a:pt x="1987" y="2385"/>
                    </a:lnTo>
                    <a:lnTo>
                      <a:pt x="1987" y="2385"/>
                    </a:lnTo>
                    <a:lnTo>
                      <a:pt x="1993" y="2357"/>
                    </a:lnTo>
                    <a:lnTo>
                      <a:pt x="2000" y="2323"/>
                    </a:lnTo>
                    <a:lnTo>
                      <a:pt x="2022" y="2233"/>
                    </a:lnTo>
                    <a:close/>
                    <a:moveTo>
                      <a:pt x="2204" y="2227"/>
                    </a:moveTo>
                    <a:lnTo>
                      <a:pt x="2204" y="2227"/>
                    </a:lnTo>
                    <a:lnTo>
                      <a:pt x="2193" y="2228"/>
                    </a:lnTo>
                    <a:lnTo>
                      <a:pt x="2181" y="2229"/>
                    </a:lnTo>
                    <a:lnTo>
                      <a:pt x="2170" y="2233"/>
                    </a:lnTo>
                    <a:lnTo>
                      <a:pt x="2161" y="2237"/>
                    </a:lnTo>
                    <a:lnTo>
                      <a:pt x="2151" y="2241"/>
                    </a:lnTo>
                    <a:lnTo>
                      <a:pt x="2141" y="2249"/>
                    </a:lnTo>
                    <a:lnTo>
                      <a:pt x="2133" y="2255"/>
                    </a:lnTo>
                    <a:lnTo>
                      <a:pt x="2125" y="2263"/>
                    </a:lnTo>
                    <a:lnTo>
                      <a:pt x="2118" y="2272"/>
                    </a:lnTo>
                    <a:lnTo>
                      <a:pt x="2112" y="2282"/>
                    </a:lnTo>
                    <a:lnTo>
                      <a:pt x="2106" y="2293"/>
                    </a:lnTo>
                    <a:lnTo>
                      <a:pt x="2102" y="2303"/>
                    </a:lnTo>
                    <a:lnTo>
                      <a:pt x="2099" y="2316"/>
                    </a:lnTo>
                    <a:lnTo>
                      <a:pt x="2095" y="2329"/>
                    </a:lnTo>
                    <a:lnTo>
                      <a:pt x="2094" y="2341"/>
                    </a:lnTo>
                    <a:lnTo>
                      <a:pt x="2094" y="2356"/>
                    </a:lnTo>
                    <a:lnTo>
                      <a:pt x="2094" y="2356"/>
                    </a:lnTo>
                    <a:lnTo>
                      <a:pt x="2094" y="2369"/>
                    </a:lnTo>
                    <a:lnTo>
                      <a:pt x="2095" y="2382"/>
                    </a:lnTo>
                    <a:lnTo>
                      <a:pt x="2099" y="2395"/>
                    </a:lnTo>
                    <a:lnTo>
                      <a:pt x="2102" y="2407"/>
                    </a:lnTo>
                    <a:lnTo>
                      <a:pt x="2106" y="2418"/>
                    </a:lnTo>
                    <a:lnTo>
                      <a:pt x="2112" y="2429"/>
                    </a:lnTo>
                    <a:lnTo>
                      <a:pt x="2118" y="2438"/>
                    </a:lnTo>
                    <a:lnTo>
                      <a:pt x="2125" y="2447"/>
                    </a:lnTo>
                    <a:lnTo>
                      <a:pt x="2133" y="2455"/>
                    </a:lnTo>
                    <a:lnTo>
                      <a:pt x="2141" y="2463"/>
                    </a:lnTo>
                    <a:lnTo>
                      <a:pt x="2151" y="2469"/>
                    </a:lnTo>
                    <a:lnTo>
                      <a:pt x="2161" y="2474"/>
                    </a:lnTo>
                    <a:lnTo>
                      <a:pt x="2170" y="2477"/>
                    </a:lnTo>
                    <a:lnTo>
                      <a:pt x="2181" y="2481"/>
                    </a:lnTo>
                    <a:lnTo>
                      <a:pt x="2193" y="2482"/>
                    </a:lnTo>
                    <a:lnTo>
                      <a:pt x="2204" y="2483"/>
                    </a:lnTo>
                    <a:lnTo>
                      <a:pt x="2204" y="2483"/>
                    </a:lnTo>
                    <a:lnTo>
                      <a:pt x="2216" y="2482"/>
                    </a:lnTo>
                    <a:lnTo>
                      <a:pt x="2229" y="2481"/>
                    </a:lnTo>
                    <a:lnTo>
                      <a:pt x="2240" y="2477"/>
                    </a:lnTo>
                    <a:lnTo>
                      <a:pt x="2249" y="2474"/>
                    </a:lnTo>
                    <a:lnTo>
                      <a:pt x="2259" y="2469"/>
                    </a:lnTo>
                    <a:lnTo>
                      <a:pt x="2269" y="2463"/>
                    </a:lnTo>
                    <a:lnTo>
                      <a:pt x="2277" y="2455"/>
                    </a:lnTo>
                    <a:lnTo>
                      <a:pt x="2284" y="2447"/>
                    </a:lnTo>
                    <a:lnTo>
                      <a:pt x="2292" y="2438"/>
                    </a:lnTo>
                    <a:lnTo>
                      <a:pt x="2298" y="2429"/>
                    </a:lnTo>
                    <a:lnTo>
                      <a:pt x="2303" y="2418"/>
                    </a:lnTo>
                    <a:lnTo>
                      <a:pt x="2308" y="2407"/>
                    </a:lnTo>
                    <a:lnTo>
                      <a:pt x="2311" y="2395"/>
                    </a:lnTo>
                    <a:lnTo>
                      <a:pt x="2314" y="2382"/>
                    </a:lnTo>
                    <a:lnTo>
                      <a:pt x="2316" y="2369"/>
                    </a:lnTo>
                    <a:lnTo>
                      <a:pt x="2316" y="2356"/>
                    </a:lnTo>
                    <a:lnTo>
                      <a:pt x="2316" y="2356"/>
                    </a:lnTo>
                    <a:lnTo>
                      <a:pt x="2316" y="2341"/>
                    </a:lnTo>
                    <a:lnTo>
                      <a:pt x="2314" y="2329"/>
                    </a:lnTo>
                    <a:lnTo>
                      <a:pt x="2311" y="2316"/>
                    </a:lnTo>
                    <a:lnTo>
                      <a:pt x="2308" y="2303"/>
                    </a:lnTo>
                    <a:lnTo>
                      <a:pt x="2303" y="2293"/>
                    </a:lnTo>
                    <a:lnTo>
                      <a:pt x="2298" y="2282"/>
                    </a:lnTo>
                    <a:lnTo>
                      <a:pt x="2292" y="2272"/>
                    </a:lnTo>
                    <a:lnTo>
                      <a:pt x="2284" y="2263"/>
                    </a:lnTo>
                    <a:lnTo>
                      <a:pt x="2277" y="2255"/>
                    </a:lnTo>
                    <a:lnTo>
                      <a:pt x="2269" y="2249"/>
                    </a:lnTo>
                    <a:lnTo>
                      <a:pt x="2259" y="2241"/>
                    </a:lnTo>
                    <a:lnTo>
                      <a:pt x="2249" y="2237"/>
                    </a:lnTo>
                    <a:lnTo>
                      <a:pt x="2240" y="2233"/>
                    </a:lnTo>
                    <a:lnTo>
                      <a:pt x="2229" y="2229"/>
                    </a:lnTo>
                    <a:lnTo>
                      <a:pt x="2216" y="2228"/>
                    </a:lnTo>
                    <a:lnTo>
                      <a:pt x="2204" y="2227"/>
                    </a:lnTo>
                    <a:lnTo>
                      <a:pt x="2204" y="2227"/>
                    </a:lnTo>
                    <a:close/>
                    <a:moveTo>
                      <a:pt x="2204" y="2426"/>
                    </a:moveTo>
                    <a:lnTo>
                      <a:pt x="2204" y="2426"/>
                    </a:lnTo>
                    <a:lnTo>
                      <a:pt x="2193" y="2425"/>
                    </a:lnTo>
                    <a:lnTo>
                      <a:pt x="2185" y="2421"/>
                    </a:lnTo>
                    <a:lnTo>
                      <a:pt x="2176" y="2415"/>
                    </a:lnTo>
                    <a:lnTo>
                      <a:pt x="2169" y="2407"/>
                    </a:lnTo>
                    <a:lnTo>
                      <a:pt x="2163" y="2397"/>
                    </a:lnTo>
                    <a:lnTo>
                      <a:pt x="2158" y="2385"/>
                    </a:lnTo>
                    <a:lnTo>
                      <a:pt x="2156" y="2370"/>
                    </a:lnTo>
                    <a:lnTo>
                      <a:pt x="2156" y="2356"/>
                    </a:lnTo>
                    <a:lnTo>
                      <a:pt x="2156" y="2356"/>
                    </a:lnTo>
                    <a:lnTo>
                      <a:pt x="2156" y="2340"/>
                    </a:lnTo>
                    <a:lnTo>
                      <a:pt x="2158" y="2327"/>
                    </a:lnTo>
                    <a:lnTo>
                      <a:pt x="2163" y="2314"/>
                    </a:lnTo>
                    <a:lnTo>
                      <a:pt x="2169" y="2303"/>
                    </a:lnTo>
                    <a:lnTo>
                      <a:pt x="2176" y="2295"/>
                    </a:lnTo>
                    <a:lnTo>
                      <a:pt x="2185" y="2289"/>
                    </a:lnTo>
                    <a:lnTo>
                      <a:pt x="2193" y="2285"/>
                    </a:lnTo>
                    <a:lnTo>
                      <a:pt x="2204" y="2284"/>
                    </a:lnTo>
                    <a:lnTo>
                      <a:pt x="2204" y="2284"/>
                    </a:lnTo>
                    <a:lnTo>
                      <a:pt x="2215" y="2285"/>
                    </a:lnTo>
                    <a:lnTo>
                      <a:pt x="2225" y="2289"/>
                    </a:lnTo>
                    <a:lnTo>
                      <a:pt x="2233" y="2295"/>
                    </a:lnTo>
                    <a:lnTo>
                      <a:pt x="2241" y="2303"/>
                    </a:lnTo>
                    <a:lnTo>
                      <a:pt x="2247" y="2314"/>
                    </a:lnTo>
                    <a:lnTo>
                      <a:pt x="2250" y="2327"/>
                    </a:lnTo>
                    <a:lnTo>
                      <a:pt x="2253" y="2340"/>
                    </a:lnTo>
                    <a:lnTo>
                      <a:pt x="2254" y="2356"/>
                    </a:lnTo>
                    <a:lnTo>
                      <a:pt x="2254" y="2356"/>
                    </a:lnTo>
                    <a:lnTo>
                      <a:pt x="2253" y="2370"/>
                    </a:lnTo>
                    <a:lnTo>
                      <a:pt x="2250" y="2385"/>
                    </a:lnTo>
                    <a:lnTo>
                      <a:pt x="2247" y="2397"/>
                    </a:lnTo>
                    <a:lnTo>
                      <a:pt x="2241" y="2407"/>
                    </a:lnTo>
                    <a:lnTo>
                      <a:pt x="2233" y="2415"/>
                    </a:lnTo>
                    <a:lnTo>
                      <a:pt x="2225" y="2421"/>
                    </a:lnTo>
                    <a:lnTo>
                      <a:pt x="2215" y="2425"/>
                    </a:lnTo>
                    <a:lnTo>
                      <a:pt x="2204" y="2426"/>
                    </a:lnTo>
                    <a:lnTo>
                      <a:pt x="2204" y="2426"/>
                    </a:lnTo>
                    <a:close/>
                    <a:moveTo>
                      <a:pt x="921" y="2313"/>
                    </a:moveTo>
                    <a:lnTo>
                      <a:pt x="995" y="2477"/>
                    </a:lnTo>
                    <a:lnTo>
                      <a:pt x="928" y="2477"/>
                    </a:lnTo>
                    <a:lnTo>
                      <a:pt x="877" y="2364"/>
                    </a:lnTo>
                    <a:lnTo>
                      <a:pt x="845" y="2404"/>
                    </a:lnTo>
                    <a:lnTo>
                      <a:pt x="845" y="2477"/>
                    </a:lnTo>
                    <a:lnTo>
                      <a:pt x="785" y="2477"/>
                    </a:lnTo>
                    <a:lnTo>
                      <a:pt x="785" y="2161"/>
                    </a:lnTo>
                    <a:lnTo>
                      <a:pt x="845" y="2131"/>
                    </a:lnTo>
                    <a:lnTo>
                      <a:pt x="845" y="2327"/>
                    </a:lnTo>
                    <a:lnTo>
                      <a:pt x="845" y="2327"/>
                    </a:lnTo>
                    <a:lnTo>
                      <a:pt x="868" y="2295"/>
                    </a:lnTo>
                    <a:lnTo>
                      <a:pt x="916" y="2233"/>
                    </a:lnTo>
                    <a:lnTo>
                      <a:pt x="987" y="2233"/>
                    </a:lnTo>
                    <a:lnTo>
                      <a:pt x="921" y="2313"/>
                    </a:lnTo>
                    <a:close/>
                    <a:moveTo>
                      <a:pt x="1208" y="2477"/>
                    </a:moveTo>
                    <a:lnTo>
                      <a:pt x="1147" y="2477"/>
                    </a:lnTo>
                    <a:lnTo>
                      <a:pt x="1147" y="2233"/>
                    </a:lnTo>
                    <a:lnTo>
                      <a:pt x="1208" y="2233"/>
                    </a:lnTo>
                    <a:lnTo>
                      <a:pt x="1208" y="2254"/>
                    </a:lnTo>
                    <a:lnTo>
                      <a:pt x="1208" y="2254"/>
                    </a:lnTo>
                    <a:lnTo>
                      <a:pt x="1214" y="2248"/>
                    </a:lnTo>
                    <a:lnTo>
                      <a:pt x="1220" y="2243"/>
                    </a:lnTo>
                    <a:lnTo>
                      <a:pt x="1227" y="2238"/>
                    </a:lnTo>
                    <a:lnTo>
                      <a:pt x="1235" y="2234"/>
                    </a:lnTo>
                    <a:lnTo>
                      <a:pt x="1243" y="2232"/>
                    </a:lnTo>
                    <a:lnTo>
                      <a:pt x="1252" y="2229"/>
                    </a:lnTo>
                    <a:lnTo>
                      <a:pt x="1260" y="2228"/>
                    </a:lnTo>
                    <a:lnTo>
                      <a:pt x="1270" y="2227"/>
                    </a:lnTo>
                    <a:lnTo>
                      <a:pt x="1270" y="2227"/>
                    </a:lnTo>
                    <a:lnTo>
                      <a:pt x="1281" y="2228"/>
                    </a:lnTo>
                    <a:lnTo>
                      <a:pt x="1290" y="2229"/>
                    </a:lnTo>
                    <a:lnTo>
                      <a:pt x="1299" y="2232"/>
                    </a:lnTo>
                    <a:lnTo>
                      <a:pt x="1309" y="2234"/>
                    </a:lnTo>
                    <a:lnTo>
                      <a:pt x="1316" y="2239"/>
                    </a:lnTo>
                    <a:lnTo>
                      <a:pt x="1323" y="2244"/>
                    </a:lnTo>
                    <a:lnTo>
                      <a:pt x="1331" y="2249"/>
                    </a:lnTo>
                    <a:lnTo>
                      <a:pt x="1337" y="2256"/>
                    </a:lnTo>
                    <a:lnTo>
                      <a:pt x="1342" y="2263"/>
                    </a:lnTo>
                    <a:lnTo>
                      <a:pt x="1346" y="2272"/>
                    </a:lnTo>
                    <a:lnTo>
                      <a:pt x="1350" y="2280"/>
                    </a:lnTo>
                    <a:lnTo>
                      <a:pt x="1354" y="2291"/>
                    </a:lnTo>
                    <a:lnTo>
                      <a:pt x="1356" y="2302"/>
                    </a:lnTo>
                    <a:lnTo>
                      <a:pt x="1357" y="2313"/>
                    </a:lnTo>
                    <a:lnTo>
                      <a:pt x="1359" y="2325"/>
                    </a:lnTo>
                    <a:lnTo>
                      <a:pt x="1360" y="2339"/>
                    </a:lnTo>
                    <a:lnTo>
                      <a:pt x="1360" y="2477"/>
                    </a:lnTo>
                    <a:lnTo>
                      <a:pt x="1299" y="2477"/>
                    </a:lnTo>
                    <a:lnTo>
                      <a:pt x="1299" y="2342"/>
                    </a:lnTo>
                    <a:lnTo>
                      <a:pt x="1299" y="2342"/>
                    </a:lnTo>
                    <a:lnTo>
                      <a:pt x="1298" y="2329"/>
                    </a:lnTo>
                    <a:lnTo>
                      <a:pt x="1297" y="2316"/>
                    </a:lnTo>
                    <a:lnTo>
                      <a:pt x="1293" y="2306"/>
                    </a:lnTo>
                    <a:lnTo>
                      <a:pt x="1288" y="2297"/>
                    </a:lnTo>
                    <a:lnTo>
                      <a:pt x="1282" y="2291"/>
                    </a:lnTo>
                    <a:lnTo>
                      <a:pt x="1275" y="2286"/>
                    </a:lnTo>
                    <a:lnTo>
                      <a:pt x="1265" y="2284"/>
                    </a:lnTo>
                    <a:lnTo>
                      <a:pt x="1254" y="2283"/>
                    </a:lnTo>
                    <a:lnTo>
                      <a:pt x="1254" y="2283"/>
                    </a:lnTo>
                    <a:lnTo>
                      <a:pt x="1244" y="2284"/>
                    </a:lnTo>
                    <a:lnTo>
                      <a:pt x="1235" y="2286"/>
                    </a:lnTo>
                    <a:lnTo>
                      <a:pt x="1226" y="2291"/>
                    </a:lnTo>
                    <a:lnTo>
                      <a:pt x="1220" y="2299"/>
                    </a:lnTo>
                    <a:lnTo>
                      <a:pt x="1215" y="2306"/>
                    </a:lnTo>
                    <a:lnTo>
                      <a:pt x="1212" y="2317"/>
                    </a:lnTo>
                    <a:lnTo>
                      <a:pt x="1209" y="2329"/>
                    </a:lnTo>
                    <a:lnTo>
                      <a:pt x="1208" y="2342"/>
                    </a:lnTo>
                    <a:lnTo>
                      <a:pt x="1208" y="2477"/>
                    </a:lnTo>
                    <a:close/>
                    <a:moveTo>
                      <a:pt x="1551" y="2250"/>
                    </a:moveTo>
                    <a:lnTo>
                      <a:pt x="1551" y="2250"/>
                    </a:lnTo>
                    <a:lnTo>
                      <a:pt x="1544" y="2245"/>
                    </a:lnTo>
                    <a:lnTo>
                      <a:pt x="1538" y="2240"/>
                    </a:lnTo>
                    <a:lnTo>
                      <a:pt x="1532" y="2237"/>
                    </a:lnTo>
                    <a:lnTo>
                      <a:pt x="1525" y="2233"/>
                    </a:lnTo>
                    <a:lnTo>
                      <a:pt x="1518" y="2231"/>
                    </a:lnTo>
                    <a:lnTo>
                      <a:pt x="1510" y="2229"/>
                    </a:lnTo>
                    <a:lnTo>
                      <a:pt x="1503" y="2228"/>
                    </a:lnTo>
                    <a:lnTo>
                      <a:pt x="1496" y="2227"/>
                    </a:lnTo>
                    <a:lnTo>
                      <a:pt x="1496" y="2227"/>
                    </a:lnTo>
                    <a:lnTo>
                      <a:pt x="1485" y="2228"/>
                    </a:lnTo>
                    <a:lnTo>
                      <a:pt x="1475" y="2229"/>
                    </a:lnTo>
                    <a:lnTo>
                      <a:pt x="1465" y="2232"/>
                    </a:lnTo>
                    <a:lnTo>
                      <a:pt x="1456" y="2237"/>
                    </a:lnTo>
                    <a:lnTo>
                      <a:pt x="1447" y="2240"/>
                    </a:lnTo>
                    <a:lnTo>
                      <a:pt x="1440" y="2246"/>
                    </a:lnTo>
                    <a:lnTo>
                      <a:pt x="1433" y="2254"/>
                    </a:lnTo>
                    <a:lnTo>
                      <a:pt x="1425" y="2261"/>
                    </a:lnTo>
                    <a:lnTo>
                      <a:pt x="1419" y="2269"/>
                    </a:lnTo>
                    <a:lnTo>
                      <a:pt x="1414" y="2279"/>
                    </a:lnTo>
                    <a:lnTo>
                      <a:pt x="1410" y="2289"/>
                    </a:lnTo>
                    <a:lnTo>
                      <a:pt x="1406" y="2301"/>
                    </a:lnTo>
                    <a:lnTo>
                      <a:pt x="1404" y="2312"/>
                    </a:lnTo>
                    <a:lnTo>
                      <a:pt x="1401" y="2325"/>
                    </a:lnTo>
                    <a:lnTo>
                      <a:pt x="1400" y="2339"/>
                    </a:lnTo>
                    <a:lnTo>
                      <a:pt x="1400" y="2352"/>
                    </a:lnTo>
                    <a:lnTo>
                      <a:pt x="1400" y="2352"/>
                    </a:lnTo>
                    <a:lnTo>
                      <a:pt x="1400" y="2368"/>
                    </a:lnTo>
                    <a:lnTo>
                      <a:pt x="1401" y="2381"/>
                    </a:lnTo>
                    <a:lnTo>
                      <a:pt x="1404" y="2395"/>
                    </a:lnTo>
                    <a:lnTo>
                      <a:pt x="1406" y="2408"/>
                    </a:lnTo>
                    <a:lnTo>
                      <a:pt x="1410" y="2419"/>
                    </a:lnTo>
                    <a:lnTo>
                      <a:pt x="1414" y="2430"/>
                    </a:lnTo>
                    <a:lnTo>
                      <a:pt x="1419" y="2440"/>
                    </a:lnTo>
                    <a:lnTo>
                      <a:pt x="1425" y="2448"/>
                    </a:lnTo>
                    <a:lnTo>
                      <a:pt x="1431" y="2457"/>
                    </a:lnTo>
                    <a:lnTo>
                      <a:pt x="1439" y="2463"/>
                    </a:lnTo>
                    <a:lnTo>
                      <a:pt x="1446" y="2469"/>
                    </a:lnTo>
                    <a:lnTo>
                      <a:pt x="1455" y="2474"/>
                    </a:lnTo>
                    <a:lnTo>
                      <a:pt x="1464" y="2477"/>
                    </a:lnTo>
                    <a:lnTo>
                      <a:pt x="1474" y="2481"/>
                    </a:lnTo>
                    <a:lnTo>
                      <a:pt x="1484" y="2482"/>
                    </a:lnTo>
                    <a:lnTo>
                      <a:pt x="1495" y="2483"/>
                    </a:lnTo>
                    <a:lnTo>
                      <a:pt x="1495" y="2483"/>
                    </a:lnTo>
                    <a:lnTo>
                      <a:pt x="1502" y="2482"/>
                    </a:lnTo>
                    <a:lnTo>
                      <a:pt x="1510" y="2481"/>
                    </a:lnTo>
                    <a:lnTo>
                      <a:pt x="1518" y="2480"/>
                    </a:lnTo>
                    <a:lnTo>
                      <a:pt x="1525" y="2477"/>
                    </a:lnTo>
                    <a:lnTo>
                      <a:pt x="1531" y="2474"/>
                    </a:lnTo>
                    <a:lnTo>
                      <a:pt x="1538" y="2470"/>
                    </a:lnTo>
                    <a:lnTo>
                      <a:pt x="1544" y="2465"/>
                    </a:lnTo>
                    <a:lnTo>
                      <a:pt x="1551" y="2459"/>
                    </a:lnTo>
                    <a:lnTo>
                      <a:pt x="1551" y="2465"/>
                    </a:lnTo>
                    <a:lnTo>
                      <a:pt x="1551" y="2465"/>
                    </a:lnTo>
                    <a:lnTo>
                      <a:pt x="1551" y="2475"/>
                    </a:lnTo>
                    <a:lnTo>
                      <a:pt x="1549" y="2486"/>
                    </a:lnTo>
                    <a:lnTo>
                      <a:pt x="1546" y="2497"/>
                    </a:lnTo>
                    <a:lnTo>
                      <a:pt x="1543" y="2502"/>
                    </a:lnTo>
                    <a:lnTo>
                      <a:pt x="1541" y="2506"/>
                    </a:lnTo>
                    <a:lnTo>
                      <a:pt x="1536" y="2511"/>
                    </a:lnTo>
                    <a:lnTo>
                      <a:pt x="1531" y="2516"/>
                    </a:lnTo>
                    <a:lnTo>
                      <a:pt x="1525" y="2520"/>
                    </a:lnTo>
                    <a:lnTo>
                      <a:pt x="1518" y="2524"/>
                    </a:lnTo>
                    <a:lnTo>
                      <a:pt x="1508" y="2526"/>
                    </a:lnTo>
                    <a:lnTo>
                      <a:pt x="1498" y="2528"/>
                    </a:lnTo>
                    <a:lnTo>
                      <a:pt x="1486" y="2530"/>
                    </a:lnTo>
                    <a:lnTo>
                      <a:pt x="1472" y="2530"/>
                    </a:lnTo>
                    <a:lnTo>
                      <a:pt x="1469" y="2530"/>
                    </a:lnTo>
                    <a:lnTo>
                      <a:pt x="1491" y="2577"/>
                    </a:lnTo>
                    <a:lnTo>
                      <a:pt x="1492" y="2577"/>
                    </a:lnTo>
                    <a:lnTo>
                      <a:pt x="1492" y="2577"/>
                    </a:lnTo>
                    <a:lnTo>
                      <a:pt x="1507" y="2577"/>
                    </a:lnTo>
                    <a:lnTo>
                      <a:pt x="1520" y="2576"/>
                    </a:lnTo>
                    <a:lnTo>
                      <a:pt x="1532" y="2572"/>
                    </a:lnTo>
                    <a:lnTo>
                      <a:pt x="1544" y="2570"/>
                    </a:lnTo>
                    <a:lnTo>
                      <a:pt x="1555" y="2565"/>
                    </a:lnTo>
                    <a:lnTo>
                      <a:pt x="1565" y="2560"/>
                    </a:lnTo>
                    <a:lnTo>
                      <a:pt x="1574" y="2554"/>
                    </a:lnTo>
                    <a:lnTo>
                      <a:pt x="1581" y="2547"/>
                    </a:lnTo>
                    <a:lnTo>
                      <a:pt x="1588" y="2538"/>
                    </a:lnTo>
                    <a:lnTo>
                      <a:pt x="1594" y="2530"/>
                    </a:lnTo>
                    <a:lnTo>
                      <a:pt x="1599" y="2519"/>
                    </a:lnTo>
                    <a:lnTo>
                      <a:pt x="1603" y="2508"/>
                    </a:lnTo>
                    <a:lnTo>
                      <a:pt x="1606" y="2497"/>
                    </a:lnTo>
                    <a:lnTo>
                      <a:pt x="1609" y="2483"/>
                    </a:lnTo>
                    <a:lnTo>
                      <a:pt x="1610" y="2470"/>
                    </a:lnTo>
                    <a:lnTo>
                      <a:pt x="1610" y="2455"/>
                    </a:lnTo>
                    <a:lnTo>
                      <a:pt x="1610" y="2233"/>
                    </a:lnTo>
                    <a:lnTo>
                      <a:pt x="1551" y="2233"/>
                    </a:lnTo>
                    <a:lnTo>
                      <a:pt x="1551" y="2250"/>
                    </a:lnTo>
                    <a:close/>
                    <a:moveTo>
                      <a:pt x="1551" y="2307"/>
                    </a:moveTo>
                    <a:lnTo>
                      <a:pt x="1551" y="2403"/>
                    </a:lnTo>
                    <a:lnTo>
                      <a:pt x="1551" y="2403"/>
                    </a:lnTo>
                    <a:lnTo>
                      <a:pt x="1542" y="2412"/>
                    </a:lnTo>
                    <a:lnTo>
                      <a:pt x="1534" y="2420"/>
                    </a:lnTo>
                    <a:lnTo>
                      <a:pt x="1527" y="2423"/>
                    </a:lnTo>
                    <a:lnTo>
                      <a:pt x="1521" y="2425"/>
                    </a:lnTo>
                    <a:lnTo>
                      <a:pt x="1515" y="2426"/>
                    </a:lnTo>
                    <a:lnTo>
                      <a:pt x="1507" y="2427"/>
                    </a:lnTo>
                    <a:lnTo>
                      <a:pt x="1507" y="2427"/>
                    </a:lnTo>
                    <a:lnTo>
                      <a:pt x="1499" y="2426"/>
                    </a:lnTo>
                    <a:lnTo>
                      <a:pt x="1491" y="2424"/>
                    </a:lnTo>
                    <a:lnTo>
                      <a:pt x="1484" y="2420"/>
                    </a:lnTo>
                    <a:lnTo>
                      <a:pt x="1476" y="2413"/>
                    </a:lnTo>
                    <a:lnTo>
                      <a:pt x="1470" y="2403"/>
                    </a:lnTo>
                    <a:lnTo>
                      <a:pt x="1465" y="2390"/>
                    </a:lnTo>
                    <a:lnTo>
                      <a:pt x="1463" y="2373"/>
                    </a:lnTo>
                    <a:lnTo>
                      <a:pt x="1462" y="2351"/>
                    </a:lnTo>
                    <a:lnTo>
                      <a:pt x="1462" y="2351"/>
                    </a:lnTo>
                    <a:lnTo>
                      <a:pt x="1463" y="2333"/>
                    </a:lnTo>
                    <a:lnTo>
                      <a:pt x="1465" y="2317"/>
                    </a:lnTo>
                    <a:lnTo>
                      <a:pt x="1470" y="2305"/>
                    </a:lnTo>
                    <a:lnTo>
                      <a:pt x="1476" y="2296"/>
                    </a:lnTo>
                    <a:lnTo>
                      <a:pt x="1484" y="2290"/>
                    </a:lnTo>
                    <a:lnTo>
                      <a:pt x="1491" y="2285"/>
                    </a:lnTo>
                    <a:lnTo>
                      <a:pt x="1499" y="2284"/>
                    </a:lnTo>
                    <a:lnTo>
                      <a:pt x="1507" y="2283"/>
                    </a:lnTo>
                    <a:lnTo>
                      <a:pt x="1507" y="2283"/>
                    </a:lnTo>
                    <a:lnTo>
                      <a:pt x="1515" y="2284"/>
                    </a:lnTo>
                    <a:lnTo>
                      <a:pt x="1523" y="2285"/>
                    </a:lnTo>
                    <a:lnTo>
                      <a:pt x="1529" y="2288"/>
                    </a:lnTo>
                    <a:lnTo>
                      <a:pt x="1535" y="2291"/>
                    </a:lnTo>
                    <a:lnTo>
                      <a:pt x="1540" y="2295"/>
                    </a:lnTo>
                    <a:lnTo>
                      <a:pt x="1543" y="2299"/>
                    </a:lnTo>
                    <a:lnTo>
                      <a:pt x="1551" y="2307"/>
                    </a:lnTo>
                    <a:lnTo>
                      <a:pt x="1551" y="2307"/>
                    </a:lnTo>
                    <a:close/>
                    <a:moveTo>
                      <a:pt x="1033" y="2233"/>
                    </a:moveTo>
                    <a:lnTo>
                      <a:pt x="1094" y="2233"/>
                    </a:lnTo>
                    <a:lnTo>
                      <a:pt x="1094" y="2341"/>
                    </a:lnTo>
                    <a:lnTo>
                      <a:pt x="1094" y="2477"/>
                    </a:lnTo>
                    <a:lnTo>
                      <a:pt x="1033" y="2477"/>
                    </a:lnTo>
                    <a:lnTo>
                      <a:pt x="1033" y="2233"/>
                    </a:lnTo>
                    <a:close/>
                    <a:moveTo>
                      <a:pt x="1094" y="2167"/>
                    </a:moveTo>
                    <a:lnTo>
                      <a:pt x="1094" y="2198"/>
                    </a:lnTo>
                    <a:lnTo>
                      <a:pt x="1033" y="2198"/>
                    </a:lnTo>
                    <a:lnTo>
                      <a:pt x="1033" y="2137"/>
                    </a:lnTo>
                    <a:lnTo>
                      <a:pt x="1094" y="2137"/>
                    </a:lnTo>
                    <a:lnTo>
                      <a:pt x="1094" y="2167"/>
                    </a:lnTo>
                    <a:close/>
                    <a:moveTo>
                      <a:pt x="2542" y="2161"/>
                    </a:moveTo>
                    <a:lnTo>
                      <a:pt x="2603" y="2131"/>
                    </a:lnTo>
                    <a:lnTo>
                      <a:pt x="2603" y="2352"/>
                    </a:lnTo>
                    <a:lnTo>
                      <a:pt x="2603" y="2477"/>
                    </a:lnTo>
                    <a:lnTo>
                      <a:pt x="2542" y="2477"/>
                    </a:lnTo>
                    <a:lnTo>
                      <a:pt x="2542" y="2161"/>
                    </a:lnTo>
                    <a:close/>
                    <a:moveTo>
                      <a:pt x="437" y="834"/>
                    </a:moveTo>
                    <a:lnTo>
                      <a:pt x="936" y="834"/>
                    </a:lnTo>
                    <a:lnTo>
                      <a:pt x="936" y="544"/>
                    </a:lnTo>
                    <a:lnTo>
                      <a:pt x="437" y="544"/>
                    </a:lnTo>
                    <a:lnTo>
                      <a:pt x="437" y="317"/>
                    </a:lnTo>
                    <a:lnTo>
                      <a:pt x="989" y="317"/>
                    </a:lnTo>
                    <a:lnTo>
                      <a:pt x="806" y="0"/>
                    </a:lnTo>
                    <a:lnTo>
                      <a:pt x="24" y="0"/>
                    </a:lnTo>
                    <a:lnTo>
                      <a:pt x="24" y="1378"/>
                    </a:lnTo>
                    <a:lnTo>
                      <a:pt x="1126" y="1378"/>
                    </a:lnTo>
                    <a:lnTo>
                      <a:pt x="1126" y="1061"/>
                    </a:lnTo>
                    <a:lnTo>
                      <a:pt x="437" y="1061"/>
                    </a:lnTo>
                    <a:lnTo>
                      <a:pt x="437" y="834"/>
                    </a:lnTo>
                    <a:close/>
                    <a:moveTo>
                      <a:pt x="1860" y="0"/>
                    </a:moveTo>
                    <a:lnTo>
                      <a:pt x="1626" y="450"/>
                    </a:lnTo>
                    <a:lnTo>
                      <a:pt x="1393" y="0"/>
                    </a:lnTo>
                    <a:lnTo>
                      <a:pt x="936" y="0"/>
                    </a:lnTo>
                    <a:lnTo>
                      <a:pt x="1417" y="834"/>
                    </a:lnTo>
                    <a:lnTo>
                      <a:pt x="1417" y="1378"/>
                    </a:lnTo>
                    <a:lnTo>
                      <a:pt x="1829" y="1378"/>
                    </a:lnTo>
                    <a:lnTo>
                      <a:pt x="1829" y="834"/>
                    </a:lnTo>
                    <a:lnTo>
                      <a:pt x="2311" y="0"/>
                    </a:lnTo>
                    <a:lnTo>
                      <a:pt x="18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</p:grpSp>
        <p:sp>
          <p:nvSpPr>
            <p:cNvPr id="39" name="Content Placeholder 5">
              <a:extLst>
                <a:ext uri="{FF2B5EF4-FFF2-40B4-BE49-F238E27FC236}">
                  <a16:creationId xmlns:a16="http://schemas.microsoft.com/office/drawing/2014/main" id="{C2BD6BD7-DE97-47DC-8E00-07D27803E56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28588" y="-12187"/>
              <a:ext cx="799089" cy="310587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Context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&amp; Scope</a:t>
              </a:r>
            </a:p>
          </p:txBody>
        </p:sp>
        <p:sp>
          <p:nvSpPr>
            <p:cNvPr id="40" name="Content Placeholder 5">
              <a:extLst>
                <a:ext uri="{FF2B5EF4-FFF2-40B4-BE49-F238E27FC236}">
                  <a16:creationId xmlns:a16="http://schemas.microsoft.com/office/drawing/2014/main" id="{FCB3AD57-759C-45B0-993E-AC99C346E1F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653573" y="1246"/>
              <a:ext cx="1008804" cy="283721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en-US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 Timeline</a:t>
              </a:r>
            </a:p>
          </p:txBody>
        </p:sp>
        <p:sp>
          <p:nvSpPr>
            <p:cNvPr id="41" name="Content Placeholder 5">
              <a:extLst>
                <a:ext uri="{FF2B5EF4-FFF2-40B4-BE49-F238E27FC236}">
                  <a16:creationId xmlns:a16="http://schemas.microsoft.com/office/drawing/2014/main" id="{194C326A-3869-4B3C-8668-216F2D74FCE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77810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Detailed Scope &amp; Assumptions</a:t>
              </a:r>
            </a:p>
          </p:txBody>
        </p:sp>
        <p:sp>
          <p:nvSpPr>
            <p:cNvPr id="42" name="Content Placeholder 5">
              <a:extLst>
                <a:ext uri="{FF2B5EF4-FFF2-40B4-BE49-F238E27FC236}">
                  <a16:creationId xmlns:a16="http://schemas.microsoft.com/office/drawing/2014/main" id="{B8A1C8DA-399A-431D-BA8F-1D7BF339783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97101" y="47457"/>
              <a:ext cx="1279397" cy="191298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Solution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roach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3" name="Content Placeholder 5">
              <a:extLst>
                <a:ext uri="{FF2B5EF4-FFF2-40B4-BE49-F238E27FC236}">
                  <a16:creationId xmlns:a16="http://schemas.microsoft.com/office/drawing/2014/main" id="{0EAEC958-366C-4FEE-A045-F0C8318D138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45922" y="75112"/>
              <a:ext cx="1138227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ject Team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Governance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4" name="Content Placeholder 5">
              <a:extLst>
                <a:ext uri="{FF2B5EF4-FFF2-40B4-BE49-F238E27FC236}">
                  <a16:creationId xmlns:a16="http://schemas.microsoft.com/office/drawing/2014/main" id="{5FD95BCA-4B8D-48F4-948C-A33EE9BD935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31801" y="75112"/>
              <a:ext cx="1097554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Value Proposition</a:t>
              </a:r>
            </a:p>
          </p:txBody>
        </p:sp>
        <p:sp>
          <p:nvSpPr>
            <p:cNvPr id="45" name="Content Placeholder 5">
              <a:extLst>
                <a:ext uri="{FF2B5EF4-FFF2-40B4-BE49-F238E27FC236}">
                  <a16:creationId xmlns:a16="http://schemas.microsoft.com/office/drawing/2014/main" id="{E25096FB-C3F7-4171-8934-5AE98239FA5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734717" y="79567"/>
              <a:ext cx="773670" cy="12707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Teams Profiles</a:t>
              </a:r>
            </a:p>
          </p:txBody>
        </p:sp>
        <p:sp>
          <p:nvSpPr>
            <p:cNvPr id="46" name="Content Placeholder 5">
              <a:extLst>
                <a:ext uri="{FF2B5EF4-FFF2-40B4-BE49-F238E27FC236}">
                  <a16:creationId xmlns:a16="http://schemas.microsoft.com/office/drawing/2014/main" id="{76CC2B59-4E1F-46CE-8854-7A2F001CA49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98779" y="54928"/>
              <a:ext cx="866515" cy="1763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Credentials</a:t>
              </a:r>
            </a:p>
          </p:txBody>
        </p:sp>
        <p:sp>
          <p:nvSpPr>
            <p:cNvPr id="47" name="Content Placeholder 5">
              <a:extLst>
                <a:ext uri="{FF2B5EF4-FFF2-40B4-BE49-F238E27FC236}">
                  <a16:creationId xmlns:a16="http://schemas.microsoft.com/office/drawing/2014/main" id="{10B2AD08-4163-40E3-9A07-0196A59571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229765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end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61773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212730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44" b="502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111" y="869577"/>
            <a:ext cx="4845500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753392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739036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1083093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898757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3986075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75289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633452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638074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3833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36296" y="67964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33389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6">
            <a:extLst>
              <a:ext uri="{FF2B5EF4-FFF2-40B4-BE49-F238E27FC236}">
                <a16:creationId xmlns:a16="http://schemas.microsoft.com/office/drawing/2014/main" id="{EFB925B3-4299-46F0-9972-27A04172C230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9096" y="6668550"/>
            <a:ext cx="284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EY Consulting</a:t>
            </a:r>
          </a:p>
        </p:txBody>
      </p:sp>
      <p:sp>
        <p:nvSpPr>
          <p:cNvPr id="38" name="Forme libre : forme 27">
            <a:extLst>
              <a:ext uri="{FF2B5EF4-FFF2-40B4-BE49-F238E27FC236}">
                <a16:creationId xmlns:a16="http://schemas.microsoft.com/office/drawing/2014/main" id="{1E991ADB-F21B-4B8F-986F-558C45F62953}"/>
              </a:ext>
            </a:extLst>
          </p:cNvPr>
          <p:cNvSpPr/>
          <p:nvPr userDrawn="1"/>
        </p:nvSpPr>
        <p:spPr>
          <a:xfrm>
            <a:off x="-792287" y="436785"/>
            <a:ext cx="1181100" cy="0"/>
          </a:xfrm>
          <a:custGeom>
            <a:avLst/>
            <a:gdLst>
              <a:gd name="connsiteX0" fmla="*/ 0 w 1181100"/>
              <a:gd name="connsiteY0" fmla="*/ 0 h 0"/>
              <a:gd name="connsiteX1" fmla="*/ 1181100 w 1181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81100">
                <a:moveTo>
                  <a:pt x="0" y="0"/>
                </a:moveTo>
                <a:lnTo>
                  <a:pt x="1181100" y="0"/>
                </a:lnTo>
              </a:path>
            </a:pathLst>
          </a:cu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A8B6F3A4-7ED0-4B43-8EC7-CE9DEA9BB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314823"/>
            <a:ext cx="11175818" cy="476462"/>
          </a:xfrm>
        </p:spPr>
        <p:txBody>
          <a:bodyPr numCol="1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lang="en-US" sz="1600" b="0" kern="1200" cap="none" baseline="0" noProof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marL="169790" indent="0">
              <a:buNone/>
              <a:defRPr/>
            </a:lvl2pPr>
          </a:lstStyle>
          <a:p>
            <a:pPr lvl="0"/>
            <a:r>
              <a:rPr lang="en-US" noProof="0"/>
              <a:t>Click to add subtitle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332D8E0-EF67-4392-A750-F9B239ED1EF3}"/>
              </a:ext>
            </a:extLst>
          </p:cNvPr>
          <p:cNvGrpSpPr/>
          <p:nvPr userDrawn="1"/>
        </p:nvGrpSpPr>
        <p:grpSpPr>
          <a:xfrm>
            <a:off x="0" y="-2662"/>
            <a:ext cx="12212298" cy="362728"/>
            <a:chOff x="0" y="-12187"/>
            <a:chExt cx="12212298" cy="362728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E52DA11C-B4B8-408A-9054-9E905ECCDD14}"/>
                </a:ext>
              </a:extLst>
            </p:cNvPr>
            <p:cNvGrpSpPr/>
            <p:nvPr userDrawn="1"/>
          </p:nvGrpSpPr>
          <p:grpSpPr>
            <a:xfrm>
              <a:off x="0" y="1"/>
              <a:ext cx="12192000" cy="350540"/>
              <a:chOff x="0" y="1"/>
              <a:chExt cx="12192000" cy="350540"/>
            </a:xfrm>
          </p:grpSpPr>
          <p:sp>
            <p:nvSpPr>
              <p:cNvPr id="53" name="AutoShape 4">
                <a:extLst>
                  <a:ext uri="{FF2B5EF4-FFF2-40B4-BE49-F238E27FC236}">
                    <a16:creationId xmlns:a16="http://schemas.microsoft.com/office/drawing/2014/main" id="{A13B4937-B89E-4422-BAE3-ED56C9A699B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4680" y="68072"/>
                <a:ext cx="167539" cy="200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7D2D0D4F-874A-4C58-AFDF-BBE846D052B9}"/>
                  </a:ext>
                </a:extLst>
              </p:cNvPr>
              <p:cNvGrpSpPr/>
              <p:nvPr userDrawn="1"/>
            </p:nvGrpSpPr>
            <p:grpSpPr>
              <a:xfrm>
                <a:off x="0" y="1"/>
                <a:ext cx="12192000" cy="350540"/>
                <a:chOff x="0" y="1"/>
                <a:chExt cx="12192000" cy="350540"/>
              </a:xfrm>
            </p:grpSpPr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29281B04-E1F6-4275-AC7D-1065B6E570B4}"/>
                    </a:ext>
                  </a:extLst>
                </p:cNvPr>
                <p:cNvSpPr/>
                <p:nvPr userDrawn="1"/>
              </p:nvSpPr>
              <p:spPr>
                <a:xfrm>
                  <a:off x="0" y="1"/>
                  <a:ext cx="12192000" cy="350540"/>
                </a:xfrm>
                <a:prstGeom prst="rect">
                  <a:avLst/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78342620-8D94-4325-B53D-BCA4DD42C240}"/>
                    </a:ext>
                  </a:extLst>
                </p:cNvPr>
                <p:cNvGrpSpPr/>
                <p:nvPr userDrawn="1"/>
              </p:nvGrpSpPr>
              <p:grpSpPr>
                <a:xfrm>
                  <a:off x="81557" y="51130"/>
                  <a:ext cx="11861822" cy="211888"/>
                  <a:chOff x="81557" y="51130"/>
                  <a:chExt cx="11861822" cy="211888"/>
                </a:xfrm>
              </p:grpSpPr>
              <p:grpSp>
                <p:nvGrpSpPr>
                  <p:cNvPr id="58" name="Group 57">
                    <a:extLst>
                      <a:ext uri="{FF2B5EF4-FFF2-40B4-BE49-F238E27FC236}">
                        <a16:creationId xmlns:a16="http://schemas.microsoft.com/office/drawing/2014/main" id="{3FE64CA8-5E40-4022-90BA-698381B7254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81557" y="62687"/>
                    <a:ext cx="167539" cy="200331"/>
                    <a:chOff x="784680" y="68072"/>
                    <a:chExt cx="167539" cy="200331"/>
                  </a:xfrm>
                </p:grpSpPr>
                <p:sp>
                  <p:nvSpPr>
                    <p:cNvPr id="67" name="Freeform 6">
                      <a:extLst>
                        <a:ext uri="{FF2B5EF4-FFF2-40B4-BE49-F238E27FC236}">
                          <a16:creationId xmlns:a16="http://schemas.microsoft.com/office/drawing/2014/main" id="{A42F16EC-353F-4BE8-A722-1EECF1FF55A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84680" y="68072"/>
                      <a:ext cx="134278" cy="50020"/>
                    </a:xfrm>
                    <a:custGeom>
                      <a:avLst/>
                      <a:gdLst>
                        <a:gd name="T0" fmla="*/ 2723 w 2723"/>
                        <a:gd name="T1" fmla="*/ 0 h 994"/>
                        <a:gd name="T2" fmla="*/ 0 w 2723"/>
                        <a:gd name="T3" fmla="*/ 994 h 994"/>
                        <a:gd name="T4" fmla="*/ 2723 w 2723"/>
                        <a:gd name="T5" fmla="*/ 513 h 994"/>
                        <a:gd name="T6" fmla="*/ 2723 w 2723"/>
                        <a:gd name="T7" fmla="*/ 0 h 9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723" h="994">
                          <a:moveTo>
                            <a:pt x="2723" y="0"/>
                          </a:moveTo>
                          <a:lnTo>
                            <a:pt x="0" y="994"/>
                          </a:lnTo>
                          <a:lnTo>
                            <a:pt x="2723" y="513"/>
                          </a:lnTo>
                          <a:lnTo>
                            <a:pt x="2723" y="0"/>
                          </a:lnTo>
                          <a:close/>
                        </a:path>
                      </a:pathLst>
                    </a:custGeom>
                    <a:solidFill>
                      <a:srgbClr val="F7DF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  <p:sp>
                  <p:nvSpPr>
                    <p:cNvPr id="68" name="Freeform 7">
                      <a:extLst>
                        <a:ext uri="{FF2B5EF4-FFF2-40B4-BE49-F238E27FC236}">
                          <a16:creationId xmlns:a16="http://schemas.microsoft.com/office/drawing/2014/main" id="{724E74DE-CF5F-48DF-8C81-D0ABFC4E2FA1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84680" y="138954"/>
                      <a:ext cx="167539" cy="129449"/>
                    </a:xfrm>
                    <a:custGeom>
                      <a:avLst/>
                      <a:gdLst>
                        <a:gd name="T0" fmla="*/ 256 w 3400"/>
                        <a:gd name="T1" fmla="*/ 1749 h 2577"/>
                        <a:gd name="T2" fmla="*/ 278 w 3400"/>
                        <a:gd name="T3" fmla="*/ 1978 h 2577"/>
                        <a:gd name="T4" fmla="*/ 166 w 3400"/>
                        <a:gd name="T5" fmla="*/ 1993 h 2577"/>
                        <a:gd name="T6" fmla="*/ 386 w 3400"/>
                        <a:gd name="T7" fmla="*/ 1940 h 2577"/>
                        <a:gd name="T8" fmla="*/ 458 w 3400"/>
                        <a:gd name="T9" fmla="*/ 2046 h 2577"/>
                        <a:gd name="T10" fmla="*/ 1255 w 3400"/>
                        <a:gd name="T11" fmla="*/ 1820 h 2577"/>
                        <a:gd name="T12" fmla="*/ 1339 w 3400"/>
                        <a:gd name="T13" fmla="*/ 1914 h 2577"/>
                        <a:gd name="T14" fmla="*/ 767 w 3400"/>
                        <a:gd name="T15" fmla="*/ 1703 h 2577"/>
                        <a:gd name="T16" fmla="*/ 813 w 3400"/>
                        <a:gd name="T17" fmla="*/ 1884 h 2577"/>
                        <a:gd name="T18" fmla="*/ 947 w 3400"/>
                        <a:gd name="T19" fmla="*/ 2042 h 2577"/>
                        <a:gd name="T20" fmla="*/ 916 w 3400"/>
                        <a:gd name="T21" fmla="*/ 1855 h 2577"/>
                        <a:gd name="T22" fmla="*/ 2225 w 3400"/>
                        <a:gd name="T23" fmla="*/ 2049 h 2577"/>
                        <a:gd name="T24" fmla="*/ 2376 w 3400"/>
                        <a:gd name="T25" fmla="*/ 1924 h 2577"/>
                        <a:gd name="T26" fmla="*/ 2312 w 3400"/>
                        <a:gd name="T27" fmla="*/ 1906 h 2577"/>
                        <a:gd name="T28" fmla="*/ 2267 w 3400"/>
                        <a:gd name="T29" fmla="*/ 1855 h 2577"/>
                        <a:gd name="T30" fmla="*/ 1441 w 3400"/>
                        <a:gd name="T31" fmla="*/ 1911 h 2577"/>
                        <a:gd name="T32" fmla="*/ 1591 w 3400"/>
                        <a:gd name="T33" fmla="*/ 2031 h 2577"/>
                        <a:gd name="T34" fmla="*/ 1622 w 3400"/>
                        <a:gd name="T35" fmla="*/ 2119 h 2577"/>
                        <a:gd name="T36" fmla="*/ 1507 w 3400"/>
                        <a:gd name="T37" fmla="*/ 1962 h 2577"/>
                        <a:gd name="T38" fmla="*/ 1902 w 3400"/>
                        <a:gd name="T39" fmla="*/ 1848 h 2577"/>
                        <a:gd name="T40" fmla="*/ 1797 w 3400"/>
                        <a:gd name="T41" fmla="*/ 1958 h 2577"/>
                        <a:gd name="T42" fmla="*/ 2006 w 3400"/>
                        <a:gd name="T43" fmla="*/ 1884 h 2577"/>
                        <a:gd name="T44" fmla="*/ 1857 w 3400"/>
                        <a:gd name="T45" fmla="*/ 1968 h 2577"/>
                        <a:gd name="T46" fmla="*/ 1881 w 3400"/>
                        <a:gd name="T47" fmla="*/ 2002 h 2577"/>
                        <a:gd name="T48" fmla="*/ 2467 w 3400"/>
                        <a:gd name="T49" fmla="*/ 1946 h 2577"/>
                        <a:gd name="T50" fmla="*/ 2452 w 3400"/>
                        <a:gd name="T51" fmla="*/ 1821 h 2577"/>
                        <a:gd name="T52" fmla="*/ 2521 w 3400"/>
                        <a:gd name="T53" fmla="*/ 2055 h 2577"/>
                        <a:gd name="T54" fmla="*/ 2555 w 3400"/>
                        <a:gd name="T55" fmla="*/ 1883 h 2577"/>
                        <a:gd name="T56" fmla="*/ 3202 w 3400"/>
                        <a:gd name="T57" fmla="*/ 1928 h 2577"/>
                        <a:gd name="T58" fmla="*/ 3006 w 3400"/>
                        <a:gd name="T59" fmla="*/ 1854 h 2577"/>
                        <a:gd name="T60" fmla="*/ 3140 w 3400"/>
                        <a:gd name="T61" fmla="*/ 2049 h 2577"/>
                        <a:gd name="T62" fmla="*/ 2905 w 3400"/>
                        <a:gd name="T63" fmla="*/ 1964 h 2577"/>
                        <a:gd name="T64" fmla="*/ 2868 w 3400"/>
                        <a:gd name="T65" fmla="*/ 2041 h 2577"/>
                        <a:gd name="T66" fmla="*/ 2713 w 3400"/>
                        <a:gd name="T67" fmla="*/ 2051 h 2577"/>
                        <a:gd name="T68" fmla="*/ 2747 w 3400"/>
                        <a:gd name="T69" fmla="*/ 1996 h 2577"/>
                        <a:gd name="T70" fmla="*/ 3300 w 3400"/>
                        <a:gd name="T71" fmla="*/ 1805 h 2577"/>
                        <a:gd name="T72" fmla="*/ 1073 w 3400"/>
                        <a:gd name="T73" fmla="*/ 2049 h 2577"/>
                        <a:gd name="T74" fmla="*/ 2660 w 3400"/>
                        <a:gd name="T75" fmla="*/ 2279 h 2577"/>
                        <a:gd name="T76" fmla="*/ 2763 w 3400"/>
                        <a:gd name="T77" fmla="*/ 2480 h 2577"/>
                        <a:gd name="T78" fmla="*/ 2737 w 3400"/>
                        <a:gd name="T79" fmla="*/ 2285 h 2577"/>
                        <a:gd name="T80" fmla="*/ 690 w 3400"/>
                        <a:gd name="T81" fmla="*/ 2289 h 2577"/>
                        <a:gd name="T82" fmla="*/ 740 w 3400"/>
                        <a:gd name="T83" fmla="*/ 2301 h 2577"/>
                        <a:gd name="T84" fmla="*/ 222 w 3400"/>
                        <a:gd name="T85" fmla="*/ 2352 h 2577"/>
                        <a:gd name="T86" fmla="*/ 341 w 3400"/>
                        <a:gd name="T87" fmla="*/ 2395 h 2577"/>
                        <a:gd name="T88" fmla="*/ 554 w 3400"/>
                        <a:gd name="T89" fmla="*/ 2395 h 2577"/>
                        <a:gd name="T90" fmla="*/ 412 w 3400"/>
                        <a:gd name="T91" fmla="*/ 2407 h 2577"/>
                        <a:gd name="T92" fmla="*/ 484 w 3400"/>
                        <a:gd name="T93" fmla="*/ 2407 h 2577"/>
                        <a:gd name="T94" fmla="*/ 2419 w 3400"/>
                        <a:gd name="T95" fmla="*/ 2248 h 2577"/>
                        <a:gd name="T96" fmla="*/ 1758 w 3400"/>
                        <a:gd name="T97" fmla="*/ 2233 h 2577"/>
                        <a:gd name="T98" fmla="*/ 2133 w 3400"/>
                        <a:gd name="T99" fmla="*/ 2255 h 2577"/>
                        <a:gd name="T100" fmla="*/ 2204 w 3400"/>
                        <a:gd name="T101" fmla="*/ 2483 h 2577"/>
                        <a:gd name="T102" fmla="*/ 2269 w 3400"/>
                        <a:gd name="T103" fmla="*/ 2249 h 2577"/>
                        <a:gd name="T104" fmla="*/ 2204 w 3400"/>
                        <a:gd name="T105" fmla="*/ 2284 h 2577"/>
                        <a:gd name="T106" fmla="*/ 845 w 3400"/>
                        <a:gd name="T107" fmla="*/ 2131 h 2577"/>
                        <a:gd name="T108" fmla="*/ 1323 w 3400"/>
                        <a:gd name="T109" fmla="*/ 2244 h 2577"/>
                        <a:gd name="T110" fmla="*/ 1220 w 3400"/>
                        <a:gd name="T111" fmla="*/ 2299 h 2577"/>
                        <a:gd name="T112" fmla="*/ 1410 w 3400"/>
                        <a:gd name="T113" fmla="*/ 2289 h 2577"/>
                        <a:gd name="T114" fmla="*/ 1525 w 3400"/>
                        <a:gd name="T115" fmla="*/ 2477 h 2577"/>
                        <a:gd name="T116" fmla="*/ 1544 w 3400"/>
                        <a:gd name="T117" fmla="*/ 2570 h 2577"/>
                        <a:gd name="T118" fmla="*/ 1491 w 3400"/>
                        <a:gd name="T119" fmla="*/ 2424 h 2577"/>
                        <a:gd name="T120" fmla="*/ 1094 w 3400"/>
                        <a:gd name="T121" fmla="*/ 2341 h 2577"/>
                        <a:gd name="T122" fmla="*/ 437 w 3400"/>
                        <a:gd name="T123" fmla="*/ 1061 h 25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3400" h="2577">
                          <a:moveTo>
                            <a:pt x="283" y="1942"/>
                          </a:moveTo>
                          <a:lnTo>
                            <a:pt x="283" y="1942"/>
                          </a:lnTo>
                          <a:lnTo>
                            <a:pt x="283" y="1934"/>
                          </a:lnTo>
                          <a:lnTo>
                            <a:pt x="282" y="1927"/>
                          </a:lnTo>
                          <a:lnTo>
                            <a:pt x="278" y="1912"/>
                          </a:lnTo>
                          <a:lnTo>
                            <a:pt x="272" y="1900"/>
                          </a:lnTo>
                          <a:lnTo>
                            <a:pt x="265" y="1890"/>
                          </a:lnTo>
                          <a:lnTo>
                            <a:pt x="256" y="1883"/>
                          </a:lnTo>
                          <a:lnTo>
                            <a:pt x="248" y="1877"/>
                          </a:lnTo>
                          <a:lnTo>
                            <a:pt x="241" y="1872"/>
                          </a:lnTo>
                          <a:lnTo>
                            <a:pt x="233" y="1868"/>
                          </a:lnTo>
                          <a:lnTo>
                            <a:pt x="233" y="1868"/>
                          </a:lnTo>
                          <a:lnTo>
                            <a:pt x="242" y="1862"/>
                          </a:lnTo>
                          <a:lnTo>
                            <a:pt x="249" y="1856"/>
                          </a:lnTo>
                          <a:lnTo>
                            <a:pt x="255" y="1849"/>
                          </a:lnTo>
                          <a:lnTo>
                            <a:pt x="261" y="1840"/>
                          </a:lnTo>
                          <a:lnTo>
                            <a:pt x="266" y="1832"/>
                          </a:lnTo>
                          <a:lnTo>
                            <a:pt x="269" y="1822"/>
                          </a:lnTo>
                          <a:lnTo>
                            <a:pt x="271" y="1812"/>
                          </a:lnTo>
                          <a:lnTo>
                            <a:pt x="271" y="1801"/>
                          </a:lnTo>
                          <a:lnTo>
                            <a:pt x="271" y="1801"/>
                          </a:lnTo>
                          <a:lnTo>
                            <a:pt x="271" y="1792"/>
                          </a:lnTo>
                          <a:lnTo>
                            <a:pt x="270" y="1782"/>
                          </a:lnTo>
                          <a:lnTo>
                            <a:pt x="267" y="1773"/>
                          </a:lnTo>
                          <a:lnTo>
                            <a:pt x="265" y="1765"/>
                          </a:lnTo>
                          <a:lnTo>
                            <a:pt x="261" y="1756"/>
                          </a:lnTo>
                          <a:lnTo>
                            <a:pt x="256" y="1749"/>
                          </a:lnTo>
                          <a:lnTo>
                            <a:pt x="250" y="1743"/>
                          </a:lnTo>
                          <a:lnTo>
                            <a:pt x="244" y="1737"/>
                          </a:lnTo>
                          <a:lnTo>
                            <a:pt x="237" y="1732"/>
                          </a:lnTo>
                          <a:lnTo>
                            <a:pt x="230" y="1727"/>
                          </a:lnTo>
                          <a:lnTo>
                            <a:pt x="221" y="1724"/>
                          </a:lnTo>
                          <a:lnTo>
                            <a:pt x="211" y="1720"/>
                          </a:lnTo>
                          <a:lnTo>
                            <a:pt x="202" y="1718"/>
                          </a:lnTo>
                          <a:lnTo>
                            <a:pt x="191" y="1715"/>
                          </a:lnTo>
                          <a:lnTo>
                            <a:pt x="180" y="1715"/>
                          </a:lnTo>
                          <a:lnTo>
                            <a:pt x="168" y="1714"/>
                          </a:lnTo>
                          <a:lnTo>
                            <a:pt x="24" y="1714"/>
                          </a:lnTo>
                          <a:lnTo>
                            <a:pt x="24" y="2049"/>
                          </a:lnTo>
                          <a:lnTo>
                            <a:pt x="166" y="2049"/>
                          </a:lnTo>
                          <a:lnTo>
                            <a:pt x="166" y="2049"/>
                          </a:lnTo>
                          <a:lnTo>
                            <a:pt x="180" y="2049"/>
                          </a:lnTo>
                          <a:lnTo>
                            <a:pt x="192" y="2048"/>
                          </a:lnTo>
                          <a:lnTo>
                            <a:pt x="204" y="2046"/>
                          </a:lnTo>
                          <a:lnTo>
                            <a:pt x="215" y="2042"/>
                          </a:lnTo>
                          <a:lnTo>
                            <a:pt x="226" y="2038"/>
                          </a:lnTo>
                          <a:lnTo>
                            <a:pt x="236" y="2034"/>
                          </a:lnTo>
                          <a:lnTo>
                            <a:pt x="244" y="2028"/>
                          </a:lnTo>
                          <a:lnTo>
                            <a:pt x="252" y="2021"/>
                          </a:lnTo>
                          <a:lnTo>
                            <a:pt x="259" y="2014"/>
                          </a:lnTo>
                          <a:lnTo>
                            <a:pt x="265" y="2006"/>
                          </a:lnTo>
                          <a:lnTo>
                            <a:pt x="271" y="1997"/>
                          </a:lnTo>
                          <a:lnTo>
                            <a:pt x="275" y="1987"/>
                          </a:lnTo>
                          <a:lnTo>
                            <a:pt x="278" y="1978"/>
                          </a:lnTo>
                          <a:lnTo>
                            <a:pt x="281" y="1967"/>
                          </a:lnTo>
                          <a:lnTo>
                            <a:pt x="282" y="1955"/>
                          </a:lnTo>
                          <a:lnTo>
                            <a:pt x="283" y="1942"/>
                          </a:lnTo>
                          <a:lnTo>
                            <a:pt x="283" y="1942"/>
                          </a:lnTo>
                          <a:close/>
                          <a:moveTo>
                            <a:pt x="166" y="1993"/>
                          </a:moveTo>
                          <a:lnTo>
                            <a:pt x="86" y="1993"/>
                          </a:lnTo>
                          <a:lnTo>
                            <a:pt x="86" y="1897"/>
                          </a:lnTo>
                          <a:lnTo>
                            <a:pt x="166" y="1897"/>
                          </a:lnTo>
                          <a:lnTo>
                            <a:pt x="166" y="1897"/>
                          </a:lnTo>
                          <a:lnTo>
                            <a:pt x="179" y="1899"/>
                          </a:lnTo>
                          <a:lnTo>
                            <a:pt x="188" y="1900"/>
                          </a:lnTo>
                          <a:lnTo>
                            <a:pt x="197" y="1904"/>
                          </a:lnTo>
                          <a:lnTo>
                            <a:pt x="204" y="1910"/>
                          </a:lnTo>
                          <a:lnTo>
                            <a:pt x="210" y="1916"/>
                          </a:lnTo>
                          <a:lnTo>
                            <a:pt x="214" y="1924"/>
                          </a:lnTo>
                          <a:lnTo>
                            <a:pt x="216" y="1934"/>
                          </a:lnTo>
                          <a:lnTo>
                            <a:pt x="218" y="1945"/>
                          </a:lnTo>
                          <a:lnTo>
                            <a:pt x="218" y="1945"/>
                          </a:lnTo>
                          <a:lnTo>
                            <a:pt x="216" y="1956"/>
                          </a:lnTo>
                          <a:lnTo>
                            <a:pt x="214" y="1966"/>
                          </a:lnTo>
                          <a:lnTo>
                            <a:pt x="209" y="1974"/>
                          </a:lnTo>
                          <a:lnTo>
                            <a:pt x="204" y="1980"/>
                          </a:lnTo>
                          <a:lnTo>
                            <a:pt x="197" y="1986"/>
                          </a:lnTo>
                          <a:lnTo>
                            <a:pt x="188" y="1990"/>
                          </a:lnTo>
                          <a:lnTo>
                            <a:pt x="177" y="1992"/>
                          </a:lnTo>
                          <a:lnTo>
                            <a:pt x="166" y="1993"/>
                          </a:lnTo>
                          <a:lnTo>
                            <a:pt x="166" y="1993"/>
                          </a:lnTo>
                          <a:close/>
                          <a:moveTo>
                            <a:pt x="165" y="1843"/>
                          </a:moveTo>
                          <a:lnTo>
                            <a:pt x="86" y="1843"/>
                          </a:lnTo>
                          <a:lnTo>
                            <a:pt x="86" y="1771"/>
                          </a:lnTo>
                          <a:lnTo>
                            <a:pt x="163" y="1771"/>
                          </a:lnTo>
                          <a:lnTo>
                            <a:pt x="163" y="1771"/>
                          </a:lnTo>
                          <a:lnTo>
                            <a:pt x="173" y="1772"/>
                          </a:lnTo>
                          <a:lnTo>
                            <a:pt x="182" y="1773"/>
                          </a:lnTo>
                          <a:lnTo>
                            <a:pt x="190" y="1776"/>
                          </a:lnTo>
                          <a:lnTo>
                            <a:pt x="196" y="1780"/>
                          </a:lnTo>
                          <a:lnTo>
                            <a:pt x="201" y="1786"/>
                          </a:lnTo>
                          <a:lnTo>
                            <a:pt x="204" y="1792"/>
                          </a:lnTo>
                          <a:lnTo>
                            <a:pt x="205" y="1799"/>
                          </a:lnTo>
                          <a:lnTo>
                            <a:pt x="207" y="1807"/>
                          </a:lnTo>
                          <a:lnTo>
                            <a:pt x="207" y="1807"/>
                          </a:lnTo>
                          <a:lnTo>
                            <a:pt x="207" y="1814"/>
                          </a:lnTo>
                          <a:lnTo>
                            <a:pt x="205" y="1820"/>
                          </a:lnTo>
                          <a:lnTo>
                            <a:pt x="203" y="1826"/>
                          </a:lnTo>
                          <a:lnTo>
                            <a:pt x="199" y="1831"/>
                          </a:lnTo>
                          <a:lnTo>
                            <a:pt x="193" y="1835"/>
                          </a:lnTo>
                          <a:lnTo>
                            <a:pt x="186" y="1839"/>
                          </a:lnTo>
                          <a:lnTo>
                            <a:pt x="177" y="1842"/>
                          </a:lnTo>
                          <a:lnTo>
                            <a:pt x="165" y="1843"/>
                          </a:lnTo>
                          <a:lnTo>
                            <a:pt x="165" y="1843"/>
                          </a:lnTo>
                          <a:close/>
                          <a:moveTo>
                            <a:pt x="326" y="1944"/>
                          </a:moveTo>
                          <a:lnTo>
                            <a:pt x="326" y="1805"/>
                          </a:lnTo>
                          <a:lnTo>
                            <a:pt x="386" y="1805"/>
                          </a:lnTo>
                          <a:lnTo>
                            <a:pt x="386" y="1940"/>
                          </a:lnTo>
                          <a:lnTo>
                            <a:pt x="386" y="1940"/>
                          </a:lnTo>
                          <a:lnTo>
                            <a:pt x="386" y="1953"/>
                          </a:lnTo>
                          <a:lnTo>
                            <a:pt x="389" y="1967"/>
                          </a:lnTo>
                          <a:lnTo>
                            <a:pt x="392" y="1976"/>
                          </a:lnTo>
                          <a:lnTo>
                            <a:pt x="397" y="1985"/>
                          </a:lnTo>
                          <a:lnTo>
                            <a:pt x="403" y="1991"/>
                          </a:lnTo>
                          <a:lnTo>
                            <a:pt x="411" y="1996"/>
                          </a:lnTo>
                          <a:lnTo>
                            <a:pt x="420" y="1998"/>
                          </a:lnTo>
                          <a:lnTo>
                            <a:pt x="431" y="2000"/>
                          </a:lnTo>
                          <a:lnTo>
                            <a:pt x="431" y="2000"/>
                          </a:lnTo>
                          <a:lnTo>
                            <a:pt x="442" y="1998"/>
                          </a:lnTo>
                          <a:lnTo>
                            <a:pt x="451" y="1996"/>
                          </a:lnTo>
                          <a:lnTo>
                            <a:pt x="459" y="1991"/>
                          </a:lnTo>
                          <a:lnTo>
                            <a:pt x="465" y="1985"/>
                          </a:lnTo>
                          <a:lnTo>
                            <a:pt x="470" y="1976"/>
                          </a:lnTo>
                          <a:lnTo>
                            <a:pt x="474" y="1966"/>
                          </a:lnTo>
                          <a:lnTo>
                            <a:pt x="476" y="1953"/>
                          </a:lnTo>
                          <a:lnTo>
                            <a:pt x="476" y="1940"/>
                          </a:lnTo>
                          <a:lnTo>
                            <a:pt x="476" y="1805"/>
                          </a:lnTo>
                          <a:lnTo>
                            <a:pt x="537" y="1805"/>
                          </a:lnTo>
                          <a:lnTo>
                            <a:pt x="537" y="2049"/>
                          </a:lnTo>
                          <a:lnTo>
                            <a:pt x="476" y="2049"/>
                          </a:lnTo>
                          <a:lnTo>
                            <a:pt x="476" y="2030"/>
                          </a:lnTo>
                          <a:lnTo>
                            <a:pt x="476" y="2030"/>
                          </a:lnTo>
                          <a:lnTo>
                            <a:pt x="471" y="2036"/>
                          </a:lnTo>
                          <a:lnTo>
                            <a:pt x="464" y="2041"/>
                          </a:lnTo>
                          <a:lnTo>
                            <a:pt x="458" y="2046"/>
                          </a:lnTo>
                          <a:lnTo>
                            <a:pt x="451" y="2048"/>
                          </a:lnTo>
                          <a:lnTo>
                            <a:pt x="444" y="2052"/>
                          </a:lnTo>
                          <a:lnTo>
                            <a:pt x="435" y="2053"/>
                          </a:lnTo>
                          <a:lnTo>
                            <a:pt x="427" y="2054"/>
                          </a:lnTo>
                          <a:lnTo>
                            <a:pt x="418" y="2055"/>
                          </a:lnTo>
                          <a:lnTo>
                            <a:pt x="418" y="2055"/>
                          </a:lnTo>
                          <a:lnTo>
                            <a:pt x="403" y="2054"/>
                          </a:lnTo>
                          <a:lnTo>
                            <a:pt x="391" y="2052"/>
                          </a:lnTo>
                          <a:lnTo>
                            <a:pt x="380" y="2048"/>
                          </a:lnTo>
                          <a:lnTo>
                            <a:pt x="369" y="2043"/>
                          </a:lnTo>
                          <a:lnTo>
                            <a:pt x="361" y="2037"/>
                          </a:lnTo>
                          <a:lnTo>
                            <a:pt x="354" y="2031"/>
                          </a:lnTo>
                          <a:lnTo>
                            <a:pt x="348" y="2023"/>
                          </a:lnTo>
                          <a:lnTo>
                            <a:pt x="341" y="2014"/>
                          </a:lnTo>
                          <a:lnTo>
                            <a:pt x="338" y="2006"/>
                          </a:lnTo>
                          <a:lnTo>
                            <a:pt x="334" y="1997"/>
                          </a:lnTo>
                          <a:lnTo>
                            <a:pt x="329" y="1978"/>
                          </a:lnTo>
                          <a:lnTo>
                            <a:pt x="327" y="1959"/>
                          </a:lnTo>
                          <a:lnTo>
                            <a:pt x="326" y="1944"/>
                          </a:lnTo>
                          <a:lnTo>
                            <a:pt x="326" y="1944"/>
                          </a:lnTo>
                          <a:close/>
                          <a:moveTo>
                            <a:pt x="1249" y="2049"/>
                          </a:moveTo>
                          <a:lnTo>
                            <a:pt x="1188" y="2049"/>
                          </a:lnTo>
                          <a:lnTo>
                            <a:pt x="1188" y="1805"/>
                          </a:lnTo>
                          <a:lnTo>
                            <a:pt x="1249" y="1805"/>
                          </a:lnTo>
                          <a:lnTo>
                            <a:pt x="1249" y="1826"/>
                          </a:lnTo>
                          <a:lnTo>
                            <a:pt x="1249" y="1826"/>
                          </a:lnTo>
                          <a:lnTo>
                            <a:pt x="1255" y="1820"/>
                          </a:lnTo>
                          <a:lnTo>
                            <a:pt x="1261" y="1814"/>
                          </a:lnTo>
                          <a:lnTo>
                            <a:pt x="1269" y="1810"/>
                          </a:lnTo>
                          <a:lnTo>
                            <a:pt x="1276" y="1806"/>
                          </a:lnTo>
                          <a:lnTo>
                            <a:pt x="1284" y="1803"/>
                          </a:lnTo>
                          <a:lnTo>
                            <a:pt x="1292" y="1801"/>
                          </a:lnTo>
                          <a:lnTo>
                            <a:pt x="1301" y="1800"/>
                          </a:lnTo>
                          <a:lnTo>
                            <a:pt x="1310" y="1799"/>
                          </a:lnTo>
                          <a:lnTo>
                            <a:pt x="1310" y="1799"/>
                          </a:lnTo>
                          <a:lnTo>
                            <a:pt x="1321" y="1800"/>
                          </a:lnTo>
                          <a:lnTo>
                            <a:pt x="1331" y="1801"/>
                          </a:lnTo>
                          <a:lnTo>
                            <a:pt x="1340" y="1804"/>
                          </a:lnTo>
                          <a:lnTo>
                            <a:pt x="1349" y="1806"/>
                          </a:lnTo>
                          <a:lnTo>
                            <a:pt x="1357" y="1810"/>
                          </a:lnTo>
                          <a:lnTo>
                            <a:pt x="1365" y="1816"/>
                          </a:lnTo>
                          <a:lnTo>
                            <a:pt x="1371" y="1821"/>
                          </a:lnTo>
                          <a:lnTo>
                            <a:pt x="1377" y="1828"/>
                          </a:lnTo>
                          <a:lnTo>
                            <a:pt x="1383" y="1835"/>
                          </a:lnTo>
                          <a:lnTo>
                            <a:pt x="1386" y="1844"/>
                          </a:lnTo>
                          <a:lnTo>
                            <a:pt x="1391" y="1852"/>
                          </a:lnTo>
                          <a:lnTo>
                            <a:pt x="1394" y="1862"/>
                          </a:lnTo>
                          <a:lnTo>
                            <a:pt x="1396" y="1873"/>
                          </a:lnTo>
                          <a:lnTo>
                            <a:pt x="1399" y="1885"/>
                          </a:lnTo>
                          <a:lnTo>
                            <a:pt x="1400" y="1897"/>
                          </a:lnTo>
                          <a:lnTo>
                            <a:pt x="1400" y="1911"/>
                          </a:lnTo>
                          <a:lnTo>
                            <a:pt x="1400" y="2049"/>
                          </a:lnTo>
                          <a:lnTo>
                            <a:pt x="1339" y="2049"/>
                          </a:lnTo>
                          <a:lnTo>
                            <a:pt x="1339" y="1914"/>
                          </a:lnTo>
                          <a:lnTo>
                            <a:pt x="1339" y="1914"/>
                          </a:lnTo>
                          <a:lnTo>
                            <a:pt x="1339" y="1900"/>
                          </a:lnTo>
                          <a:lnTo>
                            <a:pt x="1337" y="1888"/>
                          </a:lnTo>
                          <a:lnTo>
                            <a:pt x="1333" y="1878"/>
                          </a:lnTo>
                          <a:lnTo>
                            <a:pt x="1328" y="1869"/>
                          </a:lnTo>
                          <a:lnTo>
                            <a:pt x="1322" y="1863"/>
                          </a:lnTo>
                          <a:lnTo>
                            <a:pt x="1315" y="1859"/>
                          </a:lnTo>
                          <a:lnTo>
                            <a:pt x="1306" y="1856"/>
                          </a:lnTo>
                          <a:lnTo>
                            <a:pt x="1295" y="1855"/>
                          </a:lnTo>
                          <a:lnTo>
                            <a:pt x="1295" y="1855"/>
                          </a:lnTo>
                          <a:lnTo>
                            <a:pt x="1284" y="1856"/>
                          </a:lnTo>
                          <a:lnTo>
                            <a:pt x="1275" y="1859"/>
                          </a:lnTo>
                          <a:lnTo>
                            <a:pt x="1267" y="1863"/>
                          </a:lnTo>
                          <a:lnTo>
                            <a:pt x="1261" y="1869"/>
                          </a:lnTo>
                          <a:lnTo>
                            <a:pt x="1255" y="1878"/>
                          </a:lnTo>
                          <a:lnTo>
                            <a:pt x="1252" y="1889"/>
                          </a:lnTo>
                          <a:lnTo>
                            <a:pt x="1249" y="1901"/>
                          </a:lnTo>
                          <a:lnTo>
                            <a:pt x="1249" y="1914"/>
                          </a:lnTo>
                          <a:lnTo>
                            <a:pt x="1249" y="2049"/>
                          </a:lnTo>
                          <a:close/>
                          <a:moveTo>
                            <a:pt x="653" y="1927"/>
                          </a:moveTo>
                          <a:lnTo>
                            <a:pt x="653" y="2049"/>
                          </a:lnTo>
                          <a:lnTo>
                            <a:pt x="592" y="2049"/>
                          </a:lnTo>
                          <a:lnTo>
                            <a:pt x="592" y="1805"/>
                          </a:lnTo>
                          <a:lnTo>
                            <a:pt x="653" y="1805"/>
                          </a:lnTo>
                          <a:lnTo>
                            <a:pt x="653" y="1927"/>
                          </a:lnTo>
                          <a:close/>
                          <a:moveTo>
                            <a:pt x="706" y="1733"/>
                          </a:moveTo>
                          <a:lnTo>
                            <a:pt x="767" y="1703"/>
                          </a:lnTo>
                          <a:lnTo>
                            <a:pt x="767" y="1924"/>
                          </a:lnTo>
                          <a:lnTo>
                            <a:pt x="767" y="2049"/>
                          </a:lnTo>
                          <a:lnTo>
                            <a:pt x="706" y="2049"/>
                          </a:lnTo>
                          <a:lnTo>
                            <a:pt x="706" y="1733"/>
                          </a:lnTo>
                          <a:close/>
                          <a:moveTo>
                            <a:pt x="959" y="1822"/>
                          </a:moveTo>
                          <a:lnTo>
                            <a:pt x="959" y="1822"/>
                          </a:lnTo>
                          <a:lnTo>
                            <a:pt x="954" y="1816"/>
                          </a:lnTo>
                          <a:lnTo>
                            <a:pt x="948" y="1812"/>
                          </a:lnTo>
                          <a:lnTo>
                            <a:pt x="941" y="1807"/>
                          </a:lnTo>
                          <a:lnTo>
                            <a:pt x="934" y="1805"/>
                          </a:lnTo>
                          <a:lnTo>
                            <a:pt x="927" y="1803"/>
                          </a:lnTo>
                          <a:lnTo>
                            <a:pt x="920" y="1800"/>
                          </a:lnTo>
                          <a:lnTo>
                            <a:pt x="905" y="1799"/>
                          </a:lnTo>
                          <a:lnTo>
                            <a:pt x="905" y="1799"/>
                          </a:lnTo>
                          <a:lnTo>
                            <a:pt x="894" y="1800"/>
                          </a:lnTo>
                          <a:lnTo>
                            <a:pt x="883" y="1801"/>
                          </a:lnTo>
                          <a:lnTo>
                            <a:pt x="874" y="1804"/>
                          </a:lnTo>
                          <a:lnTo>
                            <a:pt x="865" y="1807"/>
                          </a:lnTo>
                          <a:lnTo>
                            <a:pt x="857" y="1812"/>
                          </a:lnTo>
                          <a:lnTo>
                            <a:pt x="848" y="1818"/>
                          </a:lnTo>
                          <a:lnTo>
                            <a:pt x="841" y="1826"/>
                          </a:lnTo>
                          <a:lnTo>
                            <a:pt x="835" y="1833"/>
                          </a:lnTo>
                          <a:lnTo>
                            <a:pt x="829" y="1842"/>
                          </a:lnTo>
                          <a:lnTo>
                            <a:pt x="824" y="1851"/>
                          </a:lnTo>
                          <a:lnTo>
                            <a:pt x="819" y="1861"/>
                          </a:lnTo>
                          <a:lnTo>
                            <a:pt x="815" y="1872"/>
                          </a:lnTo>
                          <a:lnTo>
                            <a:pt x="813" y="1884"/>
                          </a:lnTo>
                          <a:lnTo>
                            <a:pt x="811" y="1897"/>
                          </a:lnTo>
                          <a:lnTo>
                            <a:pt x="809" y="1911"/>
                          </a:lnTo>
                          <a:lnTo>
                            <a:pt x="809" y="1924"/>
                          </a:lnTo>
                          <a:lnTo>
                            <a:pt x="809" y="1924"/>
                          </a:lnTo>
                          <a:lnTo>
                            <a:pt x="809" y="1940"/>
                          </a:lnTo>
                          <a:lnTo>
                            <a:pt x="811" y="1953"/>
                          </a:lnTo>
                          <a:lnTo>
                            <a:pt x="813" y="1967"/>
                          </a:lnTo>
                          <a:lnTo>
                            <a:pt x="815" y="1979"/>
                          </a:lnTo>
                          <a:lnTo>
                            <a:pt x="819" y="1991"/>
                          </a:lnTo>
                          <a:lnTo>
                            <a:pt x="823" y="2002"/>
                          </a:lnTo>
                          <a:lnTo>
                            <a:pt x="828" y="2012"/>
                          </a:lnTo>
                          <a:lnTo>
                            <a:pt x="834" y="2020"/>
                          </a:lnTo>
                          <a:lnTo>
                            <a:pt x="841" y="2029"/>
                          </a:lnTo>
                          <a:lnTo>
                            <a:pt x="847" y="2035"/>
                          </a:lnTo>
                          <a:lnTo>
                            <a:pt x="855" y="2041"/>
                          </a:lnTo>
                          <a:lnTo>
                            <a:pt x="864" y="2046"/>
                          </a:lnTo>
                          <a:lnTo>
                            <a:pt x="872" y="2049"/>
                          </a:lnTo>
                          <a:lnTo>
                            <a:pt x="882" y="2053"/>
                          </a:lnTo>
                          <a:lnTo>
                            <a:pt x="893" y="2054"/>
                          </a:lnTo>
                          <a:lnTo>
                            <a:pt x="904" y="2055"/>
                          </a:lnTo>
                          <a:lnTo>
                            <a:pt x="904" y="2055"/>
                          </a:lnTo>
                          <a:lnTo>
                            <a:pt x="911" y="2054"/>
                          </a:lnTo>
                          <a:lnTo>
                            <a:pt x="919" y="2053"/>
                          </a:lnTo>
                          <a:lnTo>
                            <a:pt x="926" y="2052"/>
                          </a:lnTo>
                          <a:lnTo>
                            <a:pt x="933" y="2049"/>
                          </a:lnTo>
                          <a:lnTo>
                            <a:pt x="939" y="2046"/>
                          </a:lnTo>
                          <a:lnTo>
                            <a:pt x="947" y="2042"/>
                          </a:lnTo>
                          <a:lnTo>
                            <a:pt x="953" y="2037"/>
                          </a:lnTo>
                          <a:lnTo>
                            <a:pt x="959" y="2031"/>
                          </a:lnTo>
                          <a:lnTo>
                            <a:pt x="959" y="2049"/>
                          </a:lnTo>
                          <a:lnTo>
                            <a:pt x="1020" y="2049"/>
                          </a:lnTo>
                          <a:lnTo>
                            <a:pt x="1020" y="1703"/>
                          </a:lnTo>
                          <a:lnTo>
                            <a:pt x="959" y="1733"/>
                          </a:lnTo>
                          <a:lnTo>
                            <a:pt x="959" y="1822"/>
                          </a:lnTo>
                          <a:close/>
                          <a:moveTo>
                            <a:pt x="916" y="2000"/>
                          </a:moveTo>
                          <a:lnTo>
                            <a:pt x="916" y="2000"/>
                          </a:lnTo>
                          <a:lnTo>
                            <a:pt x="909" y="1998"/>
                          </a:lnTo>
                          <a:lnTo>
                            <a:pt x="900" y="1996"/>
                          </a:lnTo>
                          <a:lnTo>
                            <a:pt x="893" y="1992"/>
                          </a:lnTo>
                          <a:lnTo>
                            <a:pt x="886" y="1985"/>
                          </a:lnTo>
                          <a:lnTo>
                            <a:pt x="880" y="1975"/>
                          </a:lnTo>
                          <a:lnTo>
                            <a:pt x="875" y="1962"/>
                          </a:lnTo>
                          <a:lnTo>
                            <a:pt x="871" y="1945"/>
                          </a:lnTo>
                          <a:lnTo>
                            <a:pt x="870" y="1923"/>
                          </a:lnTo>
                          <a:lnTo>
                            <a:pt x="870" y="1923"/>
                          </a:lnTo>
                          <a:lnTo>
                            <a:pt x="871" y="1904"/>
                          </a:lnTo>
                          <a:lnTo>
                            <a:pt x="875" y="1889"/>
                          </a:lnTo>
                          <a:lnTo>
                            <a:pt x="880" y="1877"/>
                          </a:lnTo>
                          <a:lnTo>
                            <a:pt x="886" y="1868"/>
                          </a:lnTo>
                          <a:lnTo>
                            <a:pt x="892" y="1861"/>
                          </a:lnTo>
                          <a:lnTo>
                            <a:pt x="900" y="1857"/>
                          </a:lnTo>
                          <a:lnTo>
                            <a:pt x="908" y="1855"/>
                          </a:lnTo>
                          <a:lnTo>
                            <a:pt x="916" y="1855"/>
                          </a:lnTo>
                          <a:lnTo>
                            <a:pt x="916" y="1855"/>
                          </a:lnTo>
                          <a:lnTo>
                            <a:pt x="924" y="1855"/>
                          </a:lnTo>
                          <a:lnTo>
                            <a:pt x="931" y="1857"/>
                          </a:lnTo>
                          <a:lnTo>
                            <a:pt x="938" y="1860"/>
                          </a:lnTo>
                          <a:lnTo>
                            <a:pt x="943" y="1863"/>
                          </a:lnTo>
                          <a:lnTo>
                            <a:pt x="948" y="1867"/>
                          </a:lnTo>
                          <a:lnTo>
                            <a:pt x="953" y="1871"/>
                          </a:lnTo>
                          <a:lnTo>
                            <a:pt x="959" y="1879"/>
                          </a:lnTo>
                          <a:lnTo>
                            <a:pt x="959" y="1975"/>
                          </a:lnTo>
                          <a:lnTo>
                            <a:pt x="959" y="1975"/>
                          </a:lnTo>
                          <a:lnTo>
                            <a:pt x="951" y="1984"/>
                          </a:lnTo>
                          <a:lnTo>
                            <a:pt x="943" y="1991"/>
                          </a:lnTo>
                          <a:lnTo>
                            <a:pt x="938" y="1995"/>
                          </a:lnTo>
                          <a:lnTo>
                            <a:pt x="931" y="1997"/>
                          </a:lnTo>
                          <a:lnTo>
                            <a:pt x="925" y="1998"/>
                          </a:lnTo>
                          <a:lnTo>
                            <a:pt x="916" y="2000"/>
                          </a:lnTo>
                          <a:lnTo>
                            <a:pt x="916" y="2000"/>
                          </a:lnTo>
                          <a:close/>
                          <a:moveTo>
                            <a:pt x="2278" y="1799"/>
                          </a:moveTo>
                          <a:lnTo>
                            <a:pt x="2278" y="1799"/>
                          </a:lnTo>
                          <a:lnTo>
                            <a:pt x="2272" y="1800"/>
                          </a:lnTo>
                          <a:lnTo>
                            <a:pt x="2265" y="1801"/>
                          </a:lnTo>
                          <a:lnTo>
                            <a:pt x="2250" y="1805"/>
                          </a:lnTo>
                          <a:lnTo>
                            <a:pt x="2237" y="1812"/>
                          </a:lnTo>
                          <a:lnTo>
                            <a:pt x="2225" y="1822"/>
                          </a:lnTo>
                          <a:lnTo>
                            <a:pt x="2225" y="1709"/>
                          </a:lnTo>
                          <a:lnTo>
                            <a:pt x="2164" y="1739"/>
                          </a:lnTo>
                          <a:lnTo>
                            <a:pt x="2164" y="2049"/>
                          </a:lnTo>
                          <a:lnTo>
                            <a:pt x="2225" y="2049"/>
                          </a:lnTo>
                          <a:lnTo>
                            <a:pt x="2225" y="2031"/>
                          </a:lnTo>
                          <a:lnTo>
                            <a:pt x="2225" y="2031"/>
                          </a:lnTo>
                          <a:lnTo>
                            <a:pt x="2230" y="2037"/>
                          </a:lnTo>
                          <a:lnTo>
                            <a:pt x="2237" y="2042"/>
                          </a:lnTo>
                          <a:lnTo>
                            <a:pt x="2243" y="2046"/>
                          </a:lnTo>
                          <a:lnTo>
                            <a:pt x="2250" y="2049"/>
                          </a:lnTo>
                          <a:lnTo>
                            <a:pt x="2257" y="2052"/>
                          </a:lnTo>
                          <a:lnTo>
                            <a:pt x="2265" y="2053"/>
                          </a:lnTo>
                          <a:lnTo>
                            <a:pt x="2272" y="2054"/>
                          </a:lnTo>
                          <a:lnTo>
                            <a:pt x="2280" y="2055"/>
                          </a:lnTo>
                          <a:lnTo>
                            <a:pt x="2280" y="2055"/>
                          </a:lnTo>
                          <a:lnTo>
                            <a:pt x="2291" y="2054"/>
                          </a:lnTo>
                          <a:lnTo>
                            <a:pt x="2302" y="2053"/>
                          </a:lnTo>
                          <a:lnTo>
                            <a:pt x="2311" y="2051"/>
                          </a:lnTo>
                          <a:lnTo>
                            <a:pt x="2321" y="2046"/>
                          </a:lnTo>
                          <a:lnTo>
                            <a:pt x="2329" y="2041"/>
                          </a:lnTo>
                          <a:lnTo>
                            <a:pt x="2337" y="2036"/>
                          </a:lnTo>
                          <a:lnTo>
                            <a:pt x="2344" y="2029"/>
                          </a:lnTo>
                          <a:lnTo>
                            <a:pt x="2350" y="2021"/>
                          </a:lnTo>
                          <a:lnTo>
                            <a:pt x="2356" y="2012"/>
                          </a:lnTo>
                          <a:lnTo>
                            <a:pt x="2361" y="2002"/>
                          </a:lnTo>
                          <a:lnTo>
                            <a:pt x="2365" y="1991"/>
                          </a:lnTo>
                          <a:lnTo>
                            <a:pt x="2368" y="1980"/>
                          </a:lnTo>
                          <a:lnTo>
                            <a:pt x="2372" y="1968"/>
                          </a:lnTo>
                          <a:lnTo>
                            <a:pt x="2373" y="1955"/>
                          </a:lnTo>
                          <a:lnTo>
                            <a:pt x="2374" y="1940"/>
                          </a:lnTo>
                          <a:lnTo>
                            <a:pt x="2376" y="1924"/>
                          </a:lnTo>
                          <a:lnTo>
                            <a:pt x="2376" y="1924"/>
                          </a:lnTo>
                          <a:lnTo>
                            <a:pt x="2374" y="1911"/>
                          </a:lnTo>
                          <a:lnTo>
                            <a:pt x="2373" y="1897"/>
                          </a:lnTo>
                          <a:lnTo>
                            <a:pt x="2371" y="1884"/>
                          </a:lnTo>
                          <a:lnTo>
                            <a:pt x="2368" y="1872"/>
                          </a:lnTo>
                          <a:lnTo>
                            <a:pt x="2365" y="1861"/>
                          </a:lnTo>
                          <a:lnTo>
                            <a:pt x="2360" y="1851"/>
                          </a:lnTo>
                          <a:lnTo>
                            <a:pt x="2355" y="1842"/>
                          </a:lnTo>
                          <a:lnTo>
                            <a:pt x="2349" y="1833"/>
                          </a:lnTo>
                          <a:lnTo>
                            <a:pt x="2343" y="1826"/>
                          </a:lnTo>
                          <a:lnTo>
                            <a:pt x="2336" y="1818"/>
                          </a:lnTo>
                          <a:lnTo>
                            <a:pt x="2327" y="1812"/>
                          </a:lnTo>
                          <a:lnTo>
                            <a:pt x="2319" y="1807"/>
                          </a:lnTo>
                          <a:lnTo>
                            <a:pt x="2310" y="1804"/>
                          </a:lnTo>
                          <a:lnTo>
                            <a:pt x="2300" y="1801"/>
                          </a:lnTo>
                          <a:lnTo>
                            <a:pt x="2289" y="1800"/>
                          </a:lnTo>
                          <a:lnTo>
                            <a:pt x="2278" y="1799"/>
                          </a:lnTo>
                          <a:lnTo>
                            <a:pt x="2278" y="1799"/>
                          </a:lnTo>
                          <a:close/>
                          <a:moveTo>
                            <a:pt x="2267" y="1855"/>
                          </a:moveTo>
                          <a:lnTo>
                            <a:pt x="2267" y="1855"/>
                          </a:lnTo>
                          <a:lnTo>
                            <a:pt x="2276" y="1856"/>
                          </a:lnTo>
                          <a:lnTo>
                            <a:pt x="2284" y="1859"/>
                          </a:lnTo>
                          <a:lnTo>
                            <a:pt x="2292" y="1863"/>
                          </a:lnTo>
                          <a:lnTo>
                            <a:pt x="2299" y="1871"/>
                          </a:lnTo>
                          <a:lnTo>
                            <a:pt x="2305" y="1879"/>
                          </a:lnTo>
                          <a:lnTo>
                            <a:pt x="2309" y="1891"/>
                          </a:lnTo>
                          <a:lnTo>
                            <a:pt x="2312" y="1906"/>
                          </a:lnTo>
                          <a:lnTo>
                            <a:pt x="2314" y="1923"/>
                          </a:lnTo>
                          <a:lnTo>
                            <a:pt x="2314" y="1923"/>
                          </a:lnTo>
                          <a:lnTo>
                            <a:pt x="2312" y="1941"/>
                          </a:lnTo>
                          <a:lnTo>
                            <a:pt x="2310" y="1957"/>
                          </a:lnTo>
                          <a:lnTo>
                            <a:pt x="2308" y="1969"/>
                          </a:lnTo>
                          <a:lnTo>
                            <a:pt x="2303" y="1980"/>
                          </a:lnTo>
                          <a:lnTo>
                            <a:pt x="2295" y="1989"/>
                          </a:lnTo>
                          <a:lnTo>
                            <a:pt x="2288" y="1995"/>
                          </a:lnTo>
                          <a:lnTo>
                            <a:pt x="2280" y="1998"/>
                          </a:lnTo>
                          <a:lnTo>
                            <a:pt x="2269" y="2000"/>
                          </a:lnTo>
                          <a:lnTo>
                            <a:pt x="2269" y="2000"/>
                          </a:lnTo>
                          <a:lnTo>
                            <a:pt x="2260" y="1998"/>
                          </a:lnTo>
                          <a:lnTo>
                            <a:pt x="2253" y="1997"/>
                          </a:lnTo>
                          <a:lnTo>
                            <a:pt x="2247" y="1993"/>
                          </a:lnTo>
                          <a:lnTo>
                            <a:pt x="2241" y="1991"/>
                          </a:lnTo>
                          <a:lnTo>
                            <a:pt x="2231" y="1983"/>
                          </a:lnTo>
                          <a:lnTo>
                            <a:pt x="2225" y="1976"/>
                          </a:lnTo>
                          <a:lnTo>
                            <a:pt x="2225" y="1879"/>
                          </a:lnTo>
                          <a:lnTo>
                            <a:pt x="2225" y="1879"/>
                          </a:lnTo>
                          <a:lnTo>
                            <a:pt x="2229" y="1874"/>
                          </a:lnTo>
                          <a:lnTo>
                            <a:pt x="2233" y="1869"/>
                          </a:lnTo>
                          <a:lnTo>
                            <a:pt x="2238" y="1865"/>
                          </a:lnTo>
                          <a:lnTo>
                            <a:pt x="2243" y="1861"/>
                          </a:lnTo>
                          <a:lnTo>
                            <a:pt x="2249" y="1859"/>
                          </a:lnTo>
                          <a:lnTo>
                            <a:pt x="2255" y="1856"/>
                          </a:lnTo>
                          <a:lnTo>
                            <a:pt x="2261" y="1855"/>
                          </a:lnTo>
                          <a:lnTo>
                            <a:pt x="2267" y="1855"/>
                          </a:lnTo>
                          <a:lnTo>
                            <a:pt x="2267" y="1855"/>
                          </a:lnTo>
                          <a:close/>
                          <a:moveTo>
                            <a:pt x="1591" y="1822"/>
                          </a:moveTo>
                          <a:lnTo>
                            <a:pt x="1591" y="1822"/>
                          </a:lnTo>
                          <a:lnTo>
                            <a:pt x="1586" y="1817"/>
                          </a:lnTo>
                          <a:lnTo>
                            <a:pt x="1580" y="1812"/>
                          </a:lnTo>
                          <a:lnTo>
                            <a:pt x="1572" y="1809"/>
                          </a:lnTo>
                          <a:lnTo>
                            <a:pt x="1566" y="1805"/>
                          </a:lnTo>
                          <a:lnTo>
                            <a:pt x="1559" y="1803"/>
                          </a:lnTo>
                          <a:lnTo>
                            <a:pt x="1552" y="1800"/>
                          </a:lnTo>
                          <a:lnTo>
                            <a:pt x="1544" y="1800"/>
                          </a:lnTo>
                          <a:lnTo>
                            <a:pt x="1537" y="1799"/>
                          </a:lnTo>
                          <a:lnTo>
                            <a:pt x="1537" y="1799"/>
                          </a:lnTo>
                          <a:lnTo>
                            <a:pt x="1526" y="1800"/>
                          </a:lnTo>
                          <a:lnTo>
                            <a:pt x="1515" y="1801"/>
                          </a:lnTo>
                          <a:lnTo>
                            <a:pt x="1506" y="1804"/>
                          </a:lnTo>
                          <a:lnTo>
                            <a:pt x="1497" y="1807"/>
                          </a:lnTo>
                          <a:lnTo>
                            <a:pt x="1489" y="1812"/>
                          </a:lnTo>
                          <a:lnTo>
                            <a:pt x="1480" y="1818"/>
                          </a:lnTo>
                          <a:lnTo>
                            <a:pt x="1473" y="1826"/>
                          </a:lnTo>
                          <a:lnTo>
                            <a:pt x="1467" y="1833"/>
                          </a:lnTo>
                          <a:lnTo>
                            <a:pt x="1461" y="1842"/>
                          </a:lnTo>
                          <a:lnTo>
                            <a:pt x="1456" y="1851"/>
                          </a:lnTo>
                          <a:lnTo>
                            <a:pt x="1451" y="1861"/>
                          </a:lnTo>
                          <a:lnTo>
                            <a:pt x="1447" y="1872"/>
                          </a:lnTo>
                          <a:lnTo>
                            <a:pt x="1445" y="1884"/>
                          </a:lnTo>
                          <a:lnTo>
                            <a:pt x="1442" y="1897"/>
                          </a:lnTo>
                          <a:lnTo>
                            <a:pt x="1441" y="1911"/>
                          </a:lnTo>
                          <a:lnTo>
                            <a:pt x="1441" y="1924"/>
                          </a:lnTo>
                          <a:lnTo>
                            <a:pt x="1441" y="1924"/>
                          </a:lnTo>
                          <a:lnTo>
                            <a:pt x="1441" y="1940"/>
                          </a:lnTo>
                          <a:lnTo>
                            <a:pt x="1442" y="1953"/>
                          </a:lnTo>
                          <a:lnTo>
                            <a:pt x="1445" y="1967"/>
                          </a:lnTo>
                          <a:lnTo>
                            <a:pt x="1447" y="1979"/>
                          </a:lnTo>
                          <a:lnTo>
                            <a:pt x="1451" y="1991"/>
                          </a:lnTo>
                          <a:lnTo>
                            <a:pt x="1455" y="2002"/>
                          </a:lnTo>
                          <a:lnTo>
                            <a:pt x="1461" y="2012"/>
                          </a:lnTo>
                          <a:lnTo>
                            <a:pt x="1465" y="2020"/>
                          </a:lnTo>
                          <a:lnTo>
                            <a:pt x="1473" y="2029"/>
                          </a:lnTo>
                          <a:lnTo>
                            <a:pt x="1479" y="2035"/>
                          </a:lnTo>
                          <a:lnTo>
                            <a:pt x="1487" y="2041"/>
                          </a:lnTo>
                          <a:lnTo>
                            <a:pt x="1496" y="2046"/>
                          </a:lnTo>
                          <a:lnTo>
                            <a:pt x="1504" y="2049"/>
                          </a:lnTo>
                          <a:lnTo>
                            <a:pt x="1514" y="2053"/>
                          </a:lnTo>
                          <a:lnTo>
                            <a:pt x="1525" y="2054"/>
                          </a:lnTo>
                          <a:lnTo>
                            <a:pt x="1536" y="2054"/>
                          </a:lnTo>
                          <a:lnTo>
                            <a:pt x="1536" y="2054"/>
                          </a:lnTo>
                          <a:lnTo>
                            <a:pt x="1543" y="2054"/>
                          </a:lnTo>
                          <a:lnTo>
                            <a:pt x="1551" y="2053"/>
                          </a:lnTo>
                          <a:lnTo>
                            <a:pt x="1558" y="2052"/>
                          </a:lnTo>
                          <a:lnTo>
                            <a:pt x="1565" y="2049"/>
                          </a:lnTo>
                          <a:lnTo>
                            <a:pt x="1572" y="2046"/>
                          </a:lnTo>
                          <a:lnTo>
                            <a:pt x="1578" y="2041"/>
                          </a:lnTo>
                          <a:lnTo>
                            <a:pt x="1585" y="2037"/>
                          </a:lnTo>
                          <a:lnTo>
                            <a:pt x="1591" y="2031"/>
                          </a:lnTo>
                          <a:lnTo>
                            <a:pt x="1591" y="2037"/>
                          </a:lnTo>
                          <a:lnTo>
                            <a:pt x="1591" y="2037"/>
                          </a:lnTo>
                          <a:lnTo>
                            <a:pt x="1591" y="2047"/>
                          </a:lnTo>
                          <a:lnTo>
                            <a:pt x="1589" y="2058"/>
                          </a:lnTo>
                          <a:lnTo>
                            <a:pt x="1587" y="2069"/>
                          </a:lnTo>
                          <a:lnTo>
                            <a:pt x="1585" y="2074"/>
                          </a:lnTo>
                          <a:lnTo>
                            <a:pt x="1581" y="2079"/>
                          </a:lnTo>
                          <a:lnTo>
                            <a:pt x="1577" y="2083"/>
                          </a:lnTo>
                          <a:lnTo>
                            <a:pt x="1572" y="2088"/>
                          </a:lnTo>
                          <a:lnTo>
                            <a:pt x="1565" y="2092"/>
                          </a:lnTo>
                          <a:lnTo>
                            <a:pt x="1558" y="2094"/>
                          </a:lnTo>
                          <a:lnTo>
                            <a:pt x="1549" y="2098"/>
                          </a:lnTo>
                          <a:lnTo>
                            <a:pt x="1538" y="2099"/>
                          </a:lnTo>
                          <a:lnTo>
                            <a:pt x="1526" y="2102"/>
                          </a:lnTo>
                          <a:lnTo>
                            <a:pt x="1513" y="2102"/>
                          </a:lnTo>
                          <a:lnTo>
                            <a:pt x="1510" y="2102"/>
                          </a:lnTo>
                          <a:lnTo>
                            <a:pt x="1531" y="2149"/>
                          </a:lnTo>
                          <a:lnTo>
                            <a:pt x="1532" y="2149"/>
                          </a:lnTo>
                          <a:lnTo>
                            <a:pt x="1532" y="2149"/>
                          </a:lnTo>
                          <a:lnTo>
                            <a:pt x="1547" y="2149"/>
                          </a:lnTo>
                          <a:lnTo>
                            <a:pt x="1560" y="2147"/>
                          </a:lnTo>
                          <a:lnTo>
                            <a:pt x="1574" y="2144"/>
                          </a:lnTo>
                          <a:lnTo>
                            <a:pt x="1585" y="2141"/>
                          </a:lnTo>
                          <a:lnTo>
                            <a:pt x="1595" y="2137"/>
                          </a:lnTo>
                          <a:lnTo>
                            <a:pt x="1605" y="2132"/>
                          </a:lnTo>
                          <a:lnTo>
                            <a:pt x="1614" y="2125"/>
                          </a:lnTo>
                          <a:lnTo>
                            <a:pt x="1622" y="2119"/>
                          </a:lnTo>
                          <a:lnTo>
                            <a:pt x="1630" y="2110"/>
                          </a:lnTo>
                          <a:lnTo>
                            <a:pt x="1634" y="2100"/>
                          </a:lnTo>
                          <a:lnTo>
                            <a:pt x="1640" y="2091"/>
                          </a:lnTo>
                          <a:lnTo>
                            <a:pt x="1644" y="2080"/>
                          </a:lnTo>
                          <a:lnTo>
                            <a:pt x="1648" y="2068"/>
                          </a:lnTo>
                          <a:lnTo>
                            <a:pt x="1650" y="2055"/>
                          </a:lnTo>
                          <a:lnTo>
                            <a:pt x="1651" y="2042"/>
                          </a:lnTo>
                          <a:lnTo>
                            <a:pt x="1651" y="2026"/>
                          </a:lnTo>
                          <a:lnTo>
                            <a:pt x="1651" y="1805"/>
                          </a:lnTo>
                          <a:lnTo>
                            <a:pt x="1591" y="1805"/>
                          </a:lnTo>
                          <a:lnTo>
                            <a:pt x="1591" y="1822"/>
                          </a:lnTo>
                          <a:close/>
                          <a:moveTo>
                            <a:pt x="1591" y="1879"/>
                          </a:moveTo>
                          <a:lnTo>
                            <a:pt x="1591" y="1975"/>
                          </a:lnTo>
                          <a:lnTo>
                            <a:pt x="1591" y="1975"/>
                          </a:lnTo>
                          <a:lnTo>
                            <a:pt x="1583" y="1984"/>
                          </a:lnTo>
                          <a:lnTo>
                            <a:pt x="1574" y="1992"/>
                          </a:lnTo>
                          <a:lnTo>
                            <a:pt x="1569" y="1995"/>
                          </a:lnTo>
                          <a:lnTo>
                            <a:pt x="1563" y="1997"/>
                          </a:lnTo>
                          <a:lnTo>
                            <a:pt x="1555" y="1998"/>
                          </a:lnTo>
                          <a:lnTo>
                            <a:pt x="1548" y="2000"/>
                          </a:lnTo>
                          <a:lnTo>
                            <a:pt x="1548" y="2000"/>
                          </a:lnTo>
                          <a:lnTo>
                            <a:pt x="1540" y="1998"/>
                          </a:lnTo>
                          <a:lnTo>
                            <a:pt x="1532" y="1996"/>
                          </a:lnTo>
                          <a:lnTo>
                            <a:pt x="1524" y="1991"/>
                          </a:lnTo>
                          <a:lnTo>
                            <a:pt x="1518" y="1985"/>
                          </a:lnTo>
                          <a:lnTo>
                            <a:pt x="1512" y="1975"/>
                          </a:lnTo>
                          <a:lnTo>
                            <a:pt x="1507" y="1962"/>
                          </a:lnTo>
                          <a:lnTo>
                            <a:pt x="1503" y="1945"/>
                          </a:lnTo>
                          <a:lnTo>
                            <a:pt x="1502" y="1923"/>
                          </a:lnTo>
                          <a:lnTo>
                            <a:pt x="1502" y="1923"/>
                          </a:lnTo>
                          <a:lnTo>
                            <a:pt x="1503" y="1904"/>
                          </a:lnTo>
                          <a:lnTo>
                            <a:pt x="1507" y="1889"/>
                          </a:lnTo>
                          <a:lnTo>
                            <a:pt x="1512" y="1877"/>
                          </a:lnTo>
                          <a:lnTo>
                            <a:pt x="1518" y="1868"/>
                          </a:lnTo>
                          <a:lnTo>
                            <a:pt x="1524" y="1861"/>
                          </a:lnTo>
                          <a:lnTo>
                            <a:pt x="1532" y="1857"/>
                          </a:lnTo>
                          <a:lnTo>
                            <a:pt x="1540" y="1855"/>
                          </a:lnTo>
                          <a:lnTo>
                            <a:pt x="1548" y="1855"/>
                          </a:lnTo>
                          <a:lnTo>
                            <a:pt x="1548" y="1855"/>
                          </a:lnTo>
                          <a:lnTo>
                            <a:pt x="1555" y="1855"/>
                          </a:lnTo>
                          <a:lnTo>
                            <a:pt x="1563" y="1857"/>
                          </a:lnTo>
                          <a:lnTo>
                            <a:pt x="1570" y="1860"/>
                          </a:lnTo>
                          <a:lnTo>
                            <a:pt x="1575" y="1862"/>
                          </a:lnTo>
                          <a:lnTo>
                            <a:pt x="1580" y="1867"/>
                          </a:lnTo>
                          <a:lnTo>
                            <a:pt x="1585" y="1871"/>
                          </a:lnTo>
                          <a:lnTo>
                            <a:pt x="1591" y="1879"/>
                          </a:lnTo>
                          <a:lnTo>
                            <a:pt x="1591" y="1879"/>
                          </a:lnTo>
                          <a:close/>
                          <a:moveTo>
                            <a:pt x="1840" y="1865"/>
                          </a:moveTo>
                          <a:lnTo>
                            <a:pt x="1840" y="1865"/>
                          </a:lnTo>
                          <a:lnTo>
                            <a:pt x="1854" y="1857"/>
                          </a:lnTo>
                          <a:lnTo>
                            <a:pt x="1869" y="1852"/>
                          </a:lnTo>
                          <a:lnTo>
                            <a:pt x="1885" y="1849"/>
                          </a:lnTo>
                          <a:lnTo>
                            <a:pt x="1902" y="1848"/>
                          </a:lnTo>
                          <a:lnTo>
                            <a:pt x="1902" y="1848"/>
                          </a:lnTo>
                          <a:lnTo>
                            <a:pt x="1913" y="1849"/>
                          </a:lnTo>
                          <a:lnTo>
                            <a:pt x="1921" y="1850"/>
                          </a:lnTo>
                          <a:lnTo>
                            <a:pt x="1928" y="1852"/>
                          </a:lnTo>
                          <a:lnTo>
                            <a:pt x="1935" y="1857"/>
                          </a:lnTo>
                          <a:lnTo>
                            <a:pt x="1939" y="1862"/>
                          </a:lnTo>
                          <a:lnTo>
                            <a:pt x="1943" y="1868"/>
                          </a:lnTo>
                          <a:lnTo>
                            <a:pt x="1945" y="1874"/>
                          </a:lnTo>
                          <a:lnTo>
                            <a:pt x="1945" y="1883"/>
                          </a:lnTo>
                          <a:lnTo>
                            <a:pt x="1945" y="1900"/>
                          </a:lnTo>
                          <a:lnTo>
                            <a:pt x="1945" y="1900"/>
                          </a:lnTo>
                          <a:lnTo>
                            <a:pt x="1935" y="1895"/>
                          </a:lnTo>
                          <a:lnTo>
                            <a:pt x="1921" y="1891"/>
                          </a:lnTo>
                          <a:lnTo>
                            <a:pt x="1908" y="1889"/>
                          </a:lnTo>
                          <a:lnTo>
                            <a:pt x="1893" y="1888"/>
                          </a:lnTo>
                          <a:lnTo>
                            <a:pt x="1893" y="1888"/>
                          </a:lnTo>
                          <a:lnTo>
                            <a:pt x="1876" y="1889"/>
                          </a:lnTo>
                          <a:lnTo>
                            <a:pt x="1859" y="1893"/>
                          </a:lnTo>
                          <a:lnTo>
                            <a:pt x="1843" y="1897"/>
                          </a:lnTo>
                          <a:lnTo>
                            <a:pt x="1835" y="1901"/>
                          </a:lnTo>
                          <a:lnTo>
                            <a:pt x="1828" y="1906"/>
                          </a:lnTo>
                          <a:lnTo>
                            <a:pt x="1822" y="1911"/>
                          </a:lnTo>
                          <a:lnTo>
                            <a:pt x="1815" y="1917"/>
                          </a:lnTo>
                          <a:lnTo>
                            <a:pt x="1809" y="1923"/>
                          </a:lnTo>
                          <a:lnTo>
                            <a:pt x="1805" y="1930"/>
                          </a:lnTo>
                          <a:lnTo>
                            <a:pt x="1801" y="1939"/>
                          </a:lnTo>
                          <a:lnTo>
                            <a:pt x="1798" y="1948"/>
                          </a:lnTo>
                          <a:lnTo>
                            <a:pt x="1797" y="1958"/>
                          </a:lnTo>
                          <a:lnTo>
                            <a:pt x="1796" y="1968"/>
                          </a:lnTo>
                          <a:lnTo>
                            <a:pt x="1796" y="1968"/>
                          </a:lnTo>
                          <a:lnTo>
                            <a:pt x="1797" y="1980"/>
                          </a:lnTo>
                          <a:lnTo>
                            <a:pt x="1798" y="1991"/>
                          </a:lnTo>
                          <a:lnTo>
                            <a:pt x="1801" y="2000"/>
                          </a:lnTo>
                          <a:lnTo>
                            <a:pt x="1805" y="2009"/>
                          </a:lnTo>
                          <a:lnTo>
                            <a:pt x="1808" y="2017"/>
                          </a:lnTo>
                          <a:lnTo>
                            <a:pt x="1814" y="2024"/>
                          </a:lnTo>
                          <a:lnTo>
                            <a:pt x="1819" y="2030"/>
                          </a:lnTo>
                          <a:lnTo>
                            <a:pt x="1826" y="2036"/>
                          </a:lnTo>
                          <a:lnTo>
                            <a:pt x="1832" y="2041"/>
                          </a:lnTo>
                          <a:lnTo>
                            <a:pt x="1840" y="2045"/>
                          </a:lnTo>
                          <a:lnTo>
                            <a:pt x="1856" y="2051"/>
                          </a:lnTo>
                          <a:lnTo>
                            <a:pt x="1871" y="2054"/>
                          </a:lnTo>
                          <a:lnTo>
                            <a:pt x="1887" y="2055"/>
                          </a:lnTo>
                          <a:lnTo>
                            <a:pt x="1887" y="2055"/>
                          </a:lnTo>
                          <a:lnTo>
                            <a:pt x="1901" y="2053"/>
                          </a:lnTo>
                          <a:lnTo>
                            <a:pt x="1909" y="2052"/>
                          </a:lnTo>
                          <a:lnTo>
                            <a:pt x="1916" y="2049"/>
                          </a:lnTo>
                          <a:lnTo>
                            <a:pt x="1925" y="2046"/>
                          </a:lnTo>
                          <a:lnTo>
                            <a:pt x="1932" y="2041"/>
                          </a:lnTo>
                          <a:lnTo>
                            <a:pt x="1939" y="2036"/>
                          </a:lnTo>
                          <a:lnTo>
                            <a:pt x="1945" y="2030"/>
                          </a:lnTo>
                          <a:lnTo>
                            <a:pt x="1945" y="2049"/>
                          </a:lnTo>
                          <a:lnTo>
                            <a:pt x="2006" y="2049"/>
                          </a:lnTo>
                          <a:lnTo>
                            <a:pt x="2006" y="1884"/>
                          </a:lnTo>
                          <a:lnTo>
                            <a:pt x="2006" y="1884"/>
                          </a:lnTo>
                          <a:lnTo>
                            <a:pt x="2006" y="1874"/>
                          </a:lnTo>
                          <a:lnTo>
                            <a:pt x="2005" y="1866"/>
                          </a:lnTo>
                          <a:lnTo>
                            <a:pt x="2003" y="1857"/>
                          </a:lnTo>
                          <a:lnTo>
                            <a:pt x="2000" y="1849"/>
                          </a:lnTo>
                          <a:lnTo>
                            <a:pt x="1995" y="1842"/>
                          </a:lnTo>
                          <a:lnTo>
                            <a:pt x="1992" y="1834"/>
                          </a:lnTo>
                          <a:lnTo>
                            <a:pt x="1986" y="1828"/>
                          </a:lnTo>
                          <a:lnTo>
                            <a:pt x="1979" y="1822"/>
                          </a:lnTo>
                          <a:lnTo>
                            <a:pt x="1973" y="1817"/>
                          </a:lnTo>
                          <a:lnTo>
                            <a:pt x="1966" y="1812"/>
                          </a:lnTo>
                          <a:lnTo>
                            <a:pt x="1958" y="1809"/>
                          </a:lnTo>
                          <a:lnTo>
                            <a:pt x="1949" y="1805"/>
                          </a:lnTo>
                          <a:lnTo>
                            <a:pt x="1939" y="1803"/>
                          </a:lnTo>
                          <a:lnTo>
                            <a:pt x="1930" y="1801"/>
                          </a:lnTo>
                          <a:lnTo>
                            <a:pt x="1919" y="1800"/>
                          </a:lnTo>
                          <a:lnTo>
                            <a:pt x="1908" y="1799"/>
                          </a:lnTo>
                          <a:lnTo>
                            <a:pt x="1908" y="1799"/>
                          </a:lnTo>
                          <a:lnTo>
                            <a:pt x="1894" y="1800"/>
                          </a:lnTo>
                          <a:lnTo>
                            <a:pt x="1883" y="1800"/>
                          </a:lnTo>
                          <a:lnTo>
                            <a:pt x="1871" y="1803"/>
                          </a:lnTo>
                          <a:lnTo>
                            <a:pt x="1859" y="1805"/>
                          </a:lnTo>
                          <a:lnTo>
                            <a:pt x="1848" y="1809"/>
                          </a:lnTo>
                          <a:lnTo>
                            <a:pt x="1837" y="1812"/>
                          </a:lnTo>
                          <a:lnTo>
                            <a:pt x="1826" y="1817"/>
                          </a:lnTo>
                          <a:lnTo>
                            <a:pt x="1815" y="1823"/>
                          </a:lnTo>
                          <a:lnTo>
                            <a:pt x="1840" y="1865"/>
                          </a:lnTo>
                          <a:close/>
                          <a:moveTo>
                            <a:pt x="1857" y="1968"/>
                          </a:moveTo>
                          <a:lnTo>
                            <a:pt x="1857" y="1968"/>
                          </a:lnTo>
                          <a:lnTo>
                            <a:pt x="1857" y="1961"/>
                          </a:lnTo>
                          <a:lnTo>
                            <a:pt x="1859" y="1953"/>
                          </a:lnTo>
                          <a:lnTo>
                            <a:pt x="1863" y="1947"/>
                          </a:lnTo>
                          <a:lnTo>
                            <a:pt x="1868" y="1942"/>
                          </a:lnTo>
                          <a:lnTo>
                            <a:pt x="1874" y="1939"/>
                          </a:lnTo>
                          <a:lnTo>
                            <a:pt x="1881" y="1936"/>
                          </a:lnTo>
                          <a:lnTo>
                            <a:pt x="1890" y="1934"/>
                          </a:lnTo>
                          <a:lnTo>
                            <a:pt x="1898" y="1934"/>
                          </a:lnTo>
                          <a:lnTo>
                            <a:pt x="1898" y="1934"/>
                          </a:lnTo>
                          <a:lnTo>
                            <a:pt x="1911" y="1934"/>
                          </a:lnTo>
                          <a:lnTo>
                            <a:pt x="1924" y="1936"/>
                          </a:lnTo>
                          <a:lnTo>
                            <a:pt x="1935" y="1940"/>
                          </a:lnTo>
                          <a:lnTo>
                            <a:pt x="1945" y="1946"/>
                          </a:lnTo>
                          <a:lnTo>
                            <a:pt x="1945" y="1979"/>
                          </a:lnTo>
                          <a:lnTo>
                            <a:pt x="1945" y="1979"/>
                          </a:lnTo>
                          <a:lnTo>
                            <a:pt x="1943" y="1984"/>
                          </a:lnTo>
                          <a:lnTo>
                            <a:pt x="1938" y="1989"/>
                          </a:lnTo>
                          <a:lnTo>
                            <a:pt x="1933" y="1993"/>
                          </a:lnTo>
                          <a:lnTo>
                            <a:pt x="1927" y="1997"/>
                          </a:lnTo>
                          <a:lnTo>
                            <a:pt x="1921" y="2001"/>
                          </a:lnTo>
                          <a:lnTo>
                            <a:pt x="1914" y="2003"/>
                          </a:lnTo>
                          <a:lnTo>
                            <a:pt x="1907" y="2004"/>
                          </a:lnTo>
                          <a:lnTo>
                            <a:pt x="1898" y="2006"/>
                          </a:lnTo>
                          <a:lnTo>
                            <a:pt x="1898" y="2006"/>
                          </a:lnTo>
                          <a:lnTo>
                            <a:pt x="1890" y="2004"/>
                          </a:lnTo>
                          <a:lnTo>
                            <a:pt x="1881" y="2002"/>
                          </a:lnTo>
                          <a:lnTo>
                            <a:pt x="1874" y="2000"/>
                          </a:lnTo>
                          <a:lnTo>
                            <a:pt x="1868" y="1995"/>
                          </a:lnTo>
                          <a:lnTo>
                            <a:pt x="1863" y="1990"/>
                          </a:lnTo>
                          <a:lnTo>
                            <a:pt x="1859" y="1984"/>
                          </a:lnTo>
                          <a:lnTo>
                            <a:pt x="1858" y="1976"/>
                          </a:lnTo>
                          <a:lnTo>
                            <a:pt x="1857" y="1968"/>
                          </a:lnTo>
                          <a:lnTo>
                            <a:pt x="1857" y="1968"/>
                          </a:lnTo>
                          <a:close/>
                          <a:moveTo>
                            <a:pt x="2569" y="1979"/>
                          </a:moveTo>
                          <a:lnTo>
                            <a:pt x="2569" y="1979"/>
                          </a:lnTo>
                          <a:lnTo>
                            <a:pt x="2560" y="1986"/>
                          </a:lnTo>
                          <a:lnTo>
                            <a:pt x="2549" y="1992"/>
                          </a:lnTo>
                          <a:lnTo>
                            <a:pt x="2543" y="1995"/>
                          </a:lnTo>
                          <a:lnTo>
                            <a:pt x="2536" y="1997"/>
                          </a:lnTo>
                          <a:lnTo>
                            <a:pt x="2529" y="1998"/>
                          </a:lnTo>
                          <a:lnTo>
                            <a:pt x="2521" y="2000"/>
                          </a:lnTo>
                          <a:lnTo>
                            <a:pt x="2521" y="2000"/>
                          </a:lnTo>
                          <a:lnTo>
                            <a:pt x="2515" y="1998"/>
                          </a:lnTo>
                          <a:lnTo>
                            <a:pt x="2508" y="1998"/>
                          </a:lnTo>
                          <a:lnTo>
                            <a:pt x="2500" y="1996"/>
                          </a:lnTo>
                          <a:lnTo>
                            <a:pt x="2490" y="1991"/>
                          </a:lnTo>
                          <a:lnTo>
                            <a:pt x="2481" y="1985"/>
                          </a:lnTo>
                          <a:lnTo>
                            <a:pt x="2478" y="1980"/>
                          </a:lnTo>
                          <a:lnTo>
                            <a:pt x="2474" y="1975"/>
                          </a:lnTo>
                          <a:lnTo>
                            <a:pt x="2472" y="1969"/>
                          </a:lnTo>
                          <a:lnTo>
                            <a:pt x="2469" y="1962"/>
                          </a:lnTo>
                          <a:lnTo>
                            <a:pt x="2468" y="1955"/>
                          </a:lnTo>
                          <a:lnTo>
                            <a:pt x="2467" y="1946"/>
                          </a:lnTo>
                          <a:lnTo>
                            <a:pt x="2616" y="1946"/>
                          </a:lnTo>
                          <a:lnTo>
                            <a:pt x="2616" y="1946"/>
                          </a:lnTo>
                          <a:lnTo>
                            <a:pt x="2617" y="1928"/>
                          </a:lnTo>
                          <a:lnTo>
                            <a:pt x="2617" y="1928"/>
                          </a:lnTo>
                          <a:lnTo>
                            <a:pt x="2617" y="1913"/>
                          </a:lnTo>
                          <a:lnTo>
                            <a:pt x="2615" y="1900"/>
                          </a:lnTo>
                          <a:lnTo>
                            <a:pt x="2614" y="1886"/>
                          </a:lnTo>
                          <a:lnTo>
                            <a:pt x="2610" y="1874"/>
                          </a:lnTo>
                          <a:lnTo>
                            <a:pt x="2607" y="1863"/>
                          </a:lnTo>
                          <a:lnTo>
                            <a:pt x="2602" y="1852"/>
                          </a:lnTo>
                          <a:lnTo>
                            <a:pt x="2596" y="1843"/>
                          </a:lnTo>
                          <a:lnTo>
                            <a:pt x="2589" y="1834"/>
                          </a:lnTo>
                          <a:lnTo>
                            <a:pt x="2582" y="1826"/>
                          </a:lnTo>
                          <a:lnTo>
                            <a:pt x="2575" y="1820"/>
                          </a:lnTo>
                          <a:lnTo>
                            <a:pt x="2566" y="1814"/>
                          </a:lnTo>
                          <a:lnTo>
                            <a:pt x="2557" y="1809"/>
                          </a:lnTo>
                          <a:lnTo>
                            <a:pt x="2547" y="1805"/>
                          </a:lnTo>
                          <a:lnTo>
                            <a:pt x="2537" y="1801"/>
                          </a:lnTo>
                          <a:lnTo>
                            <a:pt x="2526" y="1800"/>
                          </a:lnTo>
                          <a:lnTo>
                            <a:pt x="2514" y="1799"/>
                          </a:lnTo>
                          <a:lnTo>
                            <a:pt x="2514" y="1799"/>
                          </a:lnTo>
                          <a:lnTo>
                            <a:pt x="2503" y="1800"/>
                          </a:lnTo>
                          <a:lnTo>
                            <a:pt x="2492" y="1801"/>
                          </a:lnTo>
                          <a:lnTo>
                            <a:pt x="2481" y="1805"/>
                          </a:lnTo>
                          <a:lnTo>
                            <a:pt x="2470" y="1809"/>
                          </a:lnTo>
                          <a:lnTo>
                            <a:pt x="2461" y="1814"/>
                          </a:lnTo>
                          <a:lnTo>
                            <a:pt x="2452" y="1821"/>
                          </a:lnTo>
                          <a:lnTo>
                            <a:pt x="2444" y="1827"/>
                          </a:lnTo>
                          <a:lnTo>
                            <a:pt x="2436" y="1835"/>
                          </a:lnTo>
                          <a:lnTo>
                            <a:pt x="2429" y="1844"/>
                          </a:lnTo>
                          <a:lnTo>
                            <a:pt x="2423" y="1854"/>
                          </a:lnTo>
                          <a:lnTo>
                            <a:pt x="2418" y="1865"/>
                          </a:lnTo>
                          <a:lnTo>
                            <a:pt x="2413" y="1876"/>
                          </a:lnTo>
                          <a:lnTo>
                            <a:pt x="2410" y="1888"/>
                          </a:lnTo>
                          <a:lnTo>
                            <a:pt x="2407" y="1901"/>
                          </a:lnTo>
                          <a:lnTo>
                            <a:pt x="2406" y="1913"/>
                          </a:lnTo>
                          <a:lnTo>
                            <a:pt x="2405" y="1928"/>
                          </a:lnTo>
                          <a:lnTo>
                            <a:pt x="2405" y="1928"/>
                          </a:lnTo>
                          <a:lnTo>
                            <a:pt x="2406" y="1941"/>
                          </a:lnTo>
                          <a:lnTo>
                            <a:pt x="2407" y="1955"/>
                          </a:lnTo>
                          <a:lnTo>
                            <a:pt x="2410" y="1968"/>
                          </a:lnTo>
                          <a:lnTo>
                            <a:pt x="2413" y="1980"/>
                          </a:lnTo>
                          <a:lnTo>
                            <a:pt x="2418" y="1991"/>
                          </a:lnTo>
                          <a:lnTo>
                            <a:pt x="2423" y="2002"/>
                          </a:lnTo>
                          <a:lnTo>
                            <a:pt x="2429" y="2012"/>
                          </a:lnTo>
                          <a:lnTo>
                            <a:pt x="2436" y="2020"/>
                          </a:lnTo>
                          <a:lnTo>
                            <a:pt x="2445" y="2028"/>
                          </a:lnTo>
                          <a:lnTo>
                            <a:pt x="2453" y="2035"/>
                          </a:lnTo>
                          <a:lnTo>
                            <a:pt x="2463" y="2041"/>
                          </a:lnTo>
                          <a:lnTo>
                            <a:pt x="2473" y="2046"/>
                          </a:lnTo>
                          <a:lnTo>
                            <a:pt x="2484" y="2049"/>
                          </a:lnTo>
                          <a:lnTo>
                            <a:pt x="2496" y="2053"/>
                          </a:lnTo>
                          <a:lnTo>
                            <a:pt x="2508" y="2054"/>
                          </a:lnTo>
                          <a:lnTo>
                            <a:pt x="2521" y="2055"/>
                          </a:lnTo>
                          <a:lnTo>
                            <a:pt x="2521" y="2055"/>
                          </a:lnTo>
                          <a:lnTo>
                            <a:pt x="2534" y="2054"/>
                          </a:lnTo>
                          <a:lnTo>
                            <a:pt x="2545" y="2053"/>
                          </a:lnTo>
                          <a:lnTo>
                            <a:pt x="2557" y="2049"/>
                          </a:lnTo>
                          <a:lnTo>
                            <a:pt x="2568" y="2046"/>
                          </a:lnTo>
                          <a:lnTo>
                            <a:pt x="2579" y="2040"/>
                          </a:lnTo>
                          <a:lnTo>
                            <a:pt x="2588" y="2034"/>
                          </a:lnTo>
                          <a:lnTo>
                            <a:pt x="2598" y="2025"/>
                          </a:lnTo>
                          <a:lnTo>
                            <a:pt x="2608" y="2017"/>
                          </a:lnTo>
                          <a:lnTo>
                            <a:pt x="2569" y="1979"/>
                          </a:lnTo>
                          <a:close/>
                          <a:moveTo>
                            <a:pt x="2468" y="1901"/>
                          </a:moveTo>
                          <a:lnTo>
                            <a:pt x="2468" y="1901"/>
                          </a:lnTo>
                          <a:lnTo>
                            <a:pt x="2469" y="1890"/>
                          </a:lnTo>
                          <a:lnTo>
                            <a:pt x="2472" y="1880"/>
                          </a:lnTo>
                          <a:lnTo>
                            <a:pt x="2475" y="1872"/>
                          </a:lnTo>
                          <a:lnTo>
                            <a:pt x="2481" y="1865"/>
                          </a:lnTo>
                          <a:lnTo>
                            <a:pt x="2487" y="1859"/>
                          </a:lnTo>
                          <a:lnTo>
                            <a:pt x="2495" y="1855"/>
                          </a:lnTo>
                          <a:lnTo>
                            <a:pt x="2503" y="1851"/>
                          </a:lnTo>
                          <a:lnTo>
                            <a:pt x="2513" y="1851"/>
                          </a:lnTo>
                          <a:lnTo>
                            <a:pt x="2513" y="1851"/>
                          </a:lnTo>
                          <a:lnTo>
                            <a:pt x="2524" y="1852"/>
                          </a:lnTo>
                          <a:lnTo>
                            <a:pt x="2534" y="1855"/>
                          </a:lnTo>
                          <a:lnTo>
                            <a:pt x="2541" y="1860"/>
                          </a:lnTo>
                          <a:lnTo>
                            <a:pt x="2547" y="1867"/>
                          </a:lnTo>
                          <a:lnTo>
                            <a:pt x="2552" y="1874"/>
                          </a:lnTo>
                          <a:lnTo>
                            <a:pt x="2555" y="1883"/>
                          </a:lnTo>
                          <a:lnTo>
                            <a:pt x="2558" y="1893"/>
                          </a:lnTo>
                          <a:lnTo>
                            <a:pt x="2559" y="1901"/>
                          </a:lnTo>
                          <a:lnTo>
                            <a:pt x="2468" y="1901"/>
                          </a:lnTo>
                          <a:close/>
                          <a:moveTo>
                            <a:pt x="3153" y="1979"/>
                          </a:moveTo>
                          <a:lnTo>
                            <a:pt x="3153" y="1979"/>
                          </a:lnTo>
                          <a:lnTo>
                            <a:pt x="3144" y="1986"/>
                          </a:lnTo>
                          <a:lnTo>
                            <a:pt x="3134" y="1992"/>
                          </a:lnTo>
                          <a:lnTo>
                            <a:pt x="3127" y="1995"/>
                          </a:lnTo>
                          <a:lnTo>
                            <a:pt x="3121" y="1997"/>
                          </a:lnTo>
                          <a:lnTo>
                            <a:pt x="3113" y="1998"/>
                          </a:lnTo>
                          <a:lnTo>
                            <a:pt x="3105" y="2000"/>
                          </a:lnTo>
                          <a:lnTo>
                            <a:pt x="3105" y="2000"/>
                          </a:lnTo>
                          <a:lnTo>
                            <a:pt x="3099" y="1998"/>
                          </a:lnTo>
                          <a:lnTo>
                            <a:pt x="3091" y="1998"/>
                          </a:lnTo>
                          <a:lnTo>
                            <a:pt x="3083" y="1996"/>
                          </a:lnTo>
                          <a:lnTo>
                            <a:pt x="3074" y="1991"/>
                          </a:lnTo>
                          <a:lnTo>
                            <a:pt x="3066" y="1985"/>
                          </a:lnTo>
                          <a:lnTo>
                            <a:pt x="3062" y="1980"/>
                          </a:lnTo>
                          <a:lnTo>
                            <a:pt x="3059" y="1975"/>
                          </a:lnTo>
                          <a:lnTo>
                            <a:pt x="3056" y="1969"/>
                          </a:lnTo>
                          <a:lnTo>
                            <a:pt x="3054" y="1962"/>
                          </a:lnTo>
                          <a:lnTo>
                            <a:pt x="3051" y="1955"/>
                          </a:lnTo>
                          <a:lnTo>
                            <a:pt x="3050" y="1946"/>
                          </a:lnTo>
                          <a:lnTo>
                            <a:pt x="3201" y="1946"/>
                          </a:lnTo>
                          <a:lnTo>
                            <a:pt x="3201" y="1946"/>
                          </a:lnTo>
                          <a:lnTo>
                            <a:pt x="3202" y="1928"/>
                          </a:lnTo>
                          <a:lnTo>
                            <a:pt x="3202" y="1928"/>
                          </a:lnTo>
                          <a:lnTo>
                            <a:pt x="3201" y="1913"/>
                          </a:lnTo>
                          <a:lnTo>
                            <a:pt x="3199" y="1900"/>
                          </a:lnTo>
                          <a:lnTo>
                            <a:pt x="3197" y="1886"/>
                          </a:lnTo>
                          <a:lnTo>
                            <a:pt x="3195" y="1874"/>
                          </a:lnTo>
                          <a:lnTo>
                            <a:pt x="3190" y="1863"/>
                          </a:lnTo>
                          <a:lnTo>
                            <a:pt x="3185" y="1852"/>
                          </a:lnTo>
                          <a:lnTo>
                            <a:pt x="3180" y="1843"/>
                          </a:lnTo>
                          <a:lnTo>
                            <a:pt x="3174" y="1834"/>
                          </a:lnTo>
                          <a:lnTo>
                            <a:pt x="3167" y="1826"/>
                          </a:lnTo>
                          <a:lnTo>
                            <a:pt x="3158" y="1820"/>
                          </a:lnTo>
                          <a:lnTo>
                            <a:pt x="3150" y="1814"/>
                          </a:lnTo>
                          <a:lnTo>
                            <a:pt x="3141" y="1809"/>
                          </a:lnTo>
                          <a:lnTo>
                            <a:pt x="3131" y="1805"/>
                          </a:lnTo>
                          <a:lnTo>
                            <a:pt x="3121" y="1801"/>
                          </a:lnTo>
                          <a:lnTo>
                            <a:pt x="3110" y="1800"/>
                          </a:lnTo>
                          <a:lnTo>
                            <a:pt x="3099" y="1799"/>
                          </a:lnTo>
                          <a:lnTo>
                            <a:pt x="3099" y="1799"/>
                          </a:lnTo>
                          <a:lnTo>
                            <a:pt x="3086" y="1800"/>
                          </a:lnTo>
                          <a:lnTo>
                            <a:pt x="3076" y="1801"/>
                          </a:lnTo>
                          <a:lnTo>
                            <a:pt x="3065" y="1805"/>
                          </a:lnTo>
                          <a:lnTo>
                            <a:pt x="3055" y="1809"/>
                          </a:lnTo>
                          <a:lnTo>
                            <a:pt x="3045" y="1814"/>
                          </a:lnTo>
                          <a:lnTo>
                            <a:pt x="3035" y="1821"/>
                          </a:lnTo>
                          <a:lnTo>
                            <a:pt x="3028" y="1827"/>
                          </a:lnTo>
                          <a:lnTo>
                            <a:pt x="3020" y="1835"/>
                          </a:lnTo>
                          <a:lnTo>
                            <a:pt x="3012" y="1844"/>
                          </a:lnTo>
                          <a:lnTo>
                            <a:pt x="3006" y="1854"/>
                          </a:lnTo>
                          <a:lnTo>
                            <a:pt x="3001" y="1865"/>
                          </a:lnTo>
                          <a:lnTo>
                            <a:pt x="2997" y="1876"/>
                          </a:lnTo>
                          <a:lnTo>
                            <a:pt x="2994" y="1888"/>
                          </a:lnTo>
                          <a:lnTo>
                            <a:pt x="2990" y="1901"/>
                          </a:lnTo>
                          <a:lnTo>
                            <a:pt x="2989" y="1913"/>
                          </a:lnTo>
                          <a:lnTo>
                            <a:pt x="2989" y="1928"/>
                          </a:lnTo>
                          <a:lnTo>
                            <a:pt x="2989" y="1928"/>
                          </a:lnTo>
                          <a:lnTo>
                            <a:pt x="2989" y="1941"/>
                          </a:lnTo>
                          <a:lnTo>
                            <a:pt x="2990" y="1955"/>
                          </a:lnTo>
                          <a:lnTo>
                            <a:pt x="2993" y="1968"/>
                          </a:lnTo>
                          <a:lnTo>
                            <a:pt x="2997" y="1980"/>
                          </a:lnTo>
                          <a:lnTo>
                            <a:pt x="3001" y="1991"/>
                          </a:lnTo>
                          <a:lnTo>
                            <a:pt x="3008" y="2002"/>
                          </a:lnTo>
                          <a:lnTo>
                            <a:pt x="3014" y="2012"/>
                          </a:lnTo>
                          <a:lnTo>
                            <a:pt x="3021" y="2020"/>
                          </a:lnTo>
                          <a:lnTo>
                            <a:pt x="3028" y="2028"/>
                          </a:lnTo>
                          <a:lnTo>
                            <a:pt x="3037" y="2035"/>
                          </a:lnTo>
                          <a:lnTo>
                            <a:pt x="3046" y="2041"/>
                          </a:lnTo>
                          <a:lnTo>
                            <a:pt x="3057" y="2046"/>
                          </a:lnTo>
                          <a:lnTo>
                            <a:pt x="3068" y="2049"/>
                          </a:lnTo>
                          <a:lnTo>
                            <a:pt x="3079" y="2053"/>
                          </a:lnTo>
                          <a:lnTo>
                            <a:pt x="3093" y="2054"/>
                          </a:lnTo>
                          <a:lnTo>
                            <a:pt x="3105" y="2055"/>
                          </a:lnTo>
                          <a:lnTo>
                            <a:pt x="3105" y="2055"/>
                          </a:lnTo>
                          <a:lnTo>
                            <a:pt x="3117" y="2054"/>
                          </a:lnTo>
                          <a:lnTo>
                            <a:pt x="3129" y="2053"/>
                          </a:lnTo>
                          <a:lnTo>
                            <a:pt x="3140" y="2049"/>
                          </a:lnTo>
                          <a:lnTo>
                            <a:pt x="3151" y="2046"/>
                          </a:lnTo>
                          <a:lnTo>
                            <a:pt x="3162" y="2040"/>
                          </a:lnTo>
                          <a:lnTo>
                            <a:pt x="3173" y="2034"/>
                          </a:lnTo>
                          <a:lnTo>
                            <a:pt x="3182" y="2025"/>
                          </a:lnTo>
                          <a:lnTo>
                            <a:pt x="3191" y="2017"/>
                          </a:lnTo>
                          <a:lnTo>
                            <a:pt x="3153" y="1979"/>
                          </a:lnTo>
                          <a:close/>
                          <a:moveTo>
                            <a:pt x="3051" y="1901"/>
                          </a:moveTo>
                          <a:lnTo>
                            <a:pt x="3051" y="1901"/>
                          </a:lnTo>
                          <a:lnTo>
                            <a:pt x="3052" y="1890"/>
                          </a:lnTo>
                          <a:lnTo>
                            <a:pt x="3056" y="1880"/>
                          </a:lnTo>
                          <a:lnTo>
                            <a:pt x="3060" y="1872"/>
                          </a:lnTo>
                          <a:lnTo>
                            <a:pt x="3065" y="1865"/>
                          </a:lnTo>
                          <a:lnTo>
                            <a:pt x="3072" y="1859"/>
                          </a:lnTo>
                          <a:lnTo>
                            <a:pt x="3079" y="1855"/>
                          </a:lnTo>
                          <a:lnTo>
                            <a:pt x="3088" y="1851"/>
                          </a:lnTo>
                          <a:lnTo>
                            <a:pt x="3097" y="1851"/>
                          </a:lnTo>
                          <a:lnTo>
                            <a:pt x="3097" y="1851"/>
                          </a:lnTo>
                          <a:lnTo>
                            <a:pt x="3108" y="1852"/>
                          </a:lnTo>
                          <a:lnTo>
                            <a:pt x="3117" y="1855"/>
                          </a:lnTo>
                          <a:lnTo>
                            <a:pt x="3125" y="1860"/>
                          </a:lnTo>
                          <a:lnTo>
                            <a:pt x="3131" y="1867"/>
                          </a:lnTo>
                          <a:lnTo>
                            <a:pt x="3136" y="1874"/>
                          </a:lnTo>
                          <a:lnTo>
                            <a:pt x="3140" y="1883"/>
                          </a:lnTo>
                          <a:lnTo>
                            <a:pt x="3142" y="1893"/>
                          </a:lnTo>
                          <a:lnTo>
                            <a:pt x="3144" y="1901"/>
                          </a:lnTo>
                          <a:lnTo>
                            <a:pt x="3051" y="1901"/>
                          </a:lnTo>
                          <a:close/>
                          <a:moveTo>
                            <a:pt x="2905" y="1964"/>
                          </a:moveTo>
                          <a:lnTo>
                            <a:pt x="2905" y="1964"/>
                          </a:lnTo>
                          <a:lnTo>
                            <a:pt x="2905" y="1973"/>
                          </a:lnTo>
                          <a:lnTo>
                            <a:pt x="2907" y="1979"/>
                          </a:lnTo>
                          <a:lnTo>
                            <a:pt x="2909" y="1985"/>
                          </a:lnTo>
                          <a:lnTo>
                            <a:pt x="2912" y="1990"/>
                          </a:lnTo>
                          <a:lnTo>
                            <a:pt x="2915" y="1993"/>
                          </a:lnTo>
                          <a:lnTo>
                            <a:pt x="2920" y="1996"/>
                          </a:lnTo>
                          <a:lnTo>
                            <a:pt x="2925" y="1997"/>
                          </a:lnTo>
                          <a:lnTo>
                            <a:pt x="2932" y="1997"/>
                          </a:lnTo>
                          <a:lnTo>
                            <a:pt x="2932" y="1997"/>
                          </a:lnTo>
                          <a:lnTo>
                            <a:pt x="2941" y="1997"/>
                          </a:lnTo>
                          <a:lnTo>
                            <a:pt x="2950" y="1995"/>
                          </a:lnTo>
                          <a:lnTo>
                            <a:pt x="2960" y="1991"/>
                          </a:lnTo>
                          <a:lnTo>
                            <a:pt x="2969" y="1986"/>
                          </a:lnTo>
                          <a:lnTo>
                            <a:pt x="2961" y="2043"/>
                          </a:lnTo>
                          <a:lnTo>
                            <a:pt x="2961" y="2043"/>
                          </a:lnTo>
                          <a:lnTo>
                            <a:pt x="2950" y="2048"/>
                          </a:lnTo>
                          <a:lnTo>
                            <a:pt x="2937" y="2052"/>
                          </a:lnTo>
                          <a:lnTo>
                            <a:pt x="2924" y="2054"/>
                          </a:lnTo>
                          <a:lnTo>
                            <a:pt x="2910" y="2055"/>
                          </a:lnTo>
                          <a:lnTo>
                            <a:pt x="2910" y="2055"/>
                          </a:lnTo>
                          <a:lnTo>
                            <a:pt x="2902" y="2054"/>
                          </a:lnTo>
                          <a:lnTo>
                            <a:pt x="2893" y="2053"/>
                          </a:lnTo>
                          <a:lnTo>
                            <a:pt x="2886" y="2051"/>
                          </a:lnTo>
                          <a:lnTo>
                            <a:pt x="2880" y="2048"/>
                          </a:lnTo>
                          <a:lnTo>
                            <a:pt x="2874" y="2045"/>
                          </a:lnTo>
                          <a:lnTo>
                            <a:pt x="2868" y="2041"/>
                          </a:lnTo>
                          <a:lnTo>
                            <a:pt x="2864" y="2036"/>
                          </a:lnTo>
                          <a:lnTo>
                            <a:pt x="2859" y="2030"/>
                          </a:lnTo>
                          <a:lnTo>
                            <a:pt x="2853" y="2019"/>
                          </a:lnTo>
                          <a:lnTo>
                            <a:pt x="2848" y="2006"/>
                          </a:lnTo>
                          <a:lnTo>
                            <a:pt x="2846" y="1993"/>
                          </a:lnTo>
                          <a:lnTo>
                            <a:pt x="2845" y="1980"/>
                          </a:lnTo>
                          <a:lnTo>
                            <a:pt x="2845" y="1861"/>
                          </a:lnTo>
                          <a:lnTo>
                            <a:pt x="2807" y="1861"/>
                          </a:lnTo>
                          <a:lnTo>
                            <a:pt x="2807" y="1805"/>
                          </a:lnTo>
                          <a:lnTo>
                            <a:pt x="2845" y="1805"/>
                          </a:lnTo>
                          <a:lnTo>
                            <a:pt x="2845" y="1742"/>
                          </a:lnTo>
                          <a:lnTo>
                            <a:pt x="2905" y="1711"/>
                          </a:lnTo>
                          <a:lnTo>
                            <a:pt x="2905" y="1805"/>
                          </a:lnTo>
                          <a:lnTo>
                            <a:pt x="2960" y="1805"/>
                          </a:lnTo>
                          <a:lnTo>
                            <a:pt x="2960" y="1861"/>
                          </a:lnTo>
                          <a:lnTo>
                            <a:pt x="2905" y="1861"/>
                          </a:lnTo>
                          <a:lnTo>
                            <a:pt x="2905" y="1964"/>
                          </a:lnTo>
                          <a:close/>
                          <a:moveTo>
                            <a:pt x="2788" y="2043"/>
                          </a:moveTo>
                          <a:lnTo>
                            <a:pt x="2788" y="2043"/>
                          </a:lnTo>
                          <a:lnTo>
                            <a:pt x="2777" y="2048"/>
                          </a:lnTo>
                          <a:lnTo>
                            <a:pt x="2764" y="2052"/>
                          </a:lnTo>
                          <a:lnTo>
                            <a:pt x="2751" y="2054"/>
                          </a:lnTo>
                          <a:lnTo>
                            <a:pt x="2738" y="2055"/>
                          </a:lnTo>
                          <a:lnTo>
                            <a:pt x="2738" y="2055"/>
                          </a:lnTo>
                          <a:lnTo>
                            <a:pt x="2728" y="2054"/>
                          </a:lnTo>
                          <a:lnTo>
                            <a:pt x="2721" y="2053"/>
                          </a:lnTo>
                          <a:lnTo>
                            <a:pt x="2713" y="2051"/>
                          </a:lnTo>
                          <a:lnTo>
                            <a:pt x="2706" y="2048"/>
                          </a:lnTo>
                          <a:lnTo>
                            <a:pt x="2701" y="2045"/>
                          </a:lnTo>
                          <a:lnTo>
                            <a:pt x="2695" y="2041"/>
                          </a:lnTo>
                          <a:lnTo>
                            <a:pt x="2690" y="2036"/>
                          </a:lnTo>
                          <a:lnTo>
                            <a:pt x="2687" y="2030"/>
                          </a:lnTo>
                          <a:lnTo>
                            <a:pt x="2679" y="2019"/>
                          </a:lnTo>
                          <a:lnTo>
                            <a:pt x="2676" y="2006"/>
                          </a:lnTo>
                          <a:lnTo>
                            <a:pt x="2672" y="1993"/>
                          </a:lnTo>
                          <a:lnTo>
                            <a:pt x="2672" y="1980"/>
                          </a:lnTo>
                          <a:lnTo>
                            <a:pt x="2672" y="1861"/>
                          </a:lnTo>
                          <a:lnTo>
                            <a:pt x="2634" y="1861"/>
                          </a:lnTo>
                          <a:lnTo>
                            <a:pt x="2634" y="1805"/>
                          </a:lnTo>
                          <a:lnTo>
                            <a:pt x="2672" y="1805"/>
                          </a:lnTo>
                          <a:lnTo>
                            <a:pt x="2672" y="1742"/>
                          </a:lnTo>
                          <a:lnTo>
                            <a:pt x="2733" y="1711"/>
                          </a:lnTo>
                          <a:lnTo>
                            <a:pt x="2733" y="1805"/>
                          </a:lnTo>
                          <a:lnTo>
                            <a:pt x="2784" y="1805"/>
                          </a:lnTo>
                          <a:lnTo>
                            <a:pt x="2784" y="1861"/>
                          </a:lnTo>
                          <a:lnTo>
                            <a:pt x="2733" y="1861"/>
                          </a:lnTo>
                          <a:lnTo>
                            <a:pt x="2733" y="1964"/>
                          </a:lnTo>
                          <a:lnTo>
                            <a:pt x="2733" y="1964"/>
                          </a:lnTo>
                          <a:lnTo>
                            <a:pt x="2733" y="1973"/>
                          </a:lnTo>
                          <a:lnTo>
                            <a:pt x="2734" y="1979"/>
                          </a:lnTo>
                          <a:lnTo>
                            <a:pt x="2737" y="1985"/>
                          </a:lnTo>
                          <a:lnTo>
                            <a:pt x="2739" y="1990"/>
                          </a:lnTo>
                          <a:lnTo>
                            <a:pt x="2743" y="1993"/>
                          </a:lnTo>
                          <a:lnTo>
                            <a:pt x="2747" y="1996"/>
                          </a:lnTo>
                          <a:lnTo>
                            <a:pt x="2752" y="1997"/>
                          </a:lnTo>
                          <a:lnTo>
                            <a:pt x="2758" y="1997"/>
                          </a:lnTo>
                          <a:lnTo>
                            <a:pt x="2758" y="1997"/>
                          </a:lnTo>
                          <a:lnTo>
                            <a:pt x="2768" y="1997"/>
                          </a:lnTo>
                          <a:lnTo>
                            <a:pt x="2778" y="1995"/>
                          </a:lnTo>
                          <a:lnTo>
                            <a:pt x="2786" y="1991"/>
                          </a:lnTo>
                          <a:lnTo>
                            <a:pt x="2795" y="1986"/>
                          </a:lnTo>
                          <a:lnTo>
                            <a:pt x="2788" y="2043"/>
                          </a:lnTo>
                          <a:close/>
                          <a:moveTo>
                            <a:pt x="3384" y="1873"/>
                          </a:moveTo>
                          <a:lnTo>
                            <a:pt x="3384" y="1873"/>
                          </a:lnTo>
                          <a:lnTo>
                            <a:pt x="3376" y="1867"/>
                          </a:lnTo>
                          <a:lnTo>
                            <a:pt x="3366" y="1863"/>
                          </a:lnTo>
                          <a:lnTo>
                            <a:pt x="3355" y="1861"/>
                          </a:lnTo>
                          <a:lnTo>
                            <a:pt x="3344" y="1860"/>
                          </a:lnTo>
                          <a:lnTo>
                            <a:pt x="3344" y="1860"/>
                          </a:lnTo>
                          <a:lnTo>
                            <a:pt x="3334" y="1861"/>
                          </a:lnTo>
                          <a:lnTo>
                            <a:pt x="3325" y="1863"/>
                          </a:lnTo>
                          <a:lnTo>
                            <a:pt x="3317" y="1868"/>
                          </a:lnTo>
                          <a:lnTo>
                            <a:pt x="3311" y="1874"/>
                          </a:lnTo>
                          <a:lnTo>
                            <a:pt x="3306" y="1882"/>
                          </a:lnTo>
                          <a:lnTo>
                            <a:pt x="3304" y="1891"/>
                          </a:lnTo>
                          <a:lnTo>
                            <a:pt x="3302" y="1904"/>
                          </a:lnTo>
                          <a:lnTo>
                            <a:pt x="3300" y="1917"/>
                          </a:lnTo>
                          <a:lnTo>
                            <a:pt x="3300" y="2049"/>
                          </a:lnTo>
                          <a:lnTo>
                            <a:pt x="3241" y="2049"/>
                          </a:lnTo>
                          <a:lnTo>
                            <a:pt x="3241" y="1805"/>
                          </a:lnTo>
                          <a:lnTo>
                            <a:pt x="3300" y="1805"/>
                          </a:lnTo>
                          <a:lnTo>
                            <a:pt x="3300" y="1826"/>
                          </a:lnTo>
                          <a:lnTo>
                            <a:pt x="3300" y="1826"/>
                          </a:lnTo>
                          <a:lnTo>
                            <a:pt x="3306" y="1820"/>
                          </a:lnTo>
                          <a:lnTo>
                            <a:pt x="3313" y="1814"/>
                          </a:lnTo>
                          <a:lnTo>
                            <a:pt x="3319" y="1810"/>
                          </a:lnTo>
                          <a:lnTo>
                            <a:pt x="3326" y="1806"/>
                          </a:lnTo>
                          <a:lnTo>
                            <a:pt x="3332" y="1803"/>
                          </a:lnTo>
                          <a:lnTo>
                            <a:pt x="3339" y="1801"/>
                          </a:lnTo>
                          <a:lnTo>
                            <a:pt x="3347" y="1800"/>
                          </a:lnTo>
                          <a:lnTo>
                            <a:pt x="3355" y="1799"/>
                          </a:lnTo>
                          <a:lnTo>
                            <a:pt x="3355" y="1799"/>
                          </a:lnTo>
                          <a:lnTo>
                            <a:pt x="3367" y="1800"/>
                          </a:lnTo>
                          <a:lnTo>
                            <a:pt x="3379" y="1804"/>
                          </a:lnTo>
                          <a:lnTo>
                            <a:pt x="3390" y="1807"/>
                          </a:lnTo>
                          <a:lnTo>
                            <a:pt x="3400" y="1814"/>
                          </a:lnTo>
                          <a:lnTo>
                            <a:pt x="3384" y="1873"/>
                          </a:lnTo>
                          <a:close/>
                          <a:moveTo>
                            <a:pt x="653" y="1747"/>
                          </a:moveTo>
                          <a:lnTo>
                            <a:pt x="653" y="1770"/>
                          </a:lnTo>
                          <a:lnTo>
                            <a:pt x="592" y="1770"/>
                          </a:lnTo>
                          <a:lnTo>
                            <a:pt x="592" y="1709"/>
                          </a:lnTo>
                          <a:lnTo>
                            <a:pt x="653" y="1709"/>
                          </a:lnTo>
                          <a:lnTo>
                            <a:pt x="653" y="1747"/>
                          </a:lnTo>
                          <a:close/>
                          <a:moveTo>
                            <a:pt x="1073" y="1805"/>
                          </a:moveTo>
                          <a:lnTo>
                            <a:pt x="1134" y="1805"/>
                          </a:lnTo>
                          <a:lnTo>
                            <a:pt x="1134" y="1930"/>
                          </a:lnTo>
                          <a:lnTo>
                            <a:pt x="1134" y="2049"/>
                          </a:lnTo>
                          <a:lnTo>
                            <a:pt x="1073" y="2049"/>
                          </a:lnTo>
                          <a:lnTo>
                            <a:pt x="1073" y="1805"/>
                          </a:lnTo>
                          <a:close/>
                          <a:moveTo>
                            <a:pt x="1134" y="1739"/>
                          </a:moveTo>
                          <a:lnTo>
                            <a:pt x="1134" y="1770"/>
                          </a:lnTo>
                          <a:lnTo>
                            <a:pt x="1073" y="1770"/>
                          </a:lnTo>
                          <a:lnTo>
                            <a:pt x="1073" y="1709"/>
                          </a:lnTo>
                          <a:lnTo>
                            <a:pt x="1134" y="1709"/>
                          </a:lnTo>
                          <a:lnTo>
                            <a:pt x="1134" y="1739"/>
                          </a:lnTo>
                          <a:close/>
                          <a:moveTo>
                            <a:pt x="2796" y="2250"/>
                          </a:moveTo>
                          <a:lnTo>
                            <a:pt x="2796" y="2250"/>
                          </a:lnTo>
                          <a:lnTo>
                            <a:pt x="2790" y="2245"/>
                          </a:lnTo>
                          <a:lnTo>
                            <a:pt x="2784" y="2240"/>
                          </a:lnTo>
                          <a:lnTo>
                            <a:pt x="2778" y="2237"/>
                          </a:lnTo>
                          <a:lnTo>
                            <a:pt x="2771" y="2233"/>
                          </a:lnTo>
                          <a:lnTo>
                            <a:pt x="2764" y="2231"/>
                          </a:lnTo>
                          <a:lnTo>
                            <a:pt x="2757" y="2229"/>
                          </a:lnTo>
                          <a:lnTo>
                            <a:pt x="2741" y="2227"/>
                          </a:lnTo>
                          <a:lnTo>
                            <a:pt x="2741" y="2227"/>
                          </a:lnTo>
                          <a:lnTo>
                            <a:pt x="2730" y="2228"/>
                          </a:lnTo>
                          <a:lnTo>
                            <a:pt x="2721" y="2229"/>
                          </a:lnTo>
                          <a:lnTo>
                            <a:pt x="2711" y="2233"/>
                          </a:lnTo>
                          <a:lnTo>
                            <a:pt x="2701" y="2237"/>
                          </a:lnTo>
                          <a:lnTo>
                            <a:pt x="2693" y="2241"/>
                          </a:lnTo>
                          <a:lnTo>
                            <a:pt x="2685" y="2246"/>
                          </a:lnTo>
                          <a:lnTo>
                            <a:pt x="2678" y="2254"/>
                          </a:lnTo>
                          <a:lnTo>
                            <a:pt x="2671" y="2261"/>
                          </a:lnTo>
                          <a:lnTo>
                            <a:pt x="2666" y="2269"/>
                          </a:lnTo>
                          <a:lnTo>
                            <a:pt x="2660" y="2279"/>
                          </a:lnTo>
                          <a:lnTo>
                            <a:pt x="2656" y="2289"/>
                          </a:lnTo>
                          <a:lnTo>
                            <a:pt x="2653" y="2301"/>
                          </a:lnTo>
                          <a:lnTo>
                            <a:pt x="2649" y="2312"/>
                          </a:lnTo>
                          <a:lnTo>
                            <a:pt x="2648" y="2325"/>
                          </a:lnTo>
                          <a:lnTo>
                            <a:pt x="2647" y="2339"/>
                          </a:lnTo>
                          <a:lnTo>
                            <a:pt x="2645" y="2353"/>
                          </a:lnTo>
                          <a:lnTo>
                            <a:pt x="2645" y="2353"/>
                          </a:lnTo>
                          <a:lnTo>
                            <a:pt x="2647" y="2368"/>
                          </a:lnTo>
                          <a:lnTo>
                            <a:pt x="2648" y="2381"/>
                          </a:lnTo>
                          <a:lnTo>
                            <a:pt x="2649" y="2395"/>
                          </a:lnTo>
                          <a:lnTo>
                            <a:pt x="2653" y="2408"/>
                          </a:lnTo>
                          <a:lnTo>
                            <a:pt x="2655" y="2419"/>
                          </a:lnTo>
                          <a:lnTo>
                            <a:pt x="2660" y="2430"/>
                          </a:lnTo>
                          <a:lnTo>
                            <a:pt x="2665" y="2440"/>
                          </a:lnTo>
                          <a:lnTo>
                            <a:pt x="2671" y="2448"/>
                          </a:lnTo>
                          <a:lnTo>
                            <a:pt x="2677" y="2457"/>
                          </a:lnTo>
                          <a:lnTo>
                            <a:pt x="2684" y="2463"/>
                          </a:lnTo>
                          <a:lnTo>
                            <a:pt x="2692" y="2469"/>
                          </a:lnTo>
                          <a:lnTo>
                            <a:pt x="2700" y="2474"/>
                          </a:lnTo>
                          <a:lnTo>
                            <a:pt x="2710" y="2479"/>
                          </a:lnTo>
                          <a:lnTo>
                            <a:pt x="2720" y="2481"/>
                          </a:lnTo>
                          <a:lnTo>
                            <a:pt x="2729" y="2482"/>
                          </a:lnTo>
                          <a:lnTo>
                            <a:pt x="2740" y="2483"/>
                          </a:lnTo>
                          <a:lnTo>
                            <a:pt x="2740" y="2483"/>
                          </a:lnTo>
                          <a:lnTo>
                            <a:pt x="2747" y="2482"/>
                          </a:lnTo>
                          <a:lnTo>
                            <a:pt x="2756" y="2481"/>
                          </a:lnTo>
                          <a:lnTo>
                            <a:pt x="2763" y="2480"/>
                          </a:lnTo>
                          <a:lnTo>
                            <a:pt x="2769" y="2477"/>
                          </a:lnTo>
                          <a:lnTo>
                            <a:pt x="2777" y="2474"/>
                          </a:lnTo>
                          <a:lnTo>
                            <a:pt x="2784" y="2470"/>
                          </a:lnTo>
                          <a:lnTo>
                            <a:pt x="2790" y="2465"/>
                          </a:lnTo>
                          <a:lnTo>
                            <a:pt x="2796" y="2459"/>
                          </a:lnTo>
                          <a:lnTo>
                            <a:pt x="2796" y="2477"/>
                          </a:lnTo>
                          <a:lnTo>
                            <a:pt x="2857" y="2477"/>
                          </a:lnTo>
                          <a:lnTo>
                            <a:pt x="2857" y="2131"/>
                          </a:lnTo>
                          <a:lnTo>
                            <a:pt x="2796" y="2161"/>
                          </a:lnTo>
                          <a:lnTo>
                            <a:pt x="2796" y="2250"/>
                          </a:lnTo>
                          <a:close/>
                          <a:moveTo>
                            <a:pt x="2754" y="2427"/>
                          </a:moveTo>
                          <a:lnTo>
                            <a:pt x="2754" y="2427"/>
                          </a:lnTo>
                          <a:lnTo>
                            <a:pt x="2745" y="2426"/>
                          </a:lnTo>
                          <a:lnTo>
                            <a:pt x="2738" y="2424"/>
                          </a:lnTo>
                          <a:lnTo>
                            <a:pt x="2729" y="2420"/>
                          </a:lnTo>
                          <a:lnTo>
                            <a:pt x="2722" y="2413"/>
                          </a:lnTo>
                          <a:lnTo>
                            <a:pt x="2716" y="2403"/>
                          </a:lnTo>
                          <a:lnTo>
                            <a:pt x="2711" y="2390"/>
                          </a:lnTo>
                          <a:lnTo>
                            <a:pt x="2709" y="2373"/>
                          </a:lnTo>
                          <a:lnTo>
                            <a:pt x="2707" y="2351"/>
                          </a:lnTo>
                          <a:lnTo>
                            <a:pt x="2707" y="2351"/>
                          </a:lnTo>
                          <a:lnTo>
                            <a:pt x="2709" y="2333"/>
                          </a:lnTo>
                          <a:lnTo>
                            <a:pt x="2711" y="2317"/>
                          </a:lnTo>
                          <a:lnTo>
                            <a:pt x="2716" y="2305"/>
                          </a:lnTo>
                          <a:lnTo>
                            <a:pt x="2722" y="2296"/>
                          </a:lnTo>
                          <a:lnTo>
                            <a:pt x="2729" y="2290"/>
                          </a:lnTo>
                          <a:lnTo>
                            <a:pt x="2737" y="2285"/>
                          </a:lnTo>
                          <a:lnTo>
                            <a:pt x="2745" y="2284"/>
                          </a:lnTo>
                          <a:lnTo>
                            <a:pt x="2752" y="2283"/>
                          </a:lnTo>
                          <a:lnTo>
                            <a:pt x="2752" y="2283"/>
                          </a:lnTo>
                          <a:lnTo>
                            <a:pt x="2761" y="2284"/>
                          </a:lnTo>
                          <a:lnTo>
                            <a:pt x="2768" y="2285"/>
                          </a:lnTo>
                          <a:lnTo>
                            <a:pt x="2774" y="2288"/>
                          </a:lnTo>
                          <a:lnTo>
                            <a:pt x="2780" y="2291"/>
                          </a:lnTo>
                          <a:lnTo>
                            <a:pt x="2785" y="2295"/>
                          </a:lnTo>
                          <a:lnTo>
                            <a:pt x="2790" y="2299"/>
                          </a:lnTo>
                          <a:lnTo>
                            <a:pt x="2796" y="2307"/>
                          </a:lnTo>
                          <a:lnTo>
                            <a:pt x="2796" y="2403"/>
                          </a:lnTo>
                          <a:lnTo>
                            <a:pt x="2796" y="2403"/>
                          </a:lnTo>
                          <a:lnTo>
                            <a:pt x="2789" y="2412"/>
                          </a:lnTo>
                          <a:lnTo>
                            <a:pt x="2780" y="2419"/>
                          </a:lnTo>
                          <a:lnTo>
                            <a:pt x="2774" y="2423"/>
                          </a:lnTo>
                          <a:lnTo>
                            <a:pt x="2768" y="2425"/>
                          </a:lnTo>
                          <a:lnTo>
                            <a:pt x="2761" y="2426"/>
                          </a:lnTo>
                          <a:lnTo>
                            <a:pt x="2754" y="2427"/>
                          </a:lnTo>
                          <a:lnTo>
                            <a:pt x="2754" y="2427"/>
                          </a:lnTo>
                          <a:close/>
                          <a:moveTo>
                            <a:pt x="740" y="2301"/>
                          </a:moveTo>
                          <a:lnTo>
                            <a:pt x="740" y="2301"/>
                          </a:lnTo>
                          <a:lnTo>
                            <a:pt x="732" y="2296"/>
                          </a:lnTo>
                          <a:lnTo>
                            <a:pt x="722" y="2291"/>
                          </a:lnTo>
                          <a:lnTo>
                            <a:pt x="711" y="2289"/>
                          </a:lnTo>
                          <a:lnTo>
                            <a:pt x="700" y="2288"/>
                          </a:lnTo>
                          <a:lnTo>
                            <a:pt x="700" y="2288"/>
                          </a:lnTo>
                          <a:lnTo>
                            <a:pt x="690" y="2289"/>
                          </a:lnTo>
                          <a:lnTo>
                            <a:pt x="680" y="2291"/>
                          </a:lnTo>
                          <a:lnTo>
                            <a:pt x="673" y="2296"/>
                          </a:lnTo>
                          <a:lnTo>
                            <a:pt x="667" y="2302"/>
                          </a:lnTo>
                          <a:lnTo>
                            <a:pt x="662" y="2310"/>
                          </a:lnTo>
                          <a:lnTo>
                            <a:pt x="660" y="2319"/>
                          </a:lnTo>
                          <a:lnTo>
                            <a:pt x="657" y="2331"/>
                          </a:lnTo>
                          <a:lnTo>
                            <a:pt x="656" y="2345"/>
                          </a:lnTo>
                          <a:lnTo>
                            <a:pt x="656" y="2477"/>
                          </a:lnTo>
                          <a:lnTo>
                            <a:pt x="597" y="2477"/>
                          </a:lnTo>
                          <a:lnTo>
                            <a:pt x="597" y="2233"/>
                          </a:lnTo>
                          <a:lnTo>
                            <a:pt x="656" y="2233"/>
                          </a:lnTo>
                          <a:lnTo>
                            <a:pt x="656" y="2254"/>
                          </a:lnTo>
                          <a:lnTo>
                            <a:pt x="656" y="2254"/>
                          </a:lnTo>
                          <a:lnTo>
                            <a:pt x="662" y="2248"/>
                          </a:lnTo>
                          <a:lnTo>
                            <a:pt x="668" y="2241"/>
                          </a:lnTo>
                          <a:lnTo>
                            <a:pt x="674" y="2238"/>
                          </a:lnTo>
                          <a:lnTo>
                            <a:pt x="682" y="2234"/>
                          </a:lnTo>
                          <a:lnTo>
                            <a:pt x="688" y="2231"/>
                          </a:lnTo>
                          <a:lnTo>
                            <a:pt x="695" y="2229"/>
                          </a:lnTo>
                          <a:lnTo>
                            <a:pt x="704" y="2228"/>
                          </a:lnTo>
                          <a:lnTo>
                            <a:pt x="711" y="2227"/>
                          </a:lnTo>
                          <a:lnTo>
                            <a:pt x="711" y="2227"/>
                          </a:lnTo>
                          <a:lnTo>
                            <a:pt x="723" y="2228"/>
                          </a:lnTo>
                          <a:lnTo>
                            <a:pt x="735" y="2232"/>
                          </a:lnTo>
                          <a:lnTo>
                            <a:pt x="747" y="2237"/>
                          </a:lnTo>
                          <a:lnTo>
                            <a:pt x="757" y="2243"/>
                          </a:lnTo>
                          <a:lnTo>
                            <a:pt x="740" y="2301"/>
                          </a:lnTo>
                          <a:close/>
                          <a:moveTo>
                            <a:pt x="265" y="2233"/>
                          </a:moveTo>
                          <a:lnTo>
                            <a:pt x="324" y="2233"/>
                          </a:lnTo>
                          <a:lnTo>
                            <a:pt x="255" y="2477"/>
                          </a:lnTo>
                          <a:lnTo>
                            <a:pt x="203" y="2477"/>
                          </a:lnTo>
                          <a:lnTo>
                            <a:pt x="176" y="2376"/>
                          </a:lnTo>
                          <a:lnTo>
                            <a:pt x="176" y="2376"/>
                          </a:lnTo>
                          <a:lnTo>
                            <a:pt x="163" y="2323"/>
                          </a:lnTo>
                          <a:lnTo>
                            <a:pt x="163" y="2323"/>
                          </a:lnTo>
                          <a:lnTo>
                            <a:pt x="157" y="2348"/>
                          </a:lnTo>
                          <a:lnTo>
                            <a:pt x="149" y="2378"/>
                          </a:lnTo>
                          <a:lnTo>
                            <a:pt x="122" y="2477"/>
                          </a:lnTo>
                          <a:lnTo>
                            <a:pt x="69" y="2477"/>
                          </a:lnTo>
                          <a:lnTo>
                            <a:pt x="69" y="2476"/>
                          </a:lnTo>
                          <a:lnTo>
                            <a:pt x="0" y="2233"/>
                          </a:lnTo>
                          <a:lnTo>
                            <a:pt x="63" y="2233"/>
                          </a:lnTo>
                          <a:lnTo>
                            <a:pt x="85" y="2324"/>
                          </a:lnTo>
                          <a:lnTo>
                            <a:pt x="85" y="2324"/>
                          </a:lnTo>
                          <a:lnTo>
                            <a:pt x="91" y="2353"/>
                          </a:lnTo>
                          <a:lnTo>
                            <a:pt x="97" y="2384"/>
                          </a:lnTo>
                          <a:lnTo>
                            <a:pt x="97" y="2384"/>
                          </a:lnTo>
                          <a:lnTo>
                            <a:pt x="105" y="2353"/>
                          </a:lnTo>
                          <a:lnTo>
                            <a:pt x="112" y="2323"/>
                          </a:lnTo>
                          <a:lnTo>
                            <a:pt x="137" y="2233"/>
                          </a:lnTo>
                          <a:lnTo>
                            <a:pt x="190" y="2233"/>
                          </a:lnTo>
                          <a:lnTo>
                            <a:pt x="215" y="2323"/>
                          </a:lnTo>
                          <a:lnTo>
                            <a:pt x="215" y="2323"/>
                          </a:lnTo>
                          <a:lnTo>
                            <a:pt x="222" y="2352"/>
                          </a:lnTo>
                          <a:lnTo>
                            <a:pt x="230" y="2385"/>
                          </a:lnTo>
                          <a:lnTo>
                            <a:pt x="230" y="2385"/>
                          </a:lnTo>
                          <a:lnTo>
                            <a:pt x="235" y="2357"/>
                          </a:lnTo>
                          <a:lnTo>
                            <a:pt x="242" y="2323"/>
                          </a:lnTo>
                          <a:lnTo>
                            <a:pt x="265" y="2233"/>
                          </a:lnTo>
                          <a:close/>
                          <a:moveTo>
                            <a:pt x="447" y="2227"/>
                          </a:moveTo>
                          <a:lnTo>
                            <a:pt x="447" y="2227"/>
                          </a:lnTo>
                          <a:lnTo>
                            <a:pt x="436" y="2228"/>
                          </a:lnTo>
                          <a:lnTo>
                            <a:pt x="424" y="2229"/>
                          </a:lnTo>
                          <a:lnTo>
                            <a:pt x="413" y="2233"/>
                          </a:lnTo>
                          <a:lnTo>
                            <a:pt x="403" y="2237"/>
                          </a:lnTo>
                          <a:lnTo>
                            <a:pt x="394" y="2241"/>
                          </a:lnTo>
                          <a:lnTo>
                            <a:pt x="384" y="2248"/>
                          </a:lnTo>
                          <a:lnTo>
                            <a:pt x="375" y="2255"/>
                          </a:lnTo>
                          <a:lnTo>
                            <a:pt x="368" y="2263"/>
                          </a:lnTo>
                          <a:lnTo>
                            <a:pt x="361" y="2272"/>
                          </a:lnTo>
                          <a:lnTo>
                            <a:pt x="355" y="2282"/>
                          </a:lnTo>
                          <a:lnTo>
                            <a:pt x="349" y="2293"/>
                          </a:lnTo>
                          <a:lnTo>
                            <a:pt x="345" y="2303"/>
                          </a:lnTo>
                          <a:lnTo>
                            <a:pt x="341" y="2316"/>
                          </a:lnTo>
                          <a:lnTo>
                            <a:pt x="339" y="2328"/>
                          </a:lnTo>
                          <a:lnTo>
                            <a:pt x="337" y="2341"/>
                          </a:lnTo>
                          <a:lnTo>
                            <a:pt x="337" y="2356"/>
                          </a:lnTo>
                          <a:lnTo>
                            <a:pt x="337" y="2356"/>
                          </a:lnTo>
                          <a:lnTo>
                            <a:pt x="337" y="2369"/>
                          </a:lnTo>
                          <a:lnTo>
                            <a:pt x="339" y="2382"/>
                          </a:lnTo>
                          <a:lnTo>
                            <a:pt x="341" y="2395"/>
                          </a:lnTo>
                          <a:lnTo>
                            <a:pt x="345" y="2407"/>
                          </a:lnTo>
                          <a:lnTo>
                            <a:pt x="349" y="2418"/>
                          </a:lnTo>
                          <a:lnTo>
                            <a:pt x="355" y="2429"/>
                          </a:lnTo>
                          <a:lnTo>
                            <a:pt x="361" y="2438"/>
                          </a:lnTo>
                          <a:lnTo>
                            <a:pt x="368" y="2447"/>
                          </a:lnTo>
                          <a:lnTo>
                            <a:pt x="375" y="2455"/>
                          </a:lnTo>
                          <a:lnTo>
                            <a:pt x="384" y="2463"/>
                          </a:lnTo>
                          <a:lnTo>
                            <a:pt x="394" y="2469"/>
                          </a:lnTo>
                          <a:lnTo>
                            <a:pt x="403" y="2474"/>
                          </a:lnTo>
                          <a:lnTo>
                            <a:pt x="413" y="2477"/>
                          </a:lnTo>
                          <a:lnTo>
                            <a:pt x="424" y="2481"/>
                          </a:lnTo>
                          <a:lnTo>
                            <a:pt x="436" y="2482"/>
                          </a:lnTo>
                          <a:lnTo>
                            <a:pt x="447" y="2483"/>
                          </a:lnTo>
                          <a:lnTo>
                            <a:pt x="447" y="2483"/>
                          </a:lnTo>
                          <a:lnTo>
                            <a:pt x="459" y="2482"/>
                          </a:lnTo>
                          <a:lnTo>
                            <a:pt x="471" y="2481"/>
                          </a:lnTo>
                          <a:lnTo>
                            <a:pt x="482" y="2477"/>
                          </a:lnTo>
                          <a:lnTo>
                            <a:pt x="492" y="2474"/>
                          </a:lnTo>
                          <a:lnTo>
                            <a:pt x="502" y="2469"/>
                          </a:lnTo>
                          <a:lnTo>
                            <a:pt x="512" y="2463"/>
                          </a:lnTo>
                          <a:lnTo>
                            <a:pt x="520" y="2455"/>
                          </a:lnTo>
                          <a:lnTo>
                            <a:pt x="527" y="2447"/>
                          </a:lnTo>
                          <a:lnTo>
                            <a:pt x="535" y="2438"/>
                          </a:lnTo>
                          <a:lnTo>
                            <a:pt x="541" y="2429"/>
                          </a:lnTo>
                          <a:lnTo>
                            <a:pt x="546" y="2418"/>
                          </a:lnTo>
                          <a:lnTo>
                            <a:pt x="550" y="2407"/>
                          </a:lnTo>
                          <a:lnTo>
                            <a:pt x="554" y="2395"/>
                          </a:lnTo>
                          <a:lnTo>
                            <a:pt x="557" y="2382"/>
                          </a:lnTo>
                          <a:lnTo>
                            <a:pt x="559" y="2369"/>
                          </a:lnTo>
                          <a:lnTo>
                            <a:pt x="559" y="2356"/>
                          </a:lnTo>
                          <a:lnTo>
                            <a:pt x="559" y="2356"/>
                          </a:lnTo>
                          <a:lnTo>
                            <a:pt x="559" y="2341"/>
                          </a:lnTo>
                          <a:lnTo>
                            <a:pt x="557" y="2328"/>
                          </a:lnTo>
                          <a:lnTo>
                            <a:pt x="554" y="2316"/>
                          </a:lnTo>
                          <a:lnTo>
                            <a:pt x="550" y="2303"/>
                          </a:lnTo>
                          <a:lnTo>
                            <a:pt x="546" y="2293"/>
                          </a:lnTo>
                          <a:lnTo>
                            <a:pt x="541" y="2282"/>
                          </a:lnTo>
                          <a:lnTo>
                            <a:pt x="535" y="2272"/>
                          </a:lnTo>
                          <a:lnTo>
                            <a:pt x="527" y="2263"/>
                          </a:lnTo>
                          <a:lnTo>
                            <a:pt x="520" y="2255"/>
                          </a:lnTo>
                          <a:lnTo>
                            <a:pt x="512" y="2248"/>
                          </a:lnTo>
                          <a:lnTo>
                            <a:pt x="502" y="2241"/>
                          </a:lnTo>
                          <a:lnTo>
                            <a:pt x="492" y="2237"/>
                          </a:lnTo>
                          <a:lnTo>
                            <a:pt x="482" y="2233"/>
                          </a:lnTo>
                          <a:lnTo>
                            <a:pt x="471" y="2229"/>
                          </a:lnTo>
                          <a:lnTo>
                            <a:pt x="459" y="2228"/>
                          </a:lnTo>
                          <a:lnTo>
                            <a:pt x="447" y="2227"/>
                          </a:lnTo>
                          <a:lnTo>
                            <a:pt x="447" y="2227"/>
                          </a:lnTo>
                          <a:close/>
                          <a:moveTo>
                            <a:pt x="447" y="2426"/>
                          </a:moveTo>
                          <a:lnTo>
                            <a:pt x="447" y="2426"/>
                          </a:lnTo>
                          <a:lnTo>
                            <a:pt x="436" y="2425"/>
                          </a:lnTo>
                          <a:lnTo>
                            <a:pt x="427" y="2421"/>
                          </a:lnTo>
                          <a:lnTo>
                            <a:pt x="419" y="2415"/>
                          </a:lnTo>
                          <a:lnTo>
                            <a:pt x="412" y="2407"/>
                          </a:lnTo>
                          <a:lnTo>
                            <a:pt x="406" y="2397"/>
                          </a:lnTo>
                          <a:lnTo>
                            <a:pt x="401" y="2385"/>
                          </a:lnTo>
                          <a:lnTo>
                            <a:pt x="399" y="2370"/>
                          </a:lnTo>
                          <a:lnTo>
                            <a:pt x="399" y="2356"/>
                          </a:lnTo>
                          <a:lnTo>
                            <a:pt x="399" y="2356"/>
                          </a:lnTo>
                          <a:lnTo>
                            <a:pt x="399" y="2340"/>
                          </a:lnTo>
                          <a:lnTo>
                            <a:pt x="401" y="2325"/>
                          </a:lnTo>
                          <a:lnTo>
                            <a:pt x="406" y="2314"/>
                          </a:lnTo>
                          <a:lnTo>
                            <a:pt x="412" y="2303"/>
                          </a:lnTo>
                          <a:lnTo>
                            <a:pt x="419" y="2295"/>
                          </a:lnTo>
                          <a:lnTo>
                            <a:pt x="427" y="2289"/>
                          </a:lnTo>
                          <a:lnTo>
                            <a:pt x="436" y="2285"/>
                          </a:lnTo>
                          <a:lnTo>
                            <a:pt x="447" y="2284"/>
                          </a:lnTo>
                          <a:lnTo>
                            <a:pt x="447" y="2284"/>
                          </a:lnTo>
                          <a:lnTo>
                            <a:pt x="458" y="2285"/>
                          </a:lnTo>
                          <a:lnTo>
                            <a:pt x="468" y="2289"/>
                          </a:lnTo>
                          <a:lnTo>
                            <a:pt x="476" y="2295"/>
                          </a:lnTo>
                          <a:lnTo>
                            <a:pt x="484" y="2303"/>
                          </a:lnTo>
                          <a:lnTo>
                            <a:pt x="490" y="2314"/>
                          </a:lnTo>
                          <a:lnTo>
                            <a:pt x="493" y="2325"/>
                          </a:lnTo>
                          <a:lnTo>
                            <a:pt x="496" y="2340"/>
                          </a:lnTo>
                          <a:lnTo>
                            <a:pt x="497" y="2356"/>
                          </a:lnTo>
                          <a:lnTo>
                            <a:pt x="497" y="2356"/>
                          </a:lnTo>
                          <a:lnTo>
                            <a:pt x="496" y="2370"/>
                          </a:lnTo>
                          <a:lnTo>
                            <a:pt x="493" y="2385"/>
                          </a:lnTo>
                          <a:lnTo>
                            <a:pt x="490" y="2397"/>
                          </a:lnTo>
                          <a:lnTo>
                            <a:pt x="484" y="2407"/>
                          </a:lnTo>
                          <a:lnTo>
                            <a:pt x="476" y="2415"/>
                          </a:lnTo>
                          <a:lnTo>
                            <a:pt x="468" y="2421"/>
                          </a:lnTo>
                          <a:lnTo>
                            <a:pt x="458" y="2425"/>
                          </a:lnTo>
                          <a:lnTo>
                            <a:pt x="447" y="2426"/>
                          </a:lnTo>
                          <a:lnTo>
                            <a:pt x="447" y="2426"/>
                          </a:lnTo>
                          <a:close/>
                          <a:moveTo>
                            <a:pt x="2498" y="2301"/>
                          </a:moveTo>
                          <a:lnTo>
                            <a:pt x="2498" y="2301"/>
                          </a:lnTo>
                          <a:lnTo>
                            <a:pt x="2489" y="2296"/>
                          </a:lnTo>
                          <a:lnTo>
                            <a:pt x="2479" y="2291"/>
                          </a:lnTo>
                          <a:lnTo>
                            <a:pt x="2468" y="2289"/>
                          </a:lnTo>
                          <a:lnTo>
                            <a:pt x="2458" y="2288"/>
                          </a:lnTo>
                          <a:lnTo>
                            <a:pt x="2458" y="2288"/>
                          </a:lnTo>
                          <a:lnTo>
                            <a:pt x="2447" y="2289"/>
                          </a:lnTo>
                          <a:lnTo>
                            <a:pt x="2439" y="2291"/>
                          </a:lnTo>
                          <a:lnTo>
                            <a:pt x="2432" y="2296"/>
                          </a:lnTo>
                          <a:lnTo>
                            <a:pt x="2425" y="2302"/>
                          </a:lnTo>
                          <a:lnTo>
                            <a:pt x="2421" y="2310"/>
                          </a:lnTo>
                          <a:lnTo>
                            <a:pt x="2417" y="2319"/>
                          </a:lnTo>
                          <a:lnTo>
                            <a:pt x="2415" y="2331"/>
                          </a:lnTo>
                          <a:lnTo>
                            <a:pt x="2415" y="2345"/>
                          </a:lnTo>
                          <a:lnTo>
                            <a:pt x="2415" y="2477"/>
                          </a:lnTo>
                          <a:lnTo>
                            <a:pt x="2354" y="2477"/>
                          </a:lnTo>
                          <a:lnTo>
                            <a:pt x="2354" y="2233"/>
                          </a:lnTo>
                          <a:lnTo>
                            <a:pt x="2415" y="2233"/>
                          </a:lnTo>
                          <a:lnTo>
                            <a:pt x="2415" y="2254"/>
                          </a:lnTo>
                          <a:lnTo>
                            <a:pt x="2415" y="2254"/>
                          </a:lnTo>
                          <a:lnTo>
                            <a:pt x="2419" y="2248"/>
                          </a:lnTo>
                          <a:lnTo>
                            <a:pt x="2425" y="2241"/>
                          </a:lnTo>
                          <a:lnTo>
                            <a:pt x="2432" y="2238"/>
                          </a:lnTo>
                          <a:lnTo>
                            <a:pt x="2439" y="2234"/>
                          </a:lnTo>
                          <a:lnTo>
                            <a:pt x="2446" y="2231"/>
                          </a:lnTo>
                          <a:lnTo>
                            <a:pt x="2453" y="2229"/>
                          </a:lnTo>
                          <a:lnTo>
                            <a:pt x="2461" y="2228"/>
                          </a:lnTo>
                          <a:lnTo>
                            <a:pt x="2468" y="2227"/>
                          </a:lnTo>
                          <a:lnTo>
                            <a:pt x="2468" y="2227"/>
                          </a:lnTo>
                          <a:lnTo>
                            <a:pt x="2480" y="2228"/>
                          </a:lnTo>
                          <a:lnTo>
                            <a:pt x="2492" y="2232"/>
                          </a:lnTo>
                          <a:lnTo>
                            <a:pt x="2504" y="2237"/>
                          </a:lnTo>
                          <a:lnTo>
                            <a:pt x="2514" y="2243"/>
                          </a:lnTo>
                          <a:lnTo>
                            <a:pt x="2498" y="2301"/>
                          </a:lnTo>
                          <a:close/>
                          <a:moveTo>
                            <a:pt x="2022" y="2233"/>
                          </a:moveTo>
                          <a:lnTo>
                            <a:pt x="2082" y="2233"/>
                          </a:lnTo>
                          <a:lnTo>
                            <a:pt x="2012" y="2477"/>
                          </a:lnTo>
                          <a:lnTo>
                            <a:pt x="1960" y="2477"/>
                          </a:lnTo>
                          <a:lnTo>
                            <a:pt x="1933" y="2376"/>
                          </a:lnTo>
                          <a:lnTo>
                            <a:pt x="1933" y="2376"/>
                          </a:lnTo>
                          <a:lnTo>
                            <a:pt x="1920" y="2323"/>
                          </a:lnTo>
                          <a:lnTo>
                            <a:pt x="1920" y="2323"/>
                          </a:lnTo>
                          <a:lnTo>
                            <a:pt x="1914" y="2348"/>
                          </a:lnTo>
                          <a:lnTo>
                            <a:pt x="1907" y="2378"/>
                          </a:lnTo>
                          <a:lnTo>
                            <a:pt x="1880" y="2477"/>
                          </a:lnTo>
                          <a:lnTo>
                            <a:pt x="1828" y="2477"/>
                          </a:lnTo>
                          <a:lnTo>
                            <a:pt x="1826" y="2476"/>
                          </a:lnTo>
                          <a:lnTo>
                            <a:pt x="1758" y="2233"/>
                          </a:lnTo>
                          <a:lnTo>
                            <a:pt x="1820" y="2233"/>
                          </a:lnTo>
                          <a:lnTo>
                            <a:pt x="1843" y="2324"/>
                          </a:lnTo>
                          <a:lnTo>
                            <a:pt x="1843" y="2324"/>
                          </a:lnTo>
                          <a:lnTo>
                            <a:pt x="1849" y="2353"/>
                          </a:lnTo>
                          <a:lnTo>
                            <a:pt x="1856" y="2384"/>
                          </a:lnTo>
                          <a:lnTo>
                            <a:pt x="1856" y="2384"/>
                          </a:lnTo>
                          <a:lnTo>
                            <a:pt x="1862" y="2353"/>
                          </a:lnTo>
                          <a:lnTo>
                            <a:pt x="1870" y="2323"/>
                          </a:lnTo>
                          <a:lnTo>
                            <a:pt x="1896" y="2233"/>
                          </a:lnTo>
                          <a:lnTo>
                            <a:pt x="1947" y="2233"/>
                          </a:lnTo>
                          <a:lnTo>
                            <a:pt x="1972" y="2323"/>
                          </a:lnTo>
                          <a:lnTo>
                            <a:pt x="1972" y="2323"/>
                          </a:lnTo>
                          <a:lnTo>
                            <a:pt x="1979" y="2352"/>
                          </a:lnTo>
                          <a:lnTo>
                            <a:pt x="1987" y="2385"/>
                          </a:lnTo>
                          <a:lnTo>
                            <a:pt x="1987" y="2385"/>
                          </a:lnTo>
                          <a:lnTo>
                            <a:pt x="1993" y="2357"/>
                          </a:lnTo>
                          <a:lnTo>
                            <a:pt x="2000" y="2323"/>
                          </a:lnTo>
                          <a:lnTo>
                            <a:pt x="2022" y="2233"/>
                          </a:lnTo>
                          <a:close/>
                          <a:moveTo>
                            <a:pt x="2204" y="2227"/>
                          </a:moveTo>
                          <a:lnTo>
                            <a:pt x="2204" y="2227"/>
                          </a:lnTo>
                          <a:lnTo>
                            <a:pt x="2193" y="2228"/>
                          </a:lnTo>
                          <a:lnTo>
                            <a:pt x="2181" y="2229"/>
                          </a:lnTo>
                          <a:lnTo>
                            <a:pt x="2170" y="2233"/>
                          </a:lnTo>
                          <a:lnTo>
                            <a:pt x="2161" y="2237"/>
                          </a:lnTo>
                          <a:lnTo>
                            <a:pt x="2151" y="2241"/>
                          </a:lnTo>
                          <a:lnTo>
                            <a:pt x="2141" y="2249"/>
                          </a:lnTo>
                          <a:lnTo>
                            <a:pt x="2133" y="2255"/>
                          </a:lnTo>
                          <a:lnTo>
                            <a:pt x="2125" y="2263"/>
                          </a:lnTo>
                          <a:lnTo>
                            <a:pt x="2118" y="2272"/>
                          </a:lnTo>
                          <a:lnTo>
                            <a:pt x="2112" y="2282"/>
                          </a:lnTo>
                          <a:lnTo>
                            <a:pt x="2106" y="2293"/>
                          </a:lnTo>
                          <a:lnTo>
                            <a:pt x="2102" y="2303"/>
                          </a:lnTo>
                          <a:lnTo>
                            <a:pt x="2099" y="2316"/>
                          </a:lnTo>
                          <a:lnTo>
                            <a:pt x="2095" y="2329"/>
                          </a:lnTo>
                          <a:lnTo>
                            <a:pt x="2094" y="2341"/>
                          </a:lnTo>
                          <a:lnTo>
                            <a:pt x="2094" y="2356"/>
                          </a:lnTo>
                          <a:lnTo>
                            <a:pt x="2094" y="2356"/>
                          </a:lnTo>
                          <a:lnTo>
                            <a:pt x="2094" y="2369"/>
                          </a:lnTo>
                          <a:lnTo>
                            <a:pt x="2095" y="2382"/>
                          </a:lnTo>
                          <a:lnTo>
                            <a:pt x="2099" y="2395"/>
                          </a:lnTo>
                          <a:lnTo>
                            <a:pt x="2102" y="2407"/>
                          </a:lnTo>
                          <a:lnTo>
                            <a:pt x="2106" y="2418"/>
                          </a:lnTo>
                          <a:lnTo>
                            <a:pt x="2112" y="2429"/>
                          </a:lnTo>
                          <a:lnTo>
                            <a:pt x="2118" y="2438"/>
                          </a:lnTo>
                          <a:lnTo>
                            <a:pt x="2125" y="2447"/>
                          </a:lnTo>
                          <a:lnTo>
                            <a:pt x="2133" y="2455"/>
                          </a:lnTo>
                          <a:lnTo>
                            <a:pt x="2141" y="2463"/>
                          </a:lnTo>
                          <a:lnTo>
                            <a:pt x="2151" y="2469"/>
                          </a:lnTo>
                          <a:lnTo>
                            <a:pt x="2161" y="2474"/>
                          </a:lnTo>
                          <a:lnTo>
                            <a:pt x="2170" y="2477"/>
                          </a:lnTo>
                          <a:lnTo>
                            <a:pt x="2181" y="2481"/>
                          </a:lnTo>
                          <a:lnTo>
                            <a:pt x="2193" y="2482"/>
                          </a:lnTo>
                          <a:lnTo>
                            <a:pt x="2204" y="2483"/>
                          </a:lnTo>
                          <a:lnTo>
                            <a:pt x="2204" y="2483"/>
                          </a:lnTo>
                          <a:lnTo>
                            <a:pt x="2216" y="2482"/>
                          </a:lnTo>
                          <a:lnTo>
                            <a:pt x="2229" y="2481"/>
                          </a:lnTo>
                          <a:lnTo>
                            <a:pt x="2240" y="2477"/>
                          </a:lnTo>
                          <a:lnTo>
                            <a:pt x="2249" y="2474"/>
                          </a:lnTo>
                          <a:lnTo>
                            <a:pt x="2259" y="2469"/>
                          </a:lnTo>
                          <a:lnTo>
                            <a:pt x="2269" y="2463"/>
                          </a:lnTo>
                          <a:lnTo>
                            <a:pt x="2277" y="2455"/>
                          </a:lnTo>
                          <a:lnTo>
                            <a:pt x="2284" y="2447"/>
                          </a:lnTo>
                          <a:lnTo>
                            <a:pt x="2292" y="2438"/>
                          </a:lnTo>
                          <a:lnTo>
                            <a:pt x="2298" y="2429"/>
                          </a:lnTo>
                          <a:lnTo>
                            <a:pt x="2303" y="2418"/>
                          </a:lnTo>
                          <a:lnTo>
                            <a:pt x="2308" y="2407"/>
                          </a:lnTo>
                          <a:lnTo>
                            <a:pt x="2311" y="2395"/>
                          </a:lnTo>
                          <a:lnTo>
                            <a:pt x="2314" y="2382"/>
                          </a:lnTo>
                          <a:lnTo>
                            <a:pt x="2316" y="2369"/>
                          </a:lnTo>
                          <a:lnTo>
                            <a:pt x="2316" y="2356"/>
                          </a:lnTo>
                          <a:lnTo>
                            <a:pt x="2316" y="2356"/>
                          </a:lnTo>
                          <a:lnTo>
                            <a:pt x="2316" y="2341"/>
                          </a:lnTo>
                          <a:lnTo>
                            <a:pt x="2314" y="2329"/>
                          </a:lnTo>
                          <a:lnTo>
                            <a:pt x="2311" y="2316"/>
                          </a:lnTo>
                          <a:lnTo>
                            <a:pt x="2308" y="2303"/>
                          </a:lnTo>
                          <a:lnTo>
                            <a:pt x="2303" y="2293"/>
                          </a:lnTo>
                          <a:lnTo>
                            <a:pt x="2298" y="2282"/>
                          </a:lnTo>
                          <a:lnTo>
                            <a:pt x="2292" y="2272"/>
                          </a:lnTo>
                          <a:lnTo>
                            <a:pt x="2284" y="2263"/>
                          </a:lnTo>
                          <a:lnTo>
                            <a:pt x="2277" y="2255"/>
                          </a:lnTo>
                          <a:lnTo>
                            <a:pt x="2269" y="2249"/>
                          </a:lnTo>
                          <a:lnTo>
                            <a:pt x="2259" y="2241"/>
                          </a:lnTo>
                          <a:lnTo>
                            <a:pt x="2249" y="2237"/>
                          </a:lnTo>
                          <a:lnTo>
                            <a:pt x="2240" y="2233"/>
                          </a:lnTo>
                          <a:lnTo>
                            <a:pt x="2229" y="2229"/>
                          </a:lnTo>
                          <a:lnTo>
                            <a:pt x="2216" y="2228"/>
                          </a:lnTo>
                          <a:lnTo>
                            <a:pt x="2204" y="2227"/>
                          </a:lnTo>
                          <a:lnTo>
                            <a:pt x="2204" y="2227"/>
                          </a:lnTo>
                          <a:close/>
                          <a:moveTo>
                            <a:pt x="2204" y="2426"/>
                          </a:moveTo>
                          <a:lnTo>
                            <a:pt x="2204" y="2426"/>
                          </a:lnTo>
                          <a:lnTo>
                            <a:pt x="2193" y="2425"/>
                          </a:lnTo>
                          <a:lnTo>
                            <a:pt x="2185" y="2421"/>
                          </a:lnTo>
                          <a:lnTo>
                            <a:pt x="2176" y="2415"/>
                          </a:lnTo>
                          <a:lnTo>
                            <a:pt x="2169" y="2407"/>
                          </a:lnTo>
                          <a:lnTo>
                            <a:pt x="2163" y="2397"/>
                          </a:lnTo>
                          <a:lnTo>
                            <a:pt x="2158" y="2385"/>
                          </a:lnTo>
                          <a:lnTo>
                            <a:pt x="2156" y="2370"/>
                          </a:lnTo>
                          <a:lnTo>
                            <a:pt x="2156" y="2356"/>
                          </a:lnTo>
                          <a:lnTo>
                            <a:pt x="2156" y="2356"/>
                          </a:lnTo>
                          <a:lnTo>
                            <a:pt x="2156" y="2340"/>
                          </a:lnTo>
                          <a:lnTo>
                            <a:pt x="2158" y="2327"/>
                          </a:lnTo>
                          <a:lnTo>
                            <a:pt x="2163" y="2314"/>
                          </a:lnTo>
                          <a:lnTo>
                            <a:pt x="2169" y="2303"/>
                          </a:lnTo>
                          <a:lnTo>
                            <a:pt x="2176" y="2295"/>
                          </a:lnTo>
                          <a:lnTo>
                            <a:pt x="2185" y="2289"/>
                          </a:lnTo>
                          <a:lnTo>
                            <a:pt x="2193" y="2285"/>
                          </a:lnTo>
                          <a:lnTo>
                            <a:pt x="2204" y="2284"/>
                          </a:lnTo>
                          <a:lnTo>
                            <a:pt x="2204" y="2284"/>
                          </a:lnTo>
                          <a:lnTo>
                            <a:pt x="2215" y="2285"/>
                          </a:lnTo>
                          <a:lnTo>
                            <a:pt x="2225" y="2289"/>
                          </a:lnTo>
                          <a:lnTo>
                            <a:pt x="2233" y="2295"/>
                          </a:lnTo>
                          <a:lnTo>
                            <a:pt x="2241" y="2303"/>
                          </a:lnTo>
                          <a:lnTo>
                            <a:pt x="2247" y="2314"/>
                          </a:lnTo>
                          <a:lnTo>
                            <a:pt x="2250" y="2327"/>
                          </a:lnTo>
                          <a:lnTo>
                            <a:pt x="2253" y="2340"/>
                          </a:lnTo>
                          <a:lnTo>
                            <a:pt x="2254" y="2356"/>
                          </a:lnTo>
                          <a:lnTo>
                            <a:pt x="2254" y="2356"/>
                          </a:lnTo>
                          <a:lnTo>
                            <a:pt x="2253" y="2370"/>
                          </a:lnTo>
                          <a:lnTo>
                            <a:pt x="2250" y="2385"/>
                          </a:lnTo>
                          <a:lnTo>
                            <a:pt x="2247" y="2397"/>
                          </a:lnTo>
                          <a:lnTo>
                            <a:pt x="2241" y="2407"/>
                          </a:lnTo>
                          <a:lnTo>
                            <a:pt x="2233" y="2415"/>
                          </a:lnTo>
                          <a:lnTo>
                            <a:pt x="2225" y="2421"/>
                          </a:lnTo>
                          <a:lnTo>
                            <a:pt x="2215" y="2425"/>
                          </a:lnTo>
                          <a:lnTo>
                            <a:pt x="2204" y="2426"/>
                          </a:lnTo>
                          <a:lnTo>
                            <a:pt x="2204" y="2426"/>
                          </a:lnTo>
                          <a:close/>
                          <a:moveTo>
                            <a:pt x="921" y="2313"/>
                          </a:moveTo>
                          <a:lnTo>
                            <a:pt x="995" y="2477"/>
                          </a:lnTo>
                          <a:lnTo>
                            <a:pt x="928" y="2477"/>
                          </a:lnTo>
                          <a:lnTo>
                            <a:pt x="877" y="2364"/>
                          </a:lnTo>
                          <a:lnTo>
                            <a:pt x="845" y="2404"/>
                          </a:lnTo>
                          <a:lnTo>
                            <a:pt x="845" y="2477"/>
                          </a:lnTo>
                          <a:lnTo>
                            <a:pt x="785" y="2477"/>
                          </a:lnTo>
                          <a:lnTo>
                            <a:pt x="785" y="2161"/>
                          </a:lnTo>
                          <a:lnTo>
                            <a:pt x="845" y="2131"/>
                          </a:lnTo>
                          <a:lnTo>
                            <a:pt x="845" y="2327"/>
                          </a:lnTo>
                          <a:lnTo>
                            <a:pt x="845" y="2327"/>
                          </a:lnTo>
                          <a:lnTo>
                            <a:pt x="868" y="2295"/>
                          </a:lnTo>
                          <a:lnTo>
                            <a:pt x="916" y="2233"/>
                          </a:lnTo>
                          <a:lnTo>
                            <a:pt x="987" y="2233"/>
                          </a:lnTo>
                          <a:lnTo>
                            <a:pt x="921" y="2313"/>
                          </a:lnTo>
                          <a:close/>
                          <a:moveTo>
                            <a:pt x="1208" y="2477"/>
                          </a:moveTo>
                          <a:lnTo>
                            <a:pt x="1147" y="2477"/>
                          </a:lnTo>
                          <a:lnTo>
                            <a:pt x="1147" y="2233"/>
                          </a:lnTo>
                          <a:lnTo>
                            <a:pt x="1208" y="2233"/>
                          </a:lnTo>
                          <a:lnTo>
                            <a:pt x="1208" y="2254"/>
                          </a:lnTo>
                          <a:lnTo>
                            <a:pt x="1208" y="2254"/>
                          </a:lnTo>
                          <a:lnTo>
                            <a:pt x="1214" y="2248"/>
                          </a:lnTo>
                          <a:lnTo>
                            <a:pt x="1220" y="2243"/>
                          </a:lnTo>
                          <a:lnTo>
                            <a:pt x="1227" y="2238"/>
                          </a:lnTo>
                          <a:lnTo>
                            <a:pt x="1235" y="2234"/>
                          </a:lnTo>
                          <a:lnTo>
                            <a:pt x="1243" y="2232"/>
                          </a:lnTo>
                          <a:lnTo>
                            <a:pt x="1252" y="2229"/>
                          </a:lnTo>
                          <a:lnTo>
                            <a:pt x="1260" y="2228"/>
                          </a:lnTo>
                          <a:lnTo>
                            <a:pt x="1270" y="2227"/>
                          </a:lnTo>
                          <a:lnTo>
                            <a:pt x="1270" y="2227"/>
                          </a:lnTo>
                          <a:lnTo>
                            <a:pt x="1281" y="2228"/>
                          </a:lnTo>
                          <a:lnTo>
                            <a:pt x="1290" y="2229"/>
                          </a:lnTo>
                          <a:lnTo>
                            <a:pt x="1299" y="2232"/>
                          </a:lnTo>
                          <a:lnTo>
                            <a:pt x="1309" y="2234"/>
                          </a:lnTo>
                          <a:lnTo>
                            <a:pt x="1316" y="2239"/>
                          </a:lnTo>
                          <a:lnTo>
                            <a:pt x="1323" y="2244"/>
                          </a:lnTo>
                          <a:lnTo>
                            <a:pt x="1331" y="2249"/>
                          </a:lnTo>
                          <a:lnTo>
                            <a:pt x="1337" y="2256"/>
                          </a:lnTo>
                          <a:lnTo>
                            <a:pt x="1342" y="2263"/>
                          </a:lnTo>
                          <a:lnTo>
                            <a:pt x="1346" y="2272"/>
                          </a:lnTo>
                          <a:lnTo>
                            <a:pt x="1350" y="2280"/>
                          </a:lnTo>
                          <a:lnTo>
                            <a:pt x="1354" y="2291"/>
                          </a:lnTo>
                          <a:lnTo>
                            <a:pt x="1356" y="2302"/>
                          </a:lnTo>
                          <a:lnTo>
                            <a:pt x="1357" y="2313"/>
                          </a:lnTo>
                          <a:lnTo>
                            <a:pt x="1359" y="2325"/>
                          </a:lnTo>
                          <a:lnTo>
                            <a:pt x="1360" y="2339"/>
                          </a:lnTo>
                          <a:lnTo>
                            <a:pt x="1360" y="2477"/>
                          </a:lnTo>
                          <a:lnTo>
                            <a:pt x="1299" y="2477"/>
                          </a:lnTo>
                          <a:lnTo>
                            <a:pt x="1299" y="2342"/>
                          </a:lnTo>
                          <a:lnTo>
                            <a:pt x="1299" y="2342"/>
                          </a:lnTo>
                          <a:lnTo>
                            <a:pt x="1298" y="2329"/>
                          </a:lnTo>
                          <a:lnTo>
                            <a:pt x="1297" y="2316"/>
                          </a:lnTo>
                          <a:lnTo>
                            <a:pt x="1293" y="2306"/>
                          </a:lnTo>
                          <a:lnTo>
                            <a:pt x="1288" y="2297"/>
                          </a:lnTo>
                          <a:lnTo>
                            <a:pt x="1282" y="2291"/>
                          </a:lnTo>
                          <a:lnTo>
                            <a:pt x="1275" y="2286"/>
                          </a:lnTo>
                          <a:lnTo>
                            <a:pt x="1265" y="2284"/>
                          </a:lnTo>
                          <a:lnTo>
                            <a:pt x="1254" y="2283"/>
                          </a:lnTo>
                          <a:lnTo>
                            <a:pt x="1254" y="2283"/>
                          </a:lnTo>
                          <a:lnTo>
                            <a:pt x="1244" y="2284"/>
                          </a:lnTo>
                          <a:lnTo>
                            <a:pt x="1235" y="2286"/>
                          </a:lnTo>
                          <a:lnTo>
                            <a:pt x="1226" y="2291"/>
                          </a:lnTo>
                          <a:lnTo>
                            <a:pt x="1220" y="2299"/>
                          </a:lnTo>
                          <a:lnTo>
                            <a:pt x="1215" y="2306"/>
                          </a:lnTo>
                          <a:lnTo>
                            <a:pt x="1212" y="2317"/>
                          </a:lnTo>
                          <a:lnTo>
                            <a:pt x="1209" y="2329"/>
                          </a:lnTo>
                          <a:lnTo>
                            <a:pt x="1208" y="2342"/>
                          </a:lnTo>
                          <a:lnTo>
                            <a:pt x="1208" y="2477"/>
                          </a:lnTo>
                          <a:close/>
                          <a:moveTo>
                            <a:pt x="1551" y="2250"/>
                          </a:moveTo>
                          <a:lnTo>
                            <a:pt x="1551" y="2250"/>
                          </a:lnTo>
                          <a:lnTo>
                            <a:pt x="1544" y="2245"/>
                          </a:lnTo>
                          <a:lnTo>
                            <a:pt x="1538" y="2240"/>
                          </a:lnTo>
                          <a:lnTo>
                            <a:pt x="1532" y="2237"/>
                          </a:lnTo>
                          <a:lnTo>
                            <a:pt x="1525" y="2233"/>
                          </a:lnTo>
                          <a:lnTo>
                            <a:pt x="1518" y="2231"/>
                          </a:lnTo>
                          <a:lnTo>
                            <a:pt x="1510" y="2229"/>
                          </a:lnTo>
                          <a:lnTo>
                            <a:pt x="1503" y="2228"/>
                          </a:lnTo>
                          <a:lnTo>
                            <a:pt x="1496" y="2227"/>
                          </a:lnTo>
                          <a:lnTo>
                            <a:pt x="1496" y="2227"/>
                          </a:lnTo>
                          <a:lnTo>
                            <a:pt x="1485" y="2228"/>
                          </a:lnTo>
                          <a:lnTo>
                            <a:pt x="1475" y="2229"/>
                          </a:lnTo>
                          <a:lnTo>
                            <a:pt x="1465" y="2232"/>
                          </a:lnTo>
                          <a:lnTo>
                            <a:pt x="1456" y="2237"/>
                          </a:lnTo>
                          <a:lnTo>
                            <a:pt x="1447" y="2240"/>
                          </a:lnTo>
                          <a:lnTo>
                            <a:pt x="1440" y="2246"/>
                          </a:lnTo>
                          <a:lnTo>
                            <a:pt x="1433" y="2254"/>
                          </a:lnTo>
                          <a:lnTo>
                            <a:pt x="1425" y="2261"/>
                          </a:lnTo>
                          <a:lnTo>
                            <a:pt x="1419" y="2269"/>
                          </a:lnTo>
                          <a:lnTo>
                            <a:pt x="1414" y="2279"/>
                          </a:lnTo>
                          <a:lnTo>
                            <a:pt x="1410" y="2289"/>
                          </a:lnTo>
                          <a:lnTo>
                            <a:pt x="1406" y="2301"/>
                          </a:lnTo>
                          <a:lnTo>
                            <a:pt x="1404" y="2312"/>
                          </a:lnTo>
                          <a:lnTo>
                            <a:pt x="1401" y="2325"/>
                          </a:lnTo>
                          <a:lnTo>
                            <a:pt x="1400" y="2339"/>
                          </a:lnTo>
                          <a:lnTo>
                            <a:pt x="1400" y="2352"/>
                          </a:lnTo>
                          <a:lnTo>
                            <a:pt x="1400" y="2352"/>
                          </a:lnTo>
                          <a:lnTo>
                            <a:pt x="1400" y="2368"/>
                          </a:lnTo>
                          <a:lnTo>
                            <a:pt x="1401" y="2381"/>
                          </a:lnTo>
                          <a:lnTo>
                            <a:pt x="1404" y="2395"/>
                          </a:lnTo>
                          <a:lnTo>
                            <a:pt x="1406" y="2408"/>
                          </a:lnTo>
                          <a:lnTo>
                            <a:pt x="1410" y="2419"/>
                          </a:lnTo>
                          <a:lnTo>
                            <a:pt x="1414" y="2430"/>
                          </a:lnTo>
                          <a:lnTo>
                            <a:pt x="1419" y="2440"/>
                          </a:lnTo>
                          <a:lnTo>
                            <a:pt x="1425" y="2448"/>
                          </a:lnTo>
                          <a:lnTo>
                            <a:pt x="1431" y="2457"/>
                          </a:lnTo>
                          <a:lnTo>
                            <a:pt x="1439" y="2463"/>
                          </a:lnTo>
                          <a:lnTo>
                            <a:pt x="1446" y="2469"/>
                          </a:lnTo>
                          <a:lnTo>
                            <a:pt x="1455" y="2474"/>
                          </a:lnTo>
                          <a:lnTo>
                            <a:pt x="1464" y="2477"/>
                          </a:lnTo>
                          <a:lnTo>
                            <a:pt x="1474" y="2481"/>
                          </a:lnTo>
                          <a:lnTo>
                            <a:pt x="1484" y="2482"/>
                          </a:lnTo>
                          <a:lnTo>
                            <a:pt x="1495" y="2483"/>
                          </a:lnTo>
                          <a:lnTo>
                            <a:pt x="1495" y="2483"/>
                          </a:lnTo>
                          <a:lnTo>
                            <a:pt x="1502" y="2482"/>
                          </a:lnTo>
                          <a:lnTo>
                            <a:pt x="1510" y="2481"/>
                          </a:lnTo>
                          <a:lnTo>
                            <a:pt x="1518" y="2480"/>
                          </a:lnTo>
                          <a:lnTo>
                            <a:pt x="1525" y="2477"/>
                          </a:lnTo>
                          <a:lnTo>
                            <a:pt x="1531" y="2474"/>
                          </a:lnTo>
                          <a:lnTo>
                            <a:pt x="1538" y="2470"/>
                          </a:lnTo>
                          <a:lnTo>
                            <a:pt x="1544" y="2465"/>
                          </a:lnTo>
                          <a:lnTo>
                            <a:pt x="1551" y="2459"/>
                          </a:lnTo>
                          <a:lnTo>
                            <a:pt x="1551" y="2465"/>
                          </a:lnTo>
                          <a:lnTo>
                            <a:pt x="1551" y="2465"/>
                          </a:lnTo>
                          <a:lnTo>
                            <a:pt x="1551" y="2475"/>
                          </a:lnTo>
                          <a:lnTo>
                            <a:pt x="1549" y="2486"/>
                          </a:lnTo>
                          <a:lnTo>
                            <a:pt x="1546" y="2497"/>
                          </a:lnTo>
                          <a:lnTo>
                            <a:pt x="1543" y="2502"/>
                          </a:lnTo>
                          <a:lnTo>
                            <a:pt x="1541" y="2506"/>
                          </a:lnTo>
                          <a:lnTo>
                            <a:pt x="1536" y="2511"/>
                          </a:lnTo>
                          <a:lnTo>
                            <a:pt x="1531" y="2516"/>
                          </a:lnTo>
                          <a:lnTo>
                            <a:pt x="1525" y="2520"/>
                          </a:lnTo>
                          <a:lnTo>
                            <a:pt x="1518" y="2524"/>
                          </a:lnTo>
                          <a:lnTo>
                            <a:pt x="1508" y="2526"/>
                          </a:lnTo>
                          <a:lnTo>
                            <a:pt x="1498" y="2528"/>
                          </a:lnTo>
                          <a:lnTo>
                            <a:pt x="1486" y="2530"/>
                          </a:lnTo>
                          <a:lnTo>
                            <a:pt x="1472" y="2530"/>
                          </a:lnTo>
                          <a:lnTo>
                            <a:pt x="1469" y="2530"/>
                          </a:lnTo>
                          <a:lnTo>
                            <a:pt x="1491" y="2577"/>
                          </a:lnTo>
                          <a:lnTo>
                            <a:pt x="1492" y="2577"/>
                          </a:lnTo>
                          <a:lnTo>
                            <a:pt x="1492" y="2577"/>
                          </a:lnTo>
                          <a:lnTo>
                            <a:pt x="1507" y="2577"/>
                          </a:lnTo>
                          <a:lnTo>
                            <a:pt x="1520" y="2576"/>
                          </a:lnTo>
                          <a:lnTo>
                            <a:pt x="1532" y="2572"/>
                          </a:lnTo>
                          <a:lnTo>
                            <a:pt x="1544" y="2570"/>
                          </a:lnTo>
                          <a:lnTo>
                            <a:pt x="1555" y="2565"/>
                          </a:lnTo>
                          <a:lnTo>
                            <a:pt x="1565" y="2560"/>
                          </a:lnTo>
                          <a:lnTo>
                            <a:pt x="1574" y="2554"/>
                          </a:lnTo>
                          <a:lnTo>
                            <a:pt x="1581" y="2547"/>
                          </a:lnTo>
                          <a:lnTo>
                            <a:pt x="1588" y="2538"/>
                          </a:lnTo>
                          <a:lnTo>
                            <a:pt x="1594" y="2530"/>
                          </a:lnTo>
                          <a:lnTo>
                            <a:pt x="1599" y="2519"/>
                          </a:lnTo>
                          <a:lnTo>
                            <a:pt x="1603" y="2508"/>
                          </a:lnTo>
                          <a:lnTo>
                            <a:pt x="1606" y="2497"/>
                          </a:lnTo>
                          <a:lnTo>
                            <a:pt x="1609" y="2483"/>
                          </a:lnTo>
                          <a:lnTo>
                            <a:pt x="1610" y="2470"/>
                          </a:lnTo>
                          <a:lnTo>
                            <a:pt x="1610" y="2455"/>
                          </a:lnTo>
                          <a:lnTo>
                            <a:pt x="1610" y="2233"/>
                          </a:lnTo>
                          <a:lnTo>
                            <a:pt x="1551" y="2233"/>
                          </a:lnTo>
                          <a:lnTo>
                            <a:pt x="1551" y="2250"/>
                          </a:lnTo>
                          <a:close/>
                          <a:moveTo>
                            <a:pt x="1551" y="2307"/>
                          </a:moveTo>
                          <a:lnTo>
                            <a:pt x="1551" y="2403"/>
                          </a:lnTo>
                          <a:lnTo>
                            <a:pt x="1551" y="2403"/>
                          </a:lnTo>
                          <a:lnTo>
                            <a:pt x="1542" y="2412"/>
                          </a:lnTo>
                          <a:lnTo>
                            <a:pt x="1534" y="2420"/>
                          </a:lnTo>
                          <a:lnTo>
                            <a:pt x="1527" y="2423"/>
                          </a:lnTo>
                          <a:lnTo>
                            <a:pt x="1521" y="2425"/>
                          </a:lnTo>
                          <a:lnTo>
                            <a:pt x="1515" y="2426"/>
                          </a:lnTo>
                          <a:lnTo>
                            <a:pt x="1507" y="2427"/>
                          </a:lnTo>
                          <a:lnTo>
                            <a:pt x="1507" y="2427"/>
                          </a:lnTo>
                          <a:lnTo>
                            <a:pt x="1499" y="2426"/>
                          </a:lnTo>
                          <a:lnTo>
                            <a:pt x="1491" y="2424"/>
                          </a:lnTo>
                          <a:lnTo>
                            <a:pt x="1484" y="2420"/>
                          </a:lnTo>
                          <a:lnTo>
                            <a:pt x="1476" y="2413"/>
                          </a:lnTo>
                          <a:lnTo>
                            <a:pt x="1470" y="2403"/>
                          </a:lnTo>
                          <a:lnTo>
                            <a:pt x="1465" y="2390"/>
                          </a:lnTo>
                          <a:lnTo>
                            <a:pt x="1463" y="2373"/>
                          </a:lnTo>
                          <a:lnTo>
                            <a:pt x="1462" y="2351"/>
                          </a:lnTo>
                          <a:lnTo>
                            <a:pt x="1462" y="2351"/>
                          </a:lnTo>
                          <a:lnTo>
                            <a:pt x="1463" y="2333"/>
                          </a:lnTo>
                          <a:lnTo>
                            <a:pt x="1465" y="2317"/>
                          </a:lnTo>
                          <a:lnTo>
                            <a:pt x="1470" y="2305"/>
                          </a:lnTo>
                          <a:lnTo>
                            <a:pt x="1476" y="2296"/>
                          </a:lnTo>
                          <a:lnTo>
                            <a:pt x="1484" y="2290"/>
                          </a:lnTo>
                          <a:lnTo>
                            <a:pt x="1491" y="2285"/>
                          </a:lnTo>
                          <a:lnTo>
                            <a:pt x="1499" y="2284"/>
                          </a:lnTo>
                          <a:lnTo>
                            <a:pt x="1507" y="2283"/>
                          </a:lnTo>
                          <a:lnTo>
                            <a:pt x="1507" y="2283"/>
                          </a:lnTo>
                          <a:lnTo>
                            <a:pt x="1515" y="2284"/>
                          </a:lnTo>
                          <a:lnTo>
                            <a:pt x="1523" y="2285"/>
                          </a:lnTo>
                          <a:lnTo>
                            <a:pt x="1529" y="2288"/>
                          </a:lnTo>
                          <a:lnTo>
                            <a:pt x="1535" y="2291"/>
                          </a:lnTo>
                          <a:lnTo>
                            <a:pt x="1540" y="2295"/>
                          </a:lnTo>
                          <a:lnTo>
                            <a:pt x="1543" y="2299"/>
                          </a:lnTo>
                          <a:lnTo>
                            <a:pt x="1551" y="2307"/>
                          </a:lnTo>
                          <a:lnTo>
                            <a:pt x="1551" y="2307"/>
                          </a:lnTo>
                          <a:close/>
                          <a:moveTo>
                            <a:pt x="1033" y="2233"/>
                          </a:moveTo>
                          <a:lnTo>
                            <a:pt x="1094" y="2233"/>
                          </a:lnTo>
                          <a:lnTo>
                            <a:pt x="1094" y="2341"/>
                          </a:lnTo>
                          <a:lnTo>
                            <a:pt x="1094" y="2477"/>
                          </a:lnTo>
                          <a:lnTo>
                            <a:pt x="1033" y="2477"/>
                          </a:lnTo>
                          <a:lnTo>
                            <a:pt x="1033" y="2233"/>
                          </a:lnTo>
                          <a:close/>
                          <a:moveTo>
                            <a:pt x="1094" y="2167"/>
                          </a:moveTo>
                          <a:lnTo>
                            <a:pt x="1094" y="2198"/>
                          </a:lnTo>
                          <a:lnTo>
                            <a:pt x="1033" y="2198"/>
                          </a:lnTo>
                          <a:lnTo>
                            <a:pt x="1033" y="2137"/>
                          </a:lnTo>
                          <a:lnTo>
                            <a:pt x="1094" y="2137"/>
                          </a:lnTo>
                          <a:lnTo>
                            <a:pt x="1094" y="2167"/>
                          </a:lnTo>
                          <a:close/>
                          <a:moveTo>
                            <a:pt x="2542" y="2161"/>
                          </a:moveTo>
                          <a:lnTo>
                            <a:pt x="2603" y="2131"/>
                          </a:lnTo>
                          <a:lnTo>
                            <a:pt x="2603" y="2352"/>
                          </a:lnTo>
                          <a:lnTo>
                            <a:pt x="2603" y="2477"/>
                          </a:lnTo>
                          <a:lnTo>
                            <a:pt x="2542" y="2477"/>
                          </a:lnTo>
                          <a:lnTo>
                            <a:pt x="2542" y="2161"/>
                          </a:lnTo>
                          <a:close/>
                          <a:moveTo>
                            <a:pt x="437" y="834"/>
                          </a:moveTo>
                          <a:lnTo>
                            <a:pt x="936" y="834"/>
                          </a:lnTo>
                          <a:lnTo>
                            <a:pt x="936" y="544"/>
                          </a:lnTo>
                          <a:lnTo>
                            <a:pt x="437" y="544"/>
                          </a:lnTo>
                          <a:lnTo>
                            <a:pt x="437" y="317"/>
                          </a:lnTo>
                          <a:lnTo>
                            <a:pt x="989" y="317"/>
                          </a:lnTo>
                          <a:lnTo>
                            <a:pt x="806" y="0"/>
                          </a:lnTo>
                          <a:lnTo>
                            <a:pt x="24" y="0"/>
                          </a:lnTo>
                          <a:lnTo>
                            <a:pt x="24" y="1378"/>
                          </a:lnTo>
                          <a:lnTo>
                            <a:pt x="1126" y="1378"/>
                          </a:lnTo>
                          <a:lnTo>
                            <a:pt x="1126" y="1061"/>
                          </a:lnTo>
                          <a:lnTo>
                            <a:pt x="437" y="1061"/>
                          </a:lnTo>
                          <a:lnTo>
                            <a:pt x="437" y="834"/>
                          </a:lnTo>
                          <a:close/>
                          <a:moveTo>
                            <a:pt x="1860" y="0"/>
                          </a:moveTo>
                          <a:lnTo>
                            <a:pt x="1626" y="450"/>
                          </a:lnTo>
                          <a:lnTo>
                            <a:pt x="1393" y="0"/>
                          </a:lnTo>
                          <a:lnTo>
                            <a:pt x="936" y="0"/>
                          </a:lnTo>
                          <a:lnTo>
                            <a:pt x="1417" y="834"/>
                          </a:lnTo>
                          <a:lnTo>
                            <a:pt x="1417" y="1378"/>
                          </a:lnTo>
                          <a:lnTo>
                            <a:pt x="1829" y="1378"/>
                          </a:lnTo>
                          <a:lnTo>
                            <a:pt x="1829" y="834"/>
                          </a:lnTo>
                          <a:lnTo>
                            <a:pt x="2311" y="0"/>
                          </a:lnTo>
                          <a:lnTo>
                            <a:pt x="186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</p:grpSp>
              <p:sp>
                <p:nvSpPr>
                  <p:cNvPr id="59" name="Content Placeholder 5">
                    <a:extLst>
                      <a:ext uri="{FF2B5EF4-FFF2-40B4-BE49-F238E27FC236}">
                        <a16:creationId xmlns:a16="http://schemas.microsoft.com/office/drawing/2014/main" id="{52B97B48-2BB4-4ECB-A277-B2BE3D82DF28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4368" y="75105"/>
                    <a:ext cx="1458345" cy="152383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b="1" kern="0">
                        <a:solidFill>
                          <a:srgbClr val="FFE600"/>
                        </a:solidFill>
                        <a:latin typeface="EYInterstate Bold" panose="02000803030000020004" pitchFamily="2" charset="0"/>
                        <a:ea typeface="+mn-ea"/>
                        <a:cs typeface="+mn-cs"/>
                      </a:rPr>
                      <a:t>Context, Scope and Objectives</a:t>
                    </a:r>
                  </a:p>
                </p:txBody>
              </p:sp>
              <p:sp>
                <p:nvSpPr>
                  <p:cNvPr id="60" name="Content Placeholder 5">
                    <a:extLst>
                      <a:ext uri="{FF2B5EF4-FFF2-40B4-BE49-F238E27FC236}">
                        <a16:creationId xmlns:a16="http://schemas.microsoft.com/office/drawing/2014/main" id="{C28A3374-4AF6-4551-B5B0-213CE96E10C7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11986" y="51130"/>
                    <a:ext cx="1206296" cy="200331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+mj-lt"/>
                      <a:buNone/>
                      <a:tabLst>
                        <a:tab pos="4876815" algn="r"/>
                      </a:tabLst>
                    </a:pPr>
                    <a:r>
                      <a:rPr lang="en-US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Key Success Factors &amp; Challenges </a:t>
                    </a:r>
                  </a:p>
                </p:txBody>
              </p:sp>
              <p:sp>
                <p:nvSpPr>
                  <p:cNvPr id="61" name="Content Placeholder 5">
                    <a:extLst>
                      <a:ext uri="{FF2B5EF4-FFF2-40B4-BE49-F238E27FC236}">
                        <a16:creationId xmlns:a16="http://schemas.microsoft.com/office/drawing/2014/main" id="{C1163584-842E-48B6-A174-46871DFE8629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11169709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Appendices</a:t>
                    </a:r>
                  </a:p>
                </p:txBody>
              </p:sp>
              <p:sp>
                <p:nvSpPr>
                  <p:cNvPr id="62" name="Content Placeholder 5">
                    <a:extLst>
                      <a:ext uri="{FF2B5EF4-FFF2-40B4-BE49-F238E27FC236}">
                        <a16:creationId xmlns:a16="http://schemas.microsoft.com/office/drawing/2014/main" id="{35F6BD13-3997-4BBD-8E3D-97E77F04BF33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5947426" y="83518"/>
                    <a:ext cx="1023162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Proposed</a:t>
                    </a: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 Approach</a:t>
                    </a:r>
                  </a:p>
                </p:txBody>
              </p:sp>
              <p:sp>
                <p:nvSpPr>
                  <p:cNvPr id="63" name="Content Placeholder 5">
                    <a:extLst>
                      <a:ext uri="{FF2B5EF4-FFF2-40B4-BE49-F238E27FC236}">
                        <a16:creationId xmlns:a16="http://schemas.microsoft.com/office/drawing/2014/main" id="{490A5BFE-AE14-4B09-BA67-00891EB21015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7262461" y="75105"/>
                    <a:ext cx="1138227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Team &amp; </a:t>
                    </a: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Goverance</a:t>
                    </a:r>
                    <a:endParaRPr lang="fr-FR" sz="800" kern="0">
                      <a:solidFill>
                        <a:schemeClr val="bg2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" name="Content Placeholder 5">
                    <a:extLst>
                      <a:ext uri="{FF2B5EF4-FFF2-40B4-BE49-F238E27FC236}">
                        <a16:creationId xmlns:a16="http://schemas.microsoft.com/office/drawing/2014/main" id="{055D64F3-182F-40F3-A058-5FE2E474066E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4484077" y="75105"/>
                    <a:ext cx="1097554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Scope &amp; Assumptions</a:t>
                    </a:r>
                  </a:p>
                </p:txBody>
              </p:sp>
              <p:sp>
                <p:nvSpPr>
                  <p:cNvPr id="65" name="Content Placeholder 5">
                    <a:extLst>
                      <a:ext uri="{FF2B5EF4-FFF2-40B4-BE49-F238E27FC236}">
                        <a16:creationId xmlns:a16="http://schemas.microsoft.com/office/drawing/2014/main" id="{3238002E-46F0-43E3-BFDB-F189312A0309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8757114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Teams Profiles</a:t>
                    </a:r>
                  </a:p>
                </p:txBody>
              </p:sp>
              <p:sp>
                <p:nvSpPr>
                  <p:cNvPr id="66" name="Content Placeholder 5">
                    <a:extLst>
                      <a:ext uri="{FF2B5EF4-FFF2-40B4-BE49-F238E27FC236}">
                        <a16:creationId xmlns:a16="http://schemas.microsoft.com/office/drawing/2014/main" id="{C98C374B-0C1C-48BD-9477-2F591CCE56E6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9963409" y="75105"/>
                    <a:ext cx="866515" cy="176356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Key Credentials</a:t>
                    </a:r>
                  </a:p>
                </p:txBody>
              </p:sp>
            </p:grpSp>
          </p:grpSp>
          <p:sp>
            <p:nvSpPr>
              <p:cNvPr id="55" name="Content Placeholder 5">
                <a:extLst>
                  <a:ext uri="{FF2B5EF4-FFF2-40B4-BE49-F238E27FC236}">
                    <a16:creationId xmlns:a16="http://schemas.microsoft.com/office/drawing/2014/main" id="{9016ACD8-5E99-4E28-BF7A-6D7E3FCECF0D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1608265" y="75105"/>
                <a:ext cx="1097554" cy="135989"/>
              </a:xfrm>
              <a:prstGeom prst="rect">
                <a:avLst/>
              </a:prstGeom>
            </p:spPr>
            <p:txBody>
              <a:bodyPr anchor="ctr"/>
              <a:lstStyle>
                <a:lvl1pPr algn="l" defTabSz="995363" rtl="0" fontAlgn="base">
                  <a:lnSpc>
                    <a:spcPts val="2100"/>
                  </a:lnSpc>
                  <a:spcBef>
                    <a:spcPct val="0"/>
                  </a:spcBef>
                  <a:spcAft>
                    <a:spcPct val="40000"/>
                  </a:spcAft>
                  <a:defRPr sz="1400" b="0">
                    <a:solidFill>
                      <a:srgbClr val="646464"/>
                    </a:solidFill>
                    <a:latin typeface="+mj-lt"/>
                    <a:ea typeface="+mn-ea"/>
                    <a:cs typeface="+mn-cs"/>
                  </a:defRPr>
                </a:lvl1pPr>
                <a:lvl2pPr marL="1588" algn="l" defTabSz="995363" rtl="0"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lang="en-US" sz="1200" b="1" dirty="0" smtClean="0">
                    <a:solidFill>
                      <a:srgbClr val="646464"/>
                    </a:solidFill>
                    <a:latin typeface="+mn-lt"/>
                  </a:defRPr>
                </a:lvl2pPr>
                <a:lvl3pPr marL="3175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sz="1000">
                    <a:solidFill>
                      <a:srgbClr val="000000"/>
                    </a:solidFill>
                    <a:latin typeface="+mn-lt"/>
                  </a:defRPr>
                </a:lvl3pPr>
                <a:lvl4pPr marL="152400" indent="-147638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FFD200"/>
                  </a:buClr>
                  <a:buSzPct val="75000"/>
                  <a:buFont typeface="Arial" charset="0"/>
                  <a:buChar char="►"/>
                  <a:defRPr sz="1000">
                    <a:solidFill>
                      <a:srgbClr val="000000"/>
                    </a:solidFill>
                    <a:latin typeface="+mn-lt"/>
                  </a:defRPr>
                </a:lvl4pPr>
                <a:lvl5pPr marL="2968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5pPr>
                <a:lvl6pPr marL="7540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6pPr>
                <a:lvl7pPr marL="12112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7pPr>
                <a:lvl8pPr marL="16684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8pPr>
                <a:lvl9pPr marL="21256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lvl="2" indent="0" algn="ctr" defTabSz="8293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140000"/>
                  <a:buFont typeface="Arial" charset="0"/>
                  <a:buNone/>
                  <a:tabLst>
                    <a:tab pos="4876815" algn="r"/>
                  </a:tabLst>
                </a:pPr>
                <a:r>
                  <a:rPr lang="fr-FR" sz="800" kern="0">
                    <a:solidFill>
                      <a:schemeClr val="bg2"/>
                    </a:solidFill>
                    <a:latin typeface="EYInterstate Light" panose="02000506000000020004" pitchFamily="2" charset="0"/>
                    <a:ea typeface="+mn-ea"/>
                    <a:cs typeface="+mn-cs"/>
                  </a:rPr>
                  <a:t>Scope &amp; Assumptions</a:t>
                </a:r>
              </a:p>
            </p:txBody>
          </p:sp>
        </p:grp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BCAB3EA-33B0-41C4-9CDD-E53A15DF5BA0}"/>
                </a:ext>
              </a:extLst>
            </p:cNvPr>
            <p:cNvSpPr/>
            <p:nvPr userDrawn="1"/>
          </p:nvSpPr>
          <p:spPr>
            <a:xfrm>
              <a:off x="0" y="0"/>
              <a:ext cx="12192000" cy="350540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>
                <a:solidFill>
                  <a:schemeClr val="tx1"/>
                </a:solidFill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EAB730A-88B8-457B-BC7F-CFDAE8B24D00}"/>
                </a:ext>
              </a:extLst>
            </p:cNvPr>
            <p:cNvGrpSpPr/>
            <p:nvPr userDrawn="1"/>
          </p:nvGrpSpPr>
          <p:grpSpPr>
            <a:xfrm>
              <a:off x="81557" y="51129"/>
              <a:ext cx="167539" cy="200331"/>
              <a:chOff x="784680" y="68072"/>
              <a:chExt cx="167539" cy="200331"/>
            </a:xfrm>
          </p:grpSpPr>
          <p:sp>
            <p:nvSpPr>
              <p:cNvPr id="51" name="Freeform 6">
                <a:extLst>
                  <a:ext uri="{FF2B5EF4-FFF2-40B4-BE49-F238E27FC236}">
                    <a16:creationId xmlns:a16="http://schemas.microsoft.com/office/drawing/2014/main" id="{9DD00F7D-1E9B-4577-BC7A-58CB02BB2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680" y="68072"/>
                <a:ext cx="134278" cy="50020"/>
              </a:xfrm>
              <a:custGeom>
                <a:avLst/>
                <a:gdLst>
                  <a:gd name="T0" fmla="*/ 2723 w 2723"/>
                  <a:gd name="T1" fmla="*/ 0 h 994"/>
                  <a:gd name="T2" fmla="*/ 0 w 2723"/>
                  <a:gd name="T3" fmla="*/ 994 h 994"/>
                  <a:gd name="T4" fmla="*/ 2723 w 2723"/>
                  <a:gd name="T5" fmla="*/ 513 h 994"/>
                  <a:gd name="T6" fmla="*/ 2723 w 2723"/>
                  <a:gd name="T7" fmla="*/ 0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23" h="994">
                    <a:moveTo>
                      <a:pt x="2723" y="0"/>
                    </a:moveTo>
                    <a:lnTo>
                      <a:pt x="0" y="994"/>
                    </a:lnTo>
                    <a:lnTo>
                      <a:pt x="2723" y="513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rgbClr val="F7D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sp>
            <p:nvSpPr>
              <p:cNvPr id="52" name="Freeform 7">
                <a:extLst>
                  <a:ext uri="{FF2B5EF4-FFF2-40B4-BE49-F238E27FC236}">
                    <a16:creationId xmlns:a16="http://schemas.microsoft.com/office/drawing/2014/main" id="{B1FB0457-76AE-4FB0-965C-A44A561B7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680" y="138954"/>
                <a:ext cx="167539" cy="129449"/>
              </a:xfrm>
              <a:custGeom>
                <a:avLst/>
                <a:gdLst>
                  <a:gd name="T0" fmla="*/ 256 w 3400"/>
                  <a:gd name="T1" fmla="*/ 1749 h 2577"/>
                  <a:gd name="T2" fmla="*/ 278 w 3400"/>
                  <a:gd name="T3" fmla="*/ 1978 h 2577"/>
                  <a:gd name="T4" fmla="*/ 166 w 3400"/>
                  <a:gd name="T5" fmla="*/ 1993 h 2577"/>
                  <a:gd name="T6" fmla="*/ 386 w 3400"/>
                  <a:gd name="T7" fmla="*/ 1940 h 2577"/>
                  <a:gd name="T8" fmla="*/ 458 w 3400"/>
                  <a:gd name="T9" fmla="*/ 2046 h 2577"/>
                  <a:gd name="T10" fmla="*/ 1255 w 3400"/>
                  <a:gd name="T11" fmla="*/ 1820 h 2577"/>
                  <a:gd name="T12" fmla="*/ 1339 w 3400"/>
                  <a:gd name="T13" fmla="*/ 1914 h 2577"/>
                  <a:gd name="T14" fmla="*/ 767 w 3400"/>
                  <a:gd name="T15" fmla="*/ 1703 h 2577"/>
                  <a:gd name="T16" fmla="*/ 813 w 3400"/>
                  <a:gd name="T17" fmla="*/ 1884 h 2577"/>
                  <a:gd name="T18" fmla="*/ 947 w 3400"/>
                  <a:gd name="T19" fmla="*/ 2042 h 2577"/>
                  <a:gd name="T20" fmla="*/ 916 w 3400"/>
                  <a:gd name="T21" fmla="*/ 1855 h 2577"/>
                  <a:gd name="T22" fmla="*/ 2225 w 3400"/>
                  <a:gd name="T23" fmla="*/ 2049 h 2577"/>
                  <a:gd name="T24" fmla="*/ 2376 w 3400"/>
                  <a:gd name="T25" fmla="*/ 1924 h 2577"/>
                  <a:gd name="T26" fmla="*/ 2312 w 3400"/>
                  <a:gd name="T27" fmla="*/ 1906 h 2577"/>
                  <a:gd name="T28" fmla="*/ 2267 w 3400"/>
                  <a:gd name="T29" fmla="*/ 1855 h 2577"/>
                  <a:gd name="T30" fmla="*/ 1441 w 3400"/>
                  <a:gd name="T31" fmla="*/ 1911 h 2577"/>
                  <a:gd name="T32" fmla="*/ 1591 w 3400"/>
                  <a:gd name="T33" fmla="*/ 2031 h 2577"/>
                  <a:gd name="T34" fmla="*/ 1622 w 3400"/>
                  <a:gd name="T35" fmla="*/ 2119 h 2577"/>
                  <a:gd name="T36" fmla="*/ 1507 w 3400"/>
                  <a:gd name="T37" fmla="*/ 1962 h 2577"/>
                  <a:gd name="T38" fmla="*/ 1902 w 3400"/>
                  <a:gd name="T39" fmla="*/ 1848 h 2577"/>
                  <a:gd name="T40" fmla="*/ 1797 w 3400"/>
                  <a:gd name="T41" fmla="*/ 1958 h 2577"/>
                  <a:gd name="T42" fmla="*/ 2006 w 3400"/>
                  <a:gd name="T43" fmla="*/ 1884 h 2577"/>
                  <a:gd name="T44" fmla="*/ 1857 w 3400"/>
                  <a:gd name="T45" fmla="*/ 1968 h 2577"/>
                  <a:gd name="T46" fmla="*/ 1881 w 3400"/>
                  <a:gd name="T47" fmla="*/ 2002 h 2577"/>
                  <a:gd name="T48" fmla="*/ 2467 w 3400"/>
                  <a:gd name="T49" fmla="*/ 1946 h 2577"/>
                  <a:gd name="T50" fmla="*/ 2452 w 3400"/>
                  <a:gd name="T51" fmla="*/ 1821 h 2577"/>
                  <a:gd name="T52" fmla="*/ 2521 w 3400"/>
                  <a:gd name="T53" fmla="*/ 2055 h 2577"/>
                  <a:gd name="T54" fmla="*/ 2555 w 3400"/>
                  <a:gd name="T55" fmla="*/ 1883 h 2577"/>
                  <a:gd name="T56" fmla="*/ 3202 w 3400"/>
                  <a:gd name="T57" fmla="*/ 1928 h 2577"/>
                  <a:gd name="T58" fmla="*/ 3006 w 3400"/>
                  <a:gd name="T59" fmla="*/ 1854 h 2577"/>
                  <a:gd name="T60" fmla="*/ 3140 w 3400"/>
                  <a:gd name="T61" fmla="*/ 2049 h 2577"/>
                  <a:gd name="T62" fmla="*/ 2905 w 3400"/>
                  <a:gd name="T63" fmla="*/ 1964 h 2577"/>
                  <a:gd name="T64" fmla="*/ 2868 w 3400"/>
                  <a:gd name="T65" fmla="*/ 2041 h 2577"/>
                  <a:gd name="T66" fmla="*/ 2713 w 3400"/>
                  <a:gd name="T67" fmla="*/ 2051 h 2577"/>
                  <a:gd name="T68" fmla="*/ 2747 w 3400"/>
                  <a:gd name="T69" fmla="*/ 1996 h 2577"/>
                  <a:gd name="T70" fmla="*/ 3300 w 3400"/>
                  <a:gd name="T71" fmla="*/ 1805 h 2577"/>
                  <a:gd name="T72" fmla="*/ 1073 w 3400"/>
                  <a:gd name="T73" fmla="*/ 2049 h 2577"/>
                  <a:gd name="T74" fmla="*/ 2660 w 3400"/>
                  <a:gd name="T75" fmla="*/ 2279 h 2577"/>
                  <a:gd name="T76" fmla="*/ 2763 w 3400"/>
                  <a:gd name="T77" fmla="*/ 2480 h 2577"/>
                  <a:gd name="T78" fmla="*/ 2737 w 3400"/>
                  <a:gd name="T79" fmla="*/ 2285 h 2577"/>
                  <a:gd name="T80" fmla="*/ 690 w 3400"/>
                  <a:gd name="T81" fmla="*/ 2289 h 2577"/>
                  <a:gd name="T82" fmla="*/ 740 w 3400"/>
                  <a:gd name="T83" fmla="*/ 2301 h 2577"/>
                  <a:gd name="T84" fmla="*/ 222 w 3400"/>
                  <a:gd name="T85" fmla="*/ 2352 h 2577"/>
                  <a:gd name="T86" fmla="*/ 341 w 3400"/>
                  <a:gd name="T87" fmla="*/ 2395 h 2577"/>
                  <a:gd name="T88" fmla="*/ 554 w 3400"/>
                  <a:gd name="T89" fmla="*/ 2395 h 2577"/>
                  <a:gd name="T90" fmla="*/ 412 w 3400"/>
                  <a:gd name="T91" fmla="*/ 2407 h 2577"/>
                  <a:gd name="T92" fmla="*/ 484 w 3400"/>
                  <a:gd name="T93" fmla="*/ 2407 h 2577"/>
                  <a:gd name="T94" fmla="*/ 2419 w 3400"/>
                  <a:gd name="T95" fmla="*/ 2248 h 2577"/>
                  <a:gd name="T96" fmla="*/ 1758 w 3400"/>
                  <a:gd name="T97" fmla="*/ 2233 h 2577"/>
                  <a:gd name="T98" fmla="*/ 2133 w 3400"/>
                  <a:gd name="T99" fmla="*/ 2255 h 2577"/>
                  <a:gd name="T100" fmla="*/ 2204 w 3400"/>
                  <a:gd name="T101" fmla="*/ 2483 h 2577"/>
                  <a:gd name="T102" fmla="*/ 2269 w 3400"/>
                  <a:gd name="T103" fmla="*/ 2249 h 2577"/>
                  <a:gd name="T104" fmla="*/ 2204 w 3400"/>
                  <a:gd name="T105" fmla="*/ 2284 h 2577"/>
                  <a:gd name="T106" fmla="*/ 845 w 3400"/>
                  <a:gd name="T107" fmla="*/ 2131 h 2577"/>
                  <a:gd name="T108" fmla="*/ 1323 w 3400"/>
                  <a:gd name="T109" fmla="*/ 2244 h 2577"/>
                  <a:gd name="T110" fmla="*/ 1220 w 3400"/>
                  <a:gd name="T111" fmla="*/ 2299 h 2577"/>
                  <a:gd name="T112" fmla="*/ 1410 w 3400"/>
                  <a:gd name="T113" fmla="*/ 2289 h 2577"/>
                  <a:gd name="T114" fmla="*/ 1525 w 3400"/>
                  <a:gd name="T115" fmla="*/ 2477 h 2577"/>
                  <a:gd name="T116" fmla="*/ 1544 w 3400"/>
                  <a:gd name="T117" fmla="*/ 2570 h 2577"/>
                  <a:gd name="T118" fmla="*/ 1491 w 3400"/>
                  <a:gd name="T119" fmla="*/ 2424 h 2577"/>
                  <a:gd name="T120" fmla="*/ 1094 w 3400"/>
                  <a:gd name="T121" fmla="*/ 2341 h 2577"/>
                  <a:gd name="T122" fmla="*/ 437 w 3400"/>
                  <a:gd name="T123" fmla="*/ 1061 h 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00" h="2577">
                    <a:moveTo>
                      <a:pt x="283" y="1942"/>
                    </a:moveTo>
                    <a:lnTo>
                      <a:pt x="283" y="1942"/>
                    </a:lnTo>
                    <a:lnTo>
                      <a:pt x="283" y="1934"/>
                    </a:lnTo>
                    <a:lnTo>
                      <a:pt x="282" y="1927"/>
                    </a:lnTo>
                    <a:lnTo>
                      <a:pt x="278" y="1912"/>
                    </a:lnTo>
                    <a:lnTo>
                      <a:pt x="272" y="1900"/>
                    </a:lnTo>
                    <a:lnTo>
                      <a:pt x="265" y="1890"/>
                    </a:lnTo>
                    <a:lnTo>
                      <a:pt x="256" y="1883"/>
                    </a:lnTo>
                    <a:lnTo>
                      <a:pt x="248" y="1877"/>
                    </a:lnTo>
                    <a:lnTo>
                      <a:pt x="241" y="1872"/>
                    </a:lnTo>
                    <a:lnTo>
                      <a:pt x="233" y="1868"/>
                    </a:lnTo>
                    <a:lnTo>
                      <a:pt x="233" y="1868"/>
                    </a:lnTo>
                    <a:lnTo>
                      <a:pt x="242" y="1862"/>
                    </a:lnTo>
                    <a:lnTo>
                      <a:pt x="249" y="1856"/>
                    </a:lnTo>
                    <a:lnTo>
                      <a:pt x="255" y="1849"/>
                    </a:lnTo>
                    <a:lnTo>
                      <a:pt x="261" y="1840"/>
                    </a:lnTo>
                    <a:lnTo>
                      <a:pt x="266" y="1832"/>
                    </a:lnTo>
                    <a:lnTo>
                      <a:pt x="269" y="1822"/>
                    </a:lnTo>
                    <a:lnTo>
                      <a:pt x="271" y="1812"/>
                    </a:lnTo>
                    <a:lnTo>
                      <a:pt x="271" y="1801"/>
                    </a:lnTo>
                    <a:lnTo>
                      <a:pt x="271" y="1801"/>
                    </a:lnTo>
                    <a:lnTo>
                      <a:pt x="271" y="1792"/>
                    </a:lnTo>
                    <a:lnTo>
                      <a:pt x="270" y="1782"/>
                    </a:lnTo>
                    <a:lnTo>
                      <a:pt x="267" y="1773"/>
                    </a:lnTo>
                    <a:lnTo>
                      <a:pt x="265" y="1765"/>
                    </a:lnTo>
                    <a:lnTo>
                      <a:pt x="261" y="1756"/>
                    </a:lnTo>
                    <a:lnTo>
                      <a:pt x="256" y="1749"/>
                    </a:lnTo>
                    <a:lnTo>
                      <a:pt x="250" y="1743"/>
                    </a:lnTo>
                    <a:lnTo>
                      <a:pt x="244" y="1737"/>
                    </a:lnTo>
                    <a:lnTo>
                      <a:pt x="237" y="1732"/>
                    </a:lnTo>
                    <a:lnTo>
                      <a:pt x="230" y="1727"/>
                    </a:lnTo>
                    <a:lnTo>
                      <a:pt x="221" y="1724"/>
                    </a:lnTo>
                    <a:lnTo>
                      <a:pt x="211" y="1720"/>
                    </a:lnTo>
                    <a:lnTo>
                      <a:pt x="202" y="1718"/>
                    </a:lnTo>
                    <a:lnTo>
                      <a:pt x="191" y="1715"/>
                    </a:lnTo>
                    <a:lnTo>
                      <a:pt x="180" y="1715"/>
                    </a:lnTo>
                    <a:lnTo>
                      <a:pt x="168" y="1714"/>
                    </a:lnTo>
                    <a:lnTo>
                      <a:pt x="24" y="1714"/>
                    </a:lnTo>
                    <a:lnTo>
                      <a:pt x="24" y="2049"/>
                    </a:lnTo>
                    <a:lnTo>
                      <a:pt x="166" y="2049"/>
                    </a:lnTo>
                    <a:lnTo>
                      <a:pt x="166" y="2049"/>
                    </a:lnTo>
                    <a:lnTo>
                      <a:pt x="180" y="2049"/>
                    </a:lnTo>
                    <a:lnTo>
                      <a:pt x="192" y="2048"/>
                    </a:lnTo>
                    <a:lnTo>
                      <a:pt x="204" y="2046"/>
                    </a:lnTo>
                    <a:lnTo>
                      <a:pt x="215" y="2042"/>
                    </a:lnTo>
                    <a:lnTo>
                      <a:pt x="226" y="2038"/>
                    </a:lnTo>
                    <a:lnTo>
                      <a:pt x="236" y="2034"/>
                    </a:lnTo>
                    <a:lnTo>
                      <a:pt x="244" y="2028"/>
                    </a:lnTo>
                    <a:lnTo>
                      <a:pt x="252" y="2021"/>
                    </a:lnTo>
                    <a:lnTo>
                      <a:pt x="259" y="2014"/>
                    </a:lnTo>
                    <a:lnTo>
                      <a:pt x="265" y="2006"/>
                    </a:lnTo>
                    <a:lnTo>
                      <a:pt x="271" y="1997"/>
                    </a:lnTo>
                    <a:lnTo>
                      <a:pt x="275" y="1987"/>
                    </a:lnTo>
                    <a:lnTo>
                      <a:pt x="278" y="1978"/>
                    </a:lnTo>
                    <a:lnTo>
                      <a:pt x="281" y="1967"/>
                    </a:lnTo>
                    <a:lnTo>
                      <a:pt x="282" y="1955"/>
                    </a:lnTo>
                    <a:lnTo>
                      <a:pt x="283" y="1942"/>
                    </a:lnTo>
                    <a:lnTo>
                      <a:pt x="283" y="1942"/>
                    </a:lnTo>
                    <a:close/>
                    <a:moveTo>
                      <a:pt x="166" y="1993"/>
                    </a:moveTo>
                    <a:lnTo>
                      <a:pt x="86" y="1993"/>
                    </a:lnTo>
                    <a:lnTo>
                      <a:pt x="86" y="1897"/>
                    </a:lnTo>
                    <a:lnTo>
                      <a:pt x="166" y="1897"/>
                    </a:lnTo>
                    <a:lnTo>
                      <a:pt x="166" y="1897"/>
                    </a:lnTo>
                    <a:lnTo>
                      <a:pt x="179" y="1899"/>
                    </a:lnTo>
                    <a:lnTo>
                      <a:pt x="188" y="1900"/>
                    </a:lnTo>
                    <a:lnTo>
                      <a:pt x="197" y="1904"/>
                    </a:lnTo>
                    <a:lnTo>
                      <a:pt x="204" y="1910"/>
                    </a:lnTo>
                    <a:lnTo>
                      <a:pt x="210" y="1916"/>
                    </a:lnTo>
                    <a:lnTo>
                      <a:pt x="214" y="1924"/>
                    </a:lnTo>
                    <a:lnTo>
                      <a:pt x="216" y="1934"/>
                    </a:lnTo>
                    <a:lnTo>
                      <a:pt x="218" y="1945"/>
                    </a:lnTo>
                    <a:lnTo>
                      <a:pt x="218" y="1945"/>
                    </a:lnTo>
                    <a:lnTo>
                      <a:pt x="216" y="1956"/>
                    </a:lnTo>
                    <a:lnTo>
                      <a:pt x="214" y="1966"/>
                    </a:lnTo>
                    <a:lnTo>
                      <a:pt x="209" y="1974"/>
                    </a:lnTo>
                    <a:lnTo>
                      <a:pt x="204" y="1980"/>
                    </a:lnTo>
                    <a:lnTo>
                      <a:pt x="197" y="1986"/>
                    </a:lnTo>
                    <a:lnTo>
                      <a:pt x="188" y="1990"/>
                    </a:lnTo>
                    <a:lnTo>
                      <a:pt x="177" y="1992"/>
                    </a:lnTo>
                    <a:lnTo>
                      <a:pt x="166" y="1993"/>
                    </a:lnTo>
                    <a:lnTo>
                      <a:pt x="166" y="1993"/>
                    </a:lnTo>
                    <a:close/>
                    <a:moveTo>
                      <a:pt x="165" y="1843"/>
                    </a:moveTo>
                    <a:lnTo>
                      <a:pt x="86" y="1843"/>
                    </a:lnTo>
                    <a:lnTo>
                      <a:pt x="86" y="1771"/>
                    </a:lnTo>
                    <a:lnTo>
                      <a:pt x="163" y="1771"/>
                    </a:lnTo>
                    <a:lnTo>
                      <a:pt x="163" y="1771"/>
                    </a:lnTo>
                    <a:lnTo>
                      <a:pt x="173" y="1772"/>
                    </a:lnTo>
                    <a:lnTo>
                      <a:pt x="182" y="1773"/>
                    </a:lnTo>
                    <a:lnTo>
                      <a:pt x="190" y="1776"/>
                    </a:lnTo>
                    <a:lnTo>
                      <a:pt x="196" y="1780"/>
                    </a:lnTo>
                    <a:lnTo>
                      <a:pt x="201" y="1786"/>
                    </a:lnTo>
                    <a:lnTo>
                      <a:pt x="204" y="1792"/>
                    </a:lnTo>
                    <a:lnTo>
                      <a:pt x="205" y="1799"/>
                    </a:lnTo>
                    <a:lnTo>
                      <a:pt x="207" y="1807"/>
                    </a:lnTo>
                    <a:lnTo>
                      <a:pt x="207" y="1807"/>
                    </a:lnTo>
                    <a:lnTo>
                      <a:pt x="207" y="1814"/>
                    </a:lnTo>
                    <a:lnTo>
                      <a:pt x="205" y="1820"/>
                    </a:lnTo>
                    <a:lnTo>
                      <a:pt x="203" y="1826"/>
                    </a:lnTo>
                    <a:lnTo>
                      <a:pt x="199" y="1831"/>
                    </a:lnTo>
                    <a:lnTo>
                      <a:pt x="193" y="1835"/>
                    </a:lnTo>
                    <a:lnTo>
                      <a:pt x="186" y="1839"/>
                    </a:lnTo>
                    <a:lnTo>
                      <a:pt x="177" y="1842"/>
                    </a:lnTo>
                    <a:lnTo>
                      <a:pt x="165" y="1843"/>
                    </a:lnTo>
                    <a:lnTo>
                      <a:pt x="165" y="1843"/>
                    </a:lnTo>
                    <a:close/>
                    <a:moveTo>
                      <a:pt x="326" y="1944"/>
                    </a:moveTo>
                    <a:lnTo>
                      <a:pt x="326" y="1805"/>
                    </a:lnTo>
                    <a:lnTo>
                      <a:pt x="386" y="1805"/>
                    </a:lnTo>
                    <a:lnTo>
                      <a:pt x="386" y="1940"/>
                    </a:lnTo>
                    <a:lnTo>
                      <a:pt x="386" y="1940"/>
                    </a:lnTo>
                    <a:lnTo>
                      <a:pt x="386" y="1953"/>
                    </a:lnTo>
                    <a:lnTo>
                      <a:pt x="389" y="1967"/>
                    </a:lnTo>
                    <a:lnTo>
                      <a:pt x="392" y="1976"/>
                    </a:lnTo>
                    <a:lnTo>
                      <a:pt x="397" y="1985"/>
                    </a:lnTo>
                    <a:lnTo>
                      <a:pt x="403" y="1991"/>
                    </a:lnTo>
                    <a:lnTo>
                      <a:pt x="411" y="1996"/>
                    </a:lnTo>
                    <a:lnTo>
                      <a:pt x="420" y="1998"/>
                    </a:lnTo>
                    <a:lnTo>
                      <a:pt x="431" y="2000"/>
                    </a:lnTo>
                    <a:lnTo>
                      <a:pt x="431" y="2000"/>
                    </a:lnTo>
                    <a:lnTo>
                      <a:pt x="442" y="1998"/>
                    </a:lnTo>
                    <a:lnTo>
                      <a:pt x="451" y="1996"/>
                    </a:lnTo>
                    <a:lnTo>
                      <a:pt x="459" y="1991"/>
                    </a:lnTo>
                    <a:lnTo>
                      <a:pt x="465" y="1985"/>
                    </a:lnTo>
                    <a:lnTo>
                      <a:pt x="470" y="1976"/>
                    </a:lnTo>
                    <a:lnTo>
                      <a:pt x="474" y="1966"/>
                    </a:lnTo>
                    <a:lnTo>
                      <a:pt x="476" y="1953"/>
                    </a:lnTo>
                    <a:lnTo>
                      <a:pt x="476" y="1940"/>
                    </a:lnTo>
                    <a:lnTo>
                      <a:pt x="476" y="1805"/>
                    </a:lnTo>
                    <a:lnTo>
                      <a:pt x="537" y="1805"/>
                    </a:lnTo>
                    <a:lnTo>
                      <a:pt x="537" y="2049"/>
                    </a:lnTo>
                    <a:lnTo>
                      <a:pt x="476" y="2049"/>
                    </a:lnTo>
                    <a:lnTo>
                      <a:pt x="476" y="2030"/>
                    </a:lnTo>
                    <a:lnTo>
                      <a:pt x="476" y="2030"/>
                    </a:lnTo>
                    <a:lnTo>
                      <a:pt x="471" y="2036"/>
                    </a:lnTo>
                    <a:lnTo>
                      <a:pt x="464" y="2041"/>
                    </a:lnTo>
                    <a:lnTo>
                      <a:pt x="458" y="2046"/>
                    </a:lnTo>
                    <a:lnTo>
                      <a:pt x="451" y="2048"/>
                    </a:lnTo>
                    <a:lnTo>
                      <a:pt x="444" y="2052"/>
                    </a:lnTo>
                    <a:lnTo>
                      <a:pt x="435" y="2053"/>
                    </a:lnTo>
                    <a:lnTo>
                      <a:pt x="427" y="2054"/>
                    </a:lnTo>
                    <a:lnTo>
                      <a:pt x="418" y="2055"/>
                    </a:lnTo>
                    <a:lnTo>
                      <a:pt x="418" y="2055"/>
                    </a:lnTo>
                    <a:lnTo>
                      <a:pt x="403" y="2054"/>
                    </a:lnTo>
                    <a:lnTo>
                      <a:pt x="391" y="2052"/>
                    </a:lnTo>
                    <a:lnTo>
                      <a:pt x="380" y="2048"/>
                    </a:lnTo>
                    <a:lnTo>
                      <a:pt x="369" y="2043"/>
                    </a:lnTo>
                    <a:lnTo>
                      <a:pt x="361" y="2037"/>
                    </a:lnTo>
                    <a:lnTo>
                      <a:pt x="354" y="2031"/>
                    </a:lnTo>
                    <a:lnTo>
                      <a:pt x="348" y="2023"/>
                    </a:lnTo>
                    <a:lnTo>
                      <a:pt x="341" y="2014"/>
                    </a:lnTo>
                    <a:lnTo>
                      <a:pt x="338" y="2006"/>
                    </a:lnTo>
                    <a:lnTo>
                      <a:pt x="334" y="1997"/>
                    </a:lnTo>
                    <a:lnTo>
                      <a:pt x="329" y="1978"/>
                    </a:lnTo>
                    <a:lnTo>
                      <a:pt x="327" y="1959"/>
                    </a:lnTo>
                    <a:lnTo>
                      <a:pt x="326" y="1944"/>
                    </a:lnTo>
                    <a:lnTo>
                      <a:pt x="326" y="1944"/>
                    </a:lnTo>
                    <a:close/>
                    <a:moveTo>
                      <a:pt x="1249" y="2049"/>
                    </a:moveTo>
                    <a:lnTo>
                      <a:pt x="1188" y="2049"/>
                    </a:lnTo>
                    <a:lnTo>
                      <a:pt x="1188" y="1805"/>
                    </a:lnTo>
                    <a:lnTo>
                      <a:pt x="1249" y="1805"/>
                    </a:lnTo>
                    <a:lnTo>
                      <a:pt x="1249" y="1826"/>
                    </a:lnTo>
                    <a:lnTo>
                      <a:pt x="1249" y="1826"/>
                    </a:lnTo>
                    <a:lnTo>
                      <a:pt x="1255" y="1820"/>
                    </a:lnTo>
                    <a:lnTo>
                      <a:pt x="1261" y="1814"/>
                    </a:lnTo>
                    <a:lnTo>
                      <a:pt x="1269" y="1810"/>
                    </a:lnTo>
                    <a:lnTo>
                      <a:pt x="1276" y="1806"/>
                    </a:lnTo>
                    <a:lnTo>
                      <a:pt x="1284" y="1803"/>
                    </a:lnTo>
                    <a:lnTo>
                      <a:pt x="1292" y="1801"/>
                    </a:lnTo>
                    <a:lnTo>
                      <a:pt x="1301" y="1800"/>
                    </a:lnTo>
                    <a:lnTo>
                      <a:pt x="1310" y="1799"/>
                    </a:lnTo>
                    <a:lnTo>
                      <a:pt x="1310" y="1799"/>
                    </a:lnTo>
                    <a:lnTo>
                      <a:pt x="1321" y="1800"/>
                    </a:lnTo>
                    <a:lnTo>
                      <a:pt x="1331" y="1801"/>
                    </a:lnTo>
                    <a:lnTo>
                      <a:pt x="1340" y="1804"/>
                    </a:lnTo>
                    <a:lnTo>
                      <a:pt x="1349" y="1806"/>
                    </a:lnTo>
                    <a:lnTo>
                      <a:pt x="1357" y="1810"/>
                    </a:lnTo>
                    <a:lnTo>
                      <a:pt x="1365" y="1816"/>
                    </a:lnTo>
                    <a:lnTo>
                      <a:pt x="1371" y="1821"/>
                    </a:lnTo>
                    <a:lnTo>
                      <a:pt x="1377" y="1828"/>
                    </a:lnTo>
                    <a:lnTo>
                      <a:pt x="1383" y="1835"/>
                    </a:lnTo>
                    <a:lnTo>
                      <a:pt x="1386" y="1844"/>
                    </a:lnTo>
                    <a:lnTo>
                      <a:pt x="1391" y="1852"/>
                    </a:lnTo>
                    <a:lnTo>
                      <a:pt x="1394" y="1862"/>
                    </a:lnTo>
                    <a:lnTo>
                      <a:pt x="1396" y="1873"/>
                    </a:lnTo>
                    <a:lnTo>
                      <a:pt x="1399" y="1885"/>
                    </a:lnTo>
                    <a:lnTo>
                      <a:pt x="1400" y="1897"/>
                    </a:lnTo>
                    <a:lnTo>
                      <a:pt x="1400" y="1911"/>
                    </a:lnTo>
                    <a:lnTo>
                      <a:pt x="1400" y="2049"/>
                    </a:lnTo>
                    <a:lnTo>
                      <a:pt x="1339" y="2049"/>
                    </a:lnTo>
                    <a:lnTo>
                      <a:pt x="1339" y="1914"/>
                    </a:lnTo>
                    <a:lnTo>
                      <a:pt x="1339" y="1914"/>
                    </a:lnTo>
                    <a:lnTo>
                      <a:pt x="1339" y="1900"/>
                    </a:lnTo>
                    <a:lnTo>
                      <a:pt x="1337" y="1888"/>
                    </a:lnTo>
                    <a:lnTo>
                      <a:pt x="1333" y="1878"/>
                    </a:lnTo>
                    <a:lnTo>
                      <a:pt x="1328" y="1869"/>
                    </a:lnTo>
                    <a:lnTo>
                      <a:pt x="1322" y="1863"/>
                    </a:lnTo>
                    <a:lnTo>
                      <a:pt x="1315" y="1859"/>
                    </a:lnTo>
                    <a:lnTo>
                      <a:pt x="1306" y="1856"/>
                    </a:lnTo>
                    <a:lnTo>
                      <a:pt x="1295" y="1855"/>
                    </a:lnTo>
                    <a:lnTo>
                      <a:pt x="1295" y="1855"/>
                    </a:lnTo>
                    <a:lnTo>
                      <a:pt x="1284" y="1856"/>
                    </a:lnTo>
                    <a:lnTo>
                      <a:pt x="1275" y="1859"/>
                    </a:lnTo>
                    <a:lnTo>
                      <a:pt x="1267" y="1863"/>
                    </a:lnTo>
                    <a:lnTo>
                      <a:pt x="1261" y="1869"/>
                    </a:lnTo>
                    <a:lnTo>
                      <a:pt x="1255" y="1878"/>
                    </a:lnTo>
                    <a:lnTo>
                      <a:pt x="1252" y="1889"/>
                    </a:lnTo>
                    <a:lnTo>
                      <a:pt x="1249" y="1901"/>
                    </a:lnTo>
                    <a:lnTo>
                      <a:pt x="1249" y="1914"/>
                    </a:lnTo>
                    <a:lnTo>
                      <a:pt x="1249" y="2049"/>
                    </a:lnTo>
                    <a:close/>
                    <a:moveTo>
                      <a:pt x="653" y="1927"/>
                    </a:moveTo>
                    <a:lnTo>
                      <a:pt x="653" y="2049"/>
                    </a:lnTo>
                    <a:lnTo>
                      <a:pt x="592" y="2049"/>
                    </a:lnTo>
                    <a:lnTo>
                      <a:pt x="592" y="1805"/>
                    </a:lnTo>
                    <a:lnTo>
                      <a:pt x="653" y="1805"/>
                    </a:lnTo>
                    <a:lnTo>
                      <a:pt x="653" y="1927"/>
                    </a:lnTo>
                    <a:close/>
                    <a:moveTo>
                      <a:pt x="706" y="1733"/>
                    </a:moveTo>
                    <a:lnTo>
                      <a:pt x="767" y="1703"/>
                    </a:lnTo>
                    <a:lnTo>
                      <a:pt x="767" y="1924"/>
                    </a:lnTo>
                    <a:lnTo>
                      <a:pt x="767" y="2049"/>
                    </a:lnTo>
                    <a:lnTo>
                      <a:pt x="706" y="2049"/>
                    </a:lnTo>
                    <a:lnTo>
                      <a:pt x="706" y="1733"/>
                    </a:lnTo>
                    <a:close/>
                    <a:moveTo>
                      <a:pt x="959" y="1822"/>
                    </a:moveTo>
                    <a:lnTo>
                      <a:pt x="959" y="1822"/>
                    </a:lnTo>
                    <a:lnTo>
                      <a:pt x="954" y="1816"/>
                    </a:lnTo>
                    <a:lnTo>
                      <a:pt x="948" y="1812"/>
                    </a:lnTo>
                    <a:lnTo>
                      <a:pt x="941" y="1807"/>
                    </a:lnTo>
                    <a:lnTo>
                      <a:pt x="934" y="1805"/>
                    </a:lnTo>
                    <a:lnTo>
                      <a:pt x="927" y="1803"/>
                    </a:lnTo>
                    <a:lnTo>
                      <a:pt x="920" y="1800"/>
                    </a:lnTo>
                    <a:lnTo>
                      <a:pt x="905" y="1799"/>
                    </a:lnTo>
                    <a:lnTo>
                      <a:pt x="905" y="1799"/>
                    </a:lnTo>
                    <a:lnTo>
                      <a:pt x="894" y="1800"/>
                    </a:lnTo>
                    <a:lnTo>
                      <a:pt x="883" y="1801"/>
                    </a:lnTo>
                    <a:lnTo>
                      <a:pt x="874" y="1804"/>
                    </a:lnTo>
                    <a:lnTo>
                      <a:pt x="865" y="1807"/>
                    </a:lnTo>
                    <a:lnTo>
                      <a:pt x="857" y="1812"/>
                    </a:lnTo>
                    <a:lnTo>
                      <a:pt x="848" y="1818"/>
                    </a:lnTo>
                    <a:lnTo>
                      <a:pt x="841" y="1826"/>
                    </a:lnTo>
                    <a:lnTo>
                      <a:pt x="835" y="1833"/>
                    </a:lnTo>
                    <a:lnTo>
                      <a:pt x="829" y="1842"/>
                    </a:lnTo>
                    <a:lnTo>
                      <a:pt x="824" y="1851"/>
                    </a:lnTo>
                    <a:lnTo>
                      <a:pt x="819" y="1861"/>
                    </a:lnTo>
                    <a:lnTo>
                      <a:pt x="815" y="1872"/>
                    </a:lnTo>
                    <a:lnTo>
                      <a:pt x="813" y="1884"/>
                    </a:lnTo>
                    <a:lnTo>
                      <a:pt x="811" y="1897"/>
                    </a:lnTo>
                    <a:lnTo>
                      <a:pt x="809" y="1911"/>
                    </a:lnTo>
                    <a:lnTo>
                      <a:pt x="809" y="1924"/>
                    </a:lnTo>
                    <a:lnTo>
                      <a:pt x="809" y="1924"/>
                    </a:lnTo>
                    <a:lnTo>
                      <a:pt x="809" y="1940"/>
                    </a:lnTo>
                    <a:lnTo>
                      <a:pt x="811" y="1953"/>
                    </a:lnTo>
                    <a:lnTo>
                      <a:pt x="813" y="1967"/>
                    </a:lnTo>
                    <a:lnTo>
                      <a:pt x="815" y="1979"/>
                    </a:lnTo>
                    <a:lnTo>
                      <a:pt x="819" y="1991"/>
                    </a:lnTo>
                    <a:lnTo>
                      <a:pt x="823" y="2002"/>
                    </a:lnTo>
                    <a:lnTo>
                      <a:pt x="828" y="2012"/>
                    </a:lnTo>
                    <a:lnTo>
                      <a:pt x="834" y="2020"/>
                    </a:lnTo>
                    <a:lnTo>
                      <a:pt x="841" y="2029"/>
                    </a:lnTo>
                    <a:lnTo>
                      <a:pt x="847" y="2035"/>
                    </a:lnTo>
                    <a:lnTo>
                      <a:pt x="855" y="2041"/>
                    </a:lnTo>
                    <a:lnTo>
                      <a:pt x="864" y="2046"/>
                    </a:lnTo>
                    <a:lnTo>
                      <a:pt x="872" y="2049"/>
                    </a:lnTo>
                    <a:lnTo>
                      <a:pt x="882" y="2053"/>
                    </a:lnTo>
                    <a:lnTo>
                      <a:pt x="893" y="2054"/>
                    </a:lnTo>
                    <a:lnTo>
                      <a:pt x="904" y="2055"/>
                    </a:lnTo>
                    <a:lnTo>
                      <a:pt x="904" y="2055"/>
                    </a:lnTo>
                    <a:lnTo>
                      <a:pt x="911" y="2054"/>
                    </a:lnTo>
                    <a:lnTo>
                      <a:pt x="919" y="2053"/>
                    </a:lnTo>
                    <a:lnTo>
                      <a:pt x="926" y="2052"/>
                    </a:lnTo>
                    <a:lnTo>
                      <a:pt x="933" y="2049"/>
                    </a:lnTo>
                    <a:lnTo>
                      <a:pt x="939" y="2046"/>
                    </a:lnTo>
                    <a:lnTo>
                      <a:pt x="947" y="2042"/>
                    </a:lnTo>
                    <a:lnTo>
                      <a:pt x="953" y="2037"/>
                    </a:lnTo>
                    <a:lnTo>
                      <a:pt x="959" y="2031"/>
                    </a:lnTo>
                    <a:lnTo>
                      <a:pt x="959" y="2049"/>
                    </a:lnTo>
                    <a:lnTo>
                      <a:pt x="1020" y="2049"/>
                    </a:lnTo>
                    <a:lnTo>
                      <a:pt x="1020" y="1703"/>
                    </a:lnTo>
                    <a:lnTo>
                      <a:pt x="959" y="1733"/>
                    </a:lnTo>
                    <a:lnTo>
                      <a:pt x="959" y="1822"/>
                    </a:lnTo>
                    <a:close/>
                    <a:moveTo>
                      <a:pt x="916" y="2000"/>
                    </a:moveTo>
                    <a:lnTo>
                      <a:pt x="916" y="2000"/>
                    </a:lnTo>
                    <a:lnTo>
                      <a:pt x="909" y="1998"/>
                    </a:lnTo>
                    <a:lnTo>
                      <a:pt x="900" y="1996"/>
                    </a:lnTo>
                    <a:lnTo>
                      <a:pt x="893" y="1992"/>
                    </a:lnTo>
                    <a:lnTo>
                      <a:pt x="886" y="1985"/>
                    </a:lnTo>
                    <a:lnTo>
                      <a:pt x="880" y="1975"/>
                    </a:lnTo>
                    <a:lnTo>
                      <a:pt x="875" y="1962"/>
                    </a:lnTo>
                    <a:lnTo>
                      <a:pt x="871" y="1945"/>
                    </a:lnTo>
                    <a:lnTo>
                      <a:pt x="870" y="1923"/>
                    </a:lnTo>
                    <a:lnTo>
                      <a:pt x="870" y="1923"/>
                    </a:lnTo>
                    <a:lnTo>
                      <a:pt x="871" y="1904"/>
                    </a:lnTo>
                    <a:lnTo>
                      <a:pt x="875" y="1889"/>
                    </a:lnTo>
                    <a:lnTo>
                      <a:pt x="880" y="1877"/>
                    </a:lnTo>
                    <a:lnTo>
                      <a:pt x="886" y="1868"/>
                    </a:lnTo>
                    <a:lnTo>
                      <a:pt x="892" y="1861"/>
                    </a:lnTo>
                    <a:lnTo>
                      <a:pt x="900" y="1857"/>
                    </a:lnTo>
                    <a:lnTo>
                      <a:pt x="908" y="1855"/>
                    </a:lnTo>
                    <a:lnTo>
                      <a:pt x="916" y="1855"/>
                    </a:lnTo>
                    <a:lnTo>
                      <a:pt x="916" y="1855"/>
                    </a:lnTo>
                    <a:lnTo>
                      <a:pt x="924" y="1855"/>
                    </a:lnTo>
                    <a:lnTo>
                      <a:pt x="931" y="1857"/>
                    </a:lnTo>
                    <a:lnTo>
                      <a:pt x="938" y="1860"/>
                    </a:lnTo>
                    <a:lnTo>
                      <a:pt x="943" y="1863"/>
                    </a:lnTo>
                    <a:lnTo>
                      <a:pt x="948" y="1867"/>
                    </a:lnTo>
                    <a:lnTo>
                      <a:pt x="953" y="1871"/>
                    </a:lnTo>
                    <a:lnTo>
                      <a:pt x="959" y="1879"/>
                    </a:lnTo>
                    <a:lnTo>
                      <a:pt x="959" y="1975"/>
                    </a:lnTo>
                    <a:lnTo>
                      <a:pt x="959" y="1975"/>
                    </a:lnTo>
                    <a:lnTo>
                      <a:pt x="951" y="1984"/>
                    </a:lnTo>
                    <a:lnTo>
                      <a:pt x="943" y="1991"/>
                    </a:lnTo>
                    <a:lnTo>
                      <a:pt x="938" y="1995"/>
                    </a:lnTo>
                    <a:lnTo>
                      <a:pt x="931" y="1997"/>
                    </a:lnTo>
                    <a:lnTo>
                      <a:pt x="925" y="1998"/>
                    </a:lnTo>
                    <a:lnTo>
                      <a:pt x="916" y="2000"/>
                    </a:lnTo>
                    <a:lnTo>
                      <a:pt x="916" y="2000"/>
                    </a:lnTo>
                    <a:close/>
                    <a:moveTo>
                      <a:pt x="2278" y="1799"/>
                    </a:moveTo>
                    <a:lnTo>
                      <a:pt x="2278" y="1799"/>
                    </a:lnTo>
                    <a:lnTo>
                      <a:pt x="2272" y="1800"/>
                    </a:lnTo>
                    <a:lnTo>
                      <a:pt x="2265" y="1801"/>
                    </a:lnTo>
                    <a:lnTo>
                      <a:pt x="2250" y="1805"/>
                    </a:lnTo>
                    <a:lnTo>
                      <a:pt x="2237" y="1812"/>
                    </a:lnTo>
                    <a:lnTo>
                      <a:pt x="2225" y="1822"/>
                    </a:lnTo>
                    <a:lnTo>
                      <a:pt x="2225" y="1709"/>
                    </a:lnTo>
                    <a:lnTo>
                      <a:pt x="2164" y="1739"/>
                    </a:lnTo>
                    <a:lnTo>
                      <a:pt x="2164" y="2049"/>
                    </a:lnTo>
                    <a:lnTo>
                      <a:pt x="2225" y="2049"/>
                    </a:lnTo>
                    <a:lnTo>
                      <a:pt x="2225" y="2031"/>
                    </a:lnTo>
                    <a:lnTo>
                      <a:pt x="2225" y="2031"/>
                    </a:lnTo>
                    <a:lnTo>
                      <a:pt x="2230" y="2037"/>
                    </a:lnTo>
                    <a:lnTo>
                      <a:pt x="2237" y="2042"/>
                    </a:lnTo>
                    <a:lnTo>
                      <a:pt x="2243" y="2046"/>
                    </a:lnTo>
                    <a:lnTo>
                      <a:pt x="2250" y="2049"/>
                    </a:lnTo>
                    <a:lnTo>
                      <a:pt x="2257" y="2052"/>
                    </a:lnTo>
                    <a:lnTo>
                      <a:pt x="2265" y="2053"/>
                    </a:lnTo>
                    <a:lnTo>
                      <a:pt x="2272" y="2054"/>
                    </a:lnTo>
                    <a:lnTo>
                      <a:pt x="2280" y="2055"/>
                    </a:lnTo>
                    <a:lnTo>
                      <a:pt x="2280" y="2055"/>
                    </a:lnTo>
                    <a:lnTo>
                      <a:pt x="2291" y="2054"/>
                    </a:lnTo>
                    <a:lnTo>
                      <a:pt x="2302" y="2053"/>
                    </a:lnTo>
                    <a:lnTo>
                      <a:pt x="2311" y="2051"/>
                    </a:lnTo>
                    <a:lnTo>
                      <a:pt x="2321" y="2046"/>
                    </a:lnTo>
                    <a:lnTo>
                      <a:pt x="2329" y="2041"/>
                    </a:lnTo>
                    <a:lnTo>
                      <a:pt x="2337" y="2036"/>
                    </a:lnTo>
                    <a:lnTo>
                      <a:pt x="2344" y="2029"/>
                    </a:lnTo>
                    <a:lnTo>
                      <a:pt x="2350" y="2021"/>
                    </a:lnTo>
                    <a:lnTo>
                      <a:pt x="2356" y="2012"/>
                    </a:lnTo>
                    <a:lnTo>
                      <a:pt x="2361" y="2002"/>
                    </a:lnTo>
                    <a:lnTo>
                      <a:pt x="2365" y="1991"/>
                    </a:lnTo>
                    <a:lnTo>
                      <a:pt x="2368" y="1980"/>
                    </a:lnTo>
                    <a:lnTo>
                      <a:pt x="2372" y="1968"/>
                    </a:lnTo>
                    <a:lnTo>
                      <a:pt x="2373" y="1955"/>
                    </a:lnTo>
                    <a:lnTo>
                      <a:pt x="2374" y="1940"/>
                    </a:lnTo>
                    <a:lnTo>
                      <a:pt x="2376" y="1924"/>
                    </a:lnTo>
                    <a:lnTo>
                      <a:pt x="2376" y="1924"/>
                    </a:lnTo>
                    <a:lnTo>
                      <a:pt x="2374" y="1911"/>
                    </a:lnTo>
                    <a:lnTo>
                      <a:pt x="2373" y="1897"/>
                    </a:lnTo>
                    <a:lnTo>
                      <a:pt x="2371" y="1884"/>
                    </a:lnTo>
                    <a:lnTo>
                      <a:pt x="2368" y="1872"/>
                    </a:lnTo>
                    <a:lnTo>
                      <a:pt x="2365" y="1861"/>
                    </a:lnTo>
                    <a:lnTo>
                      <a:pt x="2360" y="1851"/>
                    </a:lnTo>
                    <a:lnTo>
                      <a:pt x="2355" y="1842"/>
                    </a:lnTo>
                    <a:lnTo>
                      <a:pt x="2349" y="1833"/>
                    </a:lnTo>
                    <a:lnTo>
                      <a:pt x="2343" y="1826"/>
                    </a:lnTo>
                    <a:lnTo>
                      <a:pt x="2336" y="1818"/>
                    </a:lnTo>
                    <a:lnTo>
                      <a:pt x="2327" y="1812"/>
                    </a:lnTo>
                    <a:lnTo>
                      <a:pt x="2319" y="1807"/>
                    </a:lnTo>
                    <a:lnTo>
                      <a:pt x="2310" y="1804"/>
                    </a:lnTo>
                    <a:lnTo>
                      <a:pt x="2300" y="1801"/>
                    </a:lnTo>
                    <a:lnTo>
                      <a:pt x="2289" y="1800"/>
                    </a:lnTo>
                    <a:lnTo>
                      <a:pt x="2278" y="1799"/>
                    </a:lnTo>
                    <a:lnTo>
                      <a:pt x="2278" y="1799"/>
                    </a:lnTo>
                    <a:close/>
                    <a:moveTo>
                      <a:pt x="2267" y="1855"/>
                    </a:moveTo>
                    <a:lnTo>
                      <a:pt x="2267" y="1855"/>
                    </a:lnTo>
                    <a:lnTo>
                      <a:pt x="2276" y="1856"/>
                    </a:lnTo>
                    <a:lnTo>
                      <a:pt x="2284" y="1859"/>
                    </a:lnTo>
                    <a:lnTo>
                      <a:pt x="2292" y="1863"/>
                    </a:lnTo>
                    <a:lnTo>
                      <a:pt x="2299" y="1871"/>
                    </a:lnTo>
                    <a:lnTo>
                      <a:pt x="2305" y="1879"/>
                    </a:lnTo>
                    <a:lnTo>
                      <a:pt x="2309" y="1891"/>
                    </a:lnTo>
                    <a:lnTo>
                      <a:pt x="2312" y="1906"/>
                    </a:lnTo>
                    <a:lnTo>
                      <a:pt x="2314" y="1923"/>
                    </a:lnTo>
                    <a:lnTo>
                      <a:pt x="2314" y="1923"/>
                    </a:lnTo>
                    <a:lnTo>
                      <a:pt x="2312" y="1941"/>
                    </a:lnTo>
                    <a:lnTo>
                      <a:pt x="2310" y="1957"/>
                    </a:lnTo>
                    <a:lnTo>
                      <a:pt x="2308" y="1969"/>
                    </a:lnTo>
                    <a:lnTo>
                      <a:pt x="2303" y="1980"/>
                    </a:lnTo>
                    <a:lnTo>
                      <a:pt x="2295" y="1989"/>
                    </a:lnTo>
                    <a:lnTo>
                      <a:pt x="2288" y="1995"/>
                    </a:lnTo>
                    <a:lnTo>
                      <a:pt x="2280" y="1998"/>
                    </a:lnTo>
                    <a:lnTo>
                      <a:pt x="2269" y="2000"/>
                    </a:lnTo>
                    <a:lnTo>
                      <a:pt x="2269" y="2000"/>
                    </a:lnTo>
                    <a:lnTo>
                      <a:pt x="2260" y="1998"/>
                    </a:lnTo>
                    <a:lnTo>
                      <a:pt x="2253" y="1997"/>
                    </a:lnTo>
                    <a:lnTo>
                      <a:pt x="2247" y="1993"/>
                    </a:lnTo>
                    <a:lnTo>
                      <a:pt x="2241" y="1991"/>
                    </a:lnTo>
                    <a:lnTo>
                      <a:pt x="2231" y="1983"/>
                    </a:lnTo>
                    <a:lnTo>
                      <a:pt x="2225" y="1976"/>
                    </a:lnTo>
                    <a:lnTo>
                      <a:pt x="2225" y="1879"/>
                    </a:lnTo>
                    <a:lnTo>
                      <a:pt x="2225" y="1879"/>
                    </a:lnTo>
                    <a:lnTo>
                      <a:pt x="2229" y="1874"/>
                    </a:lnTo>
                    <a:lnTo>
                      <a:pt x="2233" y="1869"/>
                    </a:lnTo>
                    <a:lnTo>
                      <a:pt x="2238" y="1865"/>
                    </a:lnTo>
                    <a:lnTo>
                      <a:pt x="2243" y="1861"/>
                    </a:lnTo>
                    <a:lnTo>
                      <a:pt x="2249" y="1859"/>
                    </a:lnTo>
                    <a:lnTo>
                      <a:pt x="2255" y="1856"/>
                    </a:lnTo>
                    <a:lnTo>
                      <a:pt x="2261" y="1855"/>
                    </a:lnTo>
                    <a:lnTo>
                      <a:pt x="2267" y="1855"/>
                    </a:lnTo>
                    <a:lnTo>
                      <a:pt x="2267" y="1855"/>
                    </a:lnTo>
                    <a:close/>
                    <a:moveTo>
                      <a:pt x="1591" y="1822"/>
                    </a:moveTo>
                    <a:lnTo>
                      <a:pt x="1591" y="1822"/>
                    </a:lnTo>
                    <a:lnTo>
                      <a:pt x="1586" y="1817"/>
                    </a:lnTo>
                    <a:lnTo>
                      <a:pt x="1580" y="1812"/>
                    </a:lnTo>
                    <a:lnTo>
                      <a:pt x="1572" y="1809"/>
                    </a:lnTo>
                    <a:lnTo>
                      <a:pt x="1566" y="1805"/>
                    </a:lnTo>
                    <a:lnTo>
                      <a:pt x="1559" y="1803"/>
                    </a:lnTo>
                    <a:lnTo>
                      <a:pt x="1552" y="1800"/>
                    </a:lnTo>
                    <a:lnTo>
                      <a:pt x="1544" y="1800"/>
                    </a:lnTo>
                    <a:lnTo>
                      <a:pt x="1537" y="1799"/>
                    </a:lnTo>
                    <a:lnTo>
                      <a:pt x="1537" y="1799"/>
                    </a:lnTo>
                    <a:lnTo>
                      <a:pt x="1526" y="1800"/>
                    </a:lnTo>
                    <a:lnTo>
                      <a:pt x="1515" y="1801"/>
                    </a:lnTo>
                    <a:lnTo>
                      <a:pt x="1506" y="1804"/>
                    </a:lnTo>
                    <a:lnTo>
                      <a:pt x="1497" y="1807"/>
                    </a:lnTo>
                    <a:lnTo>
                      <a:pt x="1489" y="1812"/>
                    </a:lnTo>
                    <a:lnTo>
                      <a:pt x="1480" y="1818"/>
                    </a:lnTo>
                    <a:lnTo>
                      <a:pt x="1473" y="1826"/>
                    </a:lnTo>
                    <a:lnTo>
                      <a:pt x="1467" y="1833"/>
                    </a:lnTo>
                    <a:lnTo>
                      <a:pt x="1461" y="1842"/>
                    </a:lnTo>
                    <a:lnTo>
                      <a:pt x="1456" y="1851"/>
                    </a:lnTo>
                    <a:lnTo>
                      <a:pt x="1451" y="1861"/>
                    </a:lnTo>
                    <a:lnTo>
                      <a:pt x="1447" y="1872"/>
                    </a:lnTo>
                    <a:lnTo>
                      <a:pt x="1445" y="1884"/>
                    </a:lnTo>
                    <a:lnTo>
                      <a:pt x="1442" y="1897"/>
                    </a:lnTo>
                    <a:lnTo>
                      <a:pt x="1441" y="1911"/>
                    </a:lnTo>
                    <a:lnTo>
                      <a:pt x="1441" y="1924"/>
                    </a:lnTo>
                    <a:lnTo>
                      <a:pt x="1441" y="1924"/>
                    </a:lnTo>
                    <a:lnTo>
                      <a:pt x="1441" y="1940"/>
                    </a:lnTo>
                    <a:lnTo>
                      <a:pt x="1442" y="1953"/>
                    </a:lnTo>
                    <a:lnTo>
                      <a:pt x="1445" y="1967"/>
                    </a:lnTo>
                    <a:lnTo>
                      <a:pt x="1447" y="1979"/>
                    </a:lnTo>
                    <a:lnTo>
                      <a:pt x="1451" y="1991"/>
                    </a:lnTo>
                    <a:lnTo>
                      <a:pt x="1455" y="2002"/>
                    </a:lnTo>
                    <a:lnTo>
                      <a:pt x="1461" y="2012"/>
                    </a:lnTo>
                    <a:lnTo>
                      <a:pt x="1465" y="2020"/>
                    </a:lnTo>
                    <a:lnTo>
                      <a:pt x="1473" y="2029"/>
                    </a:lnTo>
                    <a:lnTo>
                      <a:pt x="1479" y="2035"/>
                    </a:lnTo>
                    <a:lnTo>
                      <a:pt x="1487" y="2041"/>
                    </a:lnTo>
                    <a:lnTo>
                      <a:pt x="1496" y="2046"/>
                    </a:lnTo>
                    <a:lnTo>
                      <a:pt x="1504" y="2049"/>
                    </a:lnTo>
                    <a:lnTo>
                      <a:pt x="1514" y="2053"/>
                    </a:lnTo>
                    <a:lnTo>
                      <a:pt x="1525" y="2054"/>
                    </a:lnTo>
                    <a:lnTo>
                      <a:pt x="1536" y="2054"/>
                    </a:lnTo>
                    <a:lnTo>
                      <a:pt x="1536" y="2054"/>
                    </a:lnTo>
                    <a:lnTo>
                      <a:pt x="1543" y="2054"/>
                    </a:lnTo>
                    <a:lnTo>
                      <a:pt x="1551" y="2053"/>
                    </a:lnTo>
                    <a:lnTo>
                      <a:pt x="1558" y="2052"/>
                    </a:lnTo>
                    <a:lnTo>
                      <a:pt x="1565" y="2049"/>
                    </a:lnTo>
                    <a:lnTo>
                      <a:pt x="1572" y="2046"/>
                    </a:lnTo>
                    <a:lnTo>
                      <a:pt x="1578" y="2041"/>
                    </a:lnTo>
                    <a:lnTo>
                      <a:pt x="1585" y="2037"/>
                    </a:lnTo>
                    <a:lnTo>
                      <a:pt x="1591" y="2031"/>
                    </a:lnTo>
                    <a:lnTo>
                      <a:pt x="1591" y="2037"/>
                    </a:lnTo>
                    <a:lnTo>
                      <a:pt x="1591" y="2037"/>
                    </a:lnTo>
                    <a:lnTo>
                      <a:pt x="1591" y="2047"/>
                    </a:lnTo>
                    <a:lnTo>
                      <a:pt x="1589" y="2058"/>
                    </a:lnTo>
                    <a:lnTo>
                      <a:pt x="1587" y="2069"/>
                    </a:lnTo>
                    <a:lnTo>
                      <a:pt x="1585" y="2074"/>
                    </a:lnTo>
                    <a:lnTo>
                      <a:pt x="1581" y="2079"/>
                    </a:lnTo>
                    <a:lnTo>
                      <a:pt x="1577" y="2083"/>
                    </a:lnTo>
                    <a:lnTo>
                      <a:pt x="1572" y="2088"/>
                    </a:lnTo>
                    <a:lnTo>
                      <a:pt x="1565" y="2092"/>
                    </a:lnTo>
                    <a:lnTo>
                      <a:pt x="1558" y="2094"/>
                    </a:lnTo>
                    <a:lnTo>
                      <a:pt x="1549" y="2098"/>
                    </a:lnTo>
                    <a:lnTo>
                      <a:pt x="1538" y="2099"/>
                    </a:lnTo>
                    <a:lnTo>
                      <a:pt x="1526" y="2102"/>
                    </a:lnTo>
                    <a:lnTo>
                      <a:pt x="1513" y="2102"/>
                    </a:lnTo>
                    <a:lnTo>
                      <a:pt x="1510" y="2102"/>
                    </a:lnTo>
                    <a:lnTo>
                      <a:pt x="1531" y="2149"/>
                    </a:lnTo>
                    <a:lnTo>
                      <a:pt x="1532" y="2149"/>
                    </a:lnTo>
                    <a:lnTo>
                      <a:pt x="1532" y="2149"/>
                    </a:lnTo>
                    <a:lnTo>
                      <a:pt x="1547" y="2149"/>
                    </a:lnTo>
                    <a:lnTo>
                      <a:pt x="1560" y="2147"/>
                    </a:lnTo>
                    <a:lnTo>
                      <a:pt x="1574" y="2144"/>
                    </a:lnTo>
                    <a:lnTo>
                      <a:pt x="1585" y="2141"/>
                    </a:lnTo>
                    <a:lnTo>
                      <a:pt x="1595" y="2137"/>
                    </a:lnTo>
                    <a:lnTo>
                      <a:pt x="1605" y="2132"/>
                    </a:lnTo>
                    <a:lnTo>
                      <a:pt x="1614" y="2125"/>
                    </a:lnTo>
                    <a:lnTo>
                      <a:pt x="1622" y="2119"/>
                    </a:lnTo>
                    <a:lnTo>
                      <a:pt x="1630" y="2110"/>
                    </a:lnTo>
                    <a:lnTo>
                      <a:pt x="1634" y="2100"/>
                    </a:lnTo>
                    <a:lnTo>
                      <a:pt x="1640" y="2091"/>
                    </a:lnTo>
                    <a:lnTo>
                      <a:pt x="1644" y="2080"/>
                    </a:lnTo>
                    <a:lnTo>
                      <a:pt x="1648" y="2068"/>
                    </a:lnTo>
                    <a:lnTo>
                      <a:pt x="1650" y="2055"/>
                    </a:lnTo>
                    <a:lnTo>
                      <a:pt x="1651" y="2042"/>
                    </a:lnTo>
                    <a:lnTo>
                      <a:pt x="1651" y="2026"/>
                    </a:lnTo>
                    <a:lnTo>
                      <a:pt x="1651" y="1805"/>
                    </a:lnTo>
                    <a:lnTo>
                      <a:pt x="1591" y="1805"/>
                    </a:lnTo>
                    <a:lnTo>
                      <a:pt x="1591" y="1822"/>
                    </a:lnTo>
                    <a:close/>
                    <a:moveTo>
                      <a:pt x="1591" y="1879"/>
                    </a:moveTo>
                    <a:lnTo>
                      <a:pt x="1591" y="1975"/>
                    </a:lnTo>
                    <a:lnTo>
                      <a:pt x="1591" y="1975"/>
                    </a:lnTo>
                    <a:lnTo>
                      <a:pt x="1583" y="1984"/>
                    </a:lnTo>
                    <a:lnTo>
                      <a:pt x="1574" y="1992"/>
                    </a:lnTo>
                    <a:lnTo>
                      <a:pt x="1569" y="1995"/>
                    </a:lnTo>
                    <a:lnTo>
                      <a:pt x="1563" y="1997"/>
                    </a:lnTo>
                    <a:lnTo>
                      <a:pt x="1555" y="1998"/>
                    </a:lnTo>
                    <a:lnTo>
                      <a:pt x="1548" y="2000"/>
                    </a:lnTo>
                    <a:lnTo>
                      <a:pt x="1548" y="2000"/>
                    </a:lnTo>
                    <a:lnTo>
                      <a:pt x="1540" y="1998"/>
                    </a:lnTo>
                    <a:lnTo>
                      <a:pt x="1532" y="1996"/>
                    </a:lnTo>
                    <a:lnTo>
                      <a:pt x="1524" y="1991"/>
                    </a:lnTo>
                    <a:lnTo>
                      <a:pt x="1518" y="1985"/>
                    </a:lnTo>
                    <a:lnTo>
                      <a:pt x="1512" y="1975"/>
                    </a:lnTo>
                    <a:lnTo>
                      <a:pt x="1507" y="1962"/>
                    </a:lnTo>
                    <a:lnTo>
                      <a:pt x="1503" y="1945"/>
                    </a:lnTo>
                    <a:lnTo>
                      <a:pt x="1502" y="1923"/>
                    </a:lnTo>
                    <a:lnTo>
                      <a:pt x="1502" y="1923"/>
                    </a:lnTo>
                    <a:lnTo>
                      <a:pt x="1503" y="1904"/>
                    </a:lnTo>
                    <a:lnTo>
                      <a:pt x="1507" y="1889"/>
                    </a:lnTo>
                    <a:lnTo>
                      <a:pt x="1512" y="1877"/>
                    </a:lnTo>
                    <a:lnTo>
                      <a:pt x="1518" y="1868"/>
                    </a:lnTo>
                    <a:lnTo>
                      <a:pt x="1524" y="1861"/>
                    </a:lnTo>
                    <a:lnTo>
                      <a:pt x="1532" y="1857"/>
                    </a:lnTo>
                    <a:lnTo>
                      <a:pt x="1540" y="1855"/>
                    </a:lnTo>
                    <a:lnTo>
                      <a:pt x="1548" y="1855"/>
                    </a:lnTo>
                    <a:lnTo>
                      <a:pt x="1548" y="1855"/>
                    </a:lnTo>
                    <a:lnTo>
                      <a:pt x="1555" y="1855"/>
                    </a:lnTo>
                    <a:lnTo>
                      <a:pt x="1563" y="1857"/>
                    </a:lnTo>
                    <a:lnTo>
                      <a:pt x="1570" y="1860"/>
                    </a:lnTo>
                    <a:lnTo>
                      <a:pt x="1575" y="1862"/>
                    </a:lnTo>
                    <a:lnTo>
                      <a:pt x="1580" y="1867"/>
                    </a:lnTo>
                    <a:lnTo>
                      <a:pt x="1585" y="1871"/>
                    </a:lnTo>
                    <a:lnTo>
                      <a:pt x="1591" y="1879"/>
                    </a:lnTo>
                    <a:lnTo>
                      <a:pt x="1591" y="1879"/>
                    </a:lnTo>
                    <a:close/>
                    <a:moveTo>
                      <a:pt x="1840" y="1865"/>
                    </a:moveTo>
                    <a:lnTo>
                      <a:pt x="1840" y="1865"/>
                    </a:lnTo>
                    <a:lnTo>
                      <a:pt x="1854" y="1857"/>
                    </a:lnTo>
                    <a:lnTo>
                      <a:pt x="1869" y="1852"/>
                    </a:lnTo>
                    <a:lnTo>
                      <a:pt x="1885" y="1849"/>
                    </a:lnTo>
                    <a:lnTo>
                      <a:pt x="1902" y="1848"/>
                    </a:lnTo>
                    <a:lnTo>
                      <a:pt x="1902" y="1848"/>
                    </a:lnTo>
                    <a:lnTo>
                      <a:pt x="1913" y="1849"/>
                    </a:lnTo>
                    <a:lnTo>
                      <a:pt x="1921" y="1850"/>
                    </a:lnTo>
                    <a:lnTo>
                      <a:pt x="1928" y="1852"/>
                    </a:lnTo>
                    <a:lnTo>
                      <a:pt x="1935" y="1857"/>
                    </a:lnTo>
                    <a:lnTo>
                      <a:pt x="1939" y="1862"/>
                    </a:lnTo>
                    <a:lnTo>
                      <a:pt x="1943" y="1868"/>
                    </a:lnTo>
                    <a:lnTo>
                      <a:pt x="1945" y="1874"/>
                    </a:lnTo>
                    <a:lnTo>
                      <a:pt x="1945" y="1883"/>
                    </a:lnTo>
                    <a:lnTo>
                      <a:pt x="1945" y="1900"/>
                    </a:lnTo>
                    <a:lnTo>
                      <a:pt x="1945" y="1900"/>
                    </a:lnTo>
                    <a:lnTo>
                      <a:pt x="1935" y="1895"/>
                    </a:lnTo>
                    <a:lnTo>
                      <a:pt x="1921" y="1891"/>
                    </a:lnTo>
                    <a:lnTo>
                      <a:pt x="1908" y="1889"/>
                    </a:lnTo>
                    <a:lnTo>
                      <a:pt x="1893" y="1888"/>
                    </a:lnTo>
                    <a:lnTo>
                      <a:pt x="1893" y="1888"/>
                    </a:lnTo>
                    <a:lnTo>
                      <a:pt x="1876" y="1889"/>
                    </a:lnTo>
                    <a:lnTo>
                      <a:pt x="1859" y="1893"/>
                    </a:lnTo>
                    <a:lnTo>
                      <a:pt x="1843" y="1897"/>
                    </a:lnTo>
                    <a:lnTo>
                      <a:pt x="1835" y="1901"/>
                    </a:lnTo>
                    <a:lnTo>
                      <a:pt x="1828" y="1906"/>
                    </a:lnTo>
                    <a:lnTo>
                      <a:pt x="1822" y="1911"/>
                    </a:lnTo>
                    <a:lnTo>
                      <a:pt x="1815" y="1917"/>
                    </a:lnTo>
                    <a:lnTo>
                      <a:pt x="1809" y="1923"/>
                    </a:lnTo>
                    <a:lnTo>
                      <a:pt x="1805" y="1930"/>
                    </a:lnTo>
                    <a:lnTo>
                      <a:pt x="1801" y="1939"/>
                    </a:lnTo>
                    <a:lnTo>
                      <a:pt x="1798" y="1948"/>
                    </a:lnTo>
                    <a:lnTo>
                      <a:pt x="1797" y="1958"/>
                    </a:lnTo>
                    <a:lnTo>
                      <a:pt x="1796" y="1968"/>
                    </a:lnTo>
                    <a:lnTo>
                      <a:pt x="1796" y="1968"/>
                    </a:lnTo>
                    <a:lnTo>
                      <a:pt x="1797" y="1980"/>
                    </a:lnTo>
                    <a:lnTo>
                      <a:pt x="1798" y="1991"/>
                    </a:lnTo>
                    <a:lnTo>
                      <a:pt x="1801" y="2000"/>
                    </a:lnTo>
                    <a:lnTo>
                      <a:pt x="1805" y="2009"/>
                    </a:lnTo>
                    <a:lnTo>
                      <a:pt x="1808" y="2017"/>
                    </a:lnTo>
                    <a:lnTo>
                      <a:pt x="1814" y="2024"/>
                    </a:lnTo>
                    <a:lnTo>
                      <a:pt x="1819" y="2030"/>
                    </a:lnTo>
                    <a:lnTo>
                      <a:pt x="1826" y="2036"/>
                    </a:lnTo>
                    <a:lnTo>
                      <a:pt x="1832" y="2041"/>
                    </a:lnTo>
                    <a:lnTo>
                      <a:pt x="1840" y="2045"/>
                    </a:lnTo>
                    <a:lnTo>
                      <a:pt x="1856" y="2051"/>
                    </a:lnTo>
                    <a:lnTo>
                      <a:pt x="1871" y="2054"/>
                    </a:lnTo>
                    <a:lnTo>
                      <a:pt x="1887" y="2055"/>
                    </a:lnTo>
                    <a:lnTo>
                      <a:pt x="1887" y="2055"/>
                    </a:lnTo>
                    <a:lnTo>
                      <a:pt x="1901" y="2053"/>
                    </a:lnTo>
                    <a:lnTo>
                      <a:pt x="1909" y="2052"/>
                    </a:lnTo>
                    <a:lnTo>
                      <a:pt x="1916" y="2049"/>
                    </a:lnTo>
                    <a:lnTo>
                      <a:pt x="1925" y="2046"/>
                    </a:lnTo>
                    <a:lnTo>
                      <a:pt x="1932" y="2041"/>
                    </a:lnTo>
                    <a:lnTo>
                      <a:pt x="1939" y="2036"/>
                    </a:lnTo>
                    <a:lnTo>
                      <a:pt x="1945" y="2030"/>
                    </a:lnTo>
                    <a:lnTo>
                      <a:pt x="1945" y="2049"/>
                    </a:lnTo>
                    <a:lnTo>
                      <a:pt x="2006" y="2049"/>
                    </a:lnTo>
                    <a:lnTo>
                      <a:pt x="2006" y="1884"/>
                    </a:lnTo>
                    <a:lnTo>
                      <a:pt x="2006" y="1884"/>
                    </a:lnTo>
                    <a:lnTo>
                      <a:pt x="2006" y="1874"/>
                    </a:lnTo>
                    <a:lnTo>
                      <a:pt x="2005" y="1866"/>
                    </a:lnTo>
                    <a:lnTo>
                      <a:pt x="2003" y="1857"/>
                    </a:lnTo>
                    <a:lnTo>
                      <a:pt x="2000" y="1849"/>
                    </a:lnTo>
                    <a:lnTo>
                      <a:pt x="1995" y="1842"/>
                    </a:lnTo>
                    <a:lnTo>
                      <a:pt x="1992" y="1834"/>
                    </a:lnTo>
                    <a:lnTo>
                      <a:pt x="1986" y="1828"/>
                    </a:lnTo>
                    <a:lnTo>
                      <a:pt x="1979" y="1822"/>
                    </a:lnTo>
                    <a:lnTo>
                      <a:pt x="1973" y="1817"/>
                    </a:lnTo>
                    <a:lnTo>
                      <a:pt x="1966" y="1812"/>
                    </a:lnTo>
                    <a:lnTo>
                      <a:pt x="1958" y="1809"/>
                    </a:lnTo>
                    <a:lnTo>
                      <a:pt x="1949" y="1805"/>
                    </a:lnTo>
                    <a:lnTo>
                      <a:pt x="1939" y="1803"/>
                    </a:lnTo>
                    <a:lnTo>
                      <a:pt x="1930" y="1801"/>
                    </a:lnTo>
                    <a:lnTo>
                      <a:pt x="1919" y="1800"/>
                    </a:lnTo>
                    <a:lnTo>
                      <a:pt x="1908" y="1799"/>
                    </a:lnTo>
                    <a:lnTo>
                      <a:pt x="1908" y="1799"/>
                    </a:lnTo>
                    <a:lnTo>
                      <a:pt x="1894" y="1800"/>
                    </a:lnTo>
                    <a:lnTo>
                      <a:pt x="1883" y="1800"/>
                    </a:lnTo>
                    <a:lnTo>
                      <a:pt x="1871" y="1803"/>
                    </a:lnTo>
                    <a:lnTo>
                      <a:pt x="1859" y="1805"/>
                    </a:lnTo>
                    <a:lnTo>
                      <a:pt x="1848" y="1809"/>
                    </a:lnTo>
                    <a:lnTo>
                      <a:pt x="1837" y="1812"/>
                    </a:lnTo>
                    <a:lnTo>
                      <a:pt x="1826" y="1817"/>
                    </a:lnTo>
                    <a:lnTo>
                      <a:pt x="1815" y="1823"/>
                    </a:lnTo>
                    <a:lnTo>
                      <a:pt x="1840" y="1865"/>
                    </a:lnTo>
                    <a:close/>
                    <a:moveTo>
                      <a:pt x="1857" y="1968"/>
                    </a:moveTo>
                    <a:lnTo>
                      <a:pt x="1857" y="1968"/>
                    </a:lnTo>
                    <a:lnTo>
                      <a:pt x="1857" y="1961"/>
                    </a:lnTo>
                    <a:lnTo>
                      <a:pt x="1859" y="1953"/>
                    </a:lnTo>
                    <a:lnTo>
                      <a:pt x="1863" y="1947"/>
                    </a:lnTo>
                    <a:lnTo>
                      <a:pt x="1868" y="1942"/>
                    </a:lnTo>
                    <a:lnTo>
                      <a:pt x="1874" y="1939"/>
                    </a:lnTo>
                    <a:lnTo>
                      <a:pt x="1881" y="1936"/>
                    </a:lnTo>
                    <a:lnTo>
                      <a:pt x="1890" y="1934"/>
                    </a:lnTo>
                    <a:lnTo>
                      <a:pt x="1898" y="1934"/>
                    </a:lnTo>
                    <a:lnTo>
                      <a:pt x="1898" y="1934"/>
                    </a:lnTo>
                    <a:lnTo>
                      <a:pt x="1911" y="1934"/>
                    </a:lnTo>
                    <a:lnTo>
                      <a:pt x="1924" y="1936"/>
                    </a:lnTo>
                    <a:lnTo>
                      <a:pt x="1935" y="1940"/>
                    </a:lnTo>
                    <a:lnTo>
                      <a:pt x="1945" y="1946"/>
                    </a:lnTo>
                    <a:lnTo>
                      <a:pt x="1945" y="1979"/>
                    </a:lnTo>
                    <a:lnTo>
                      <a:pt x="1945" y="1979"/>
                    </a:lnTo>
                    <a:lnTo>
                      <a:pt x="1943" y="1984"/>
                    </a:lnTo>
                    <a:lnTo>
                      <a:pt x="1938" y="1989"/>
                    </a:lnTo>
                    <a:lnTo>
                      <a:pt x="1933" y="1993"/>
                    </a:lnTo>
                    <a:lnTo>
                      <a:pt x="1927" y="1997"/>
                    </a:lnTo>
                    <a:lnTo>
                      <a:pt x="1921" y="2001"/>
                    </a:lnTo>
                    <a:lnTo>
                      <a:pt x="1914" y="2003"/>
                    </a:lnTo>
                    <a:lnTo>
                      <a:pt x="1907" y="2004"/>
                    </a:lnTo>
                    <a:lnTo>
                      <a:pt x="1898" y="2006"/>
                    </a:lnTo>
                    <a:lnTo>
                      <a:pt x="1898" y="2006"/>
                    </a:lnTo>
                    <a:lnTo>
                      <a:pt x="1890" y="2004"/>
                    </a:lnTo>
                    <a:lnTo>
                      <a:pt x="1881" y="2002"/>
                    </a:lnTo>
                    <a:lnTo>
                      <a:pt x="1874" y="2000"/>
                    </a:lnTo>
                    <a:lnTo>
                      <a:pt x="1868" y="1995"/>
                    </a:lnTo>
                    <a:lnTo>
                      <a:pt x="1863" y="1990"/>
                    </a:lnTo>
                    <a:lnTo>
                      <a:pt x="1859" y="1984"/>
                    </a:lnTo>
                    <a:lnTo>
                      <a:pt x="1858" y="1976"/>
                    </a:lnTo>
                    <a:lnTo>
                      <a:pt x="1857" y="1968"/>
                    </a:lnTo>
                    <a:lnTo>
                      <a:pt x="1857" y="1968"/>
                    </a:lnTo>
                    <a:close/>
                    <a:moveTo>
                      <a:pt x="2569" y="1979"/>
                    </a:moveTo>
                    <a:lnTo>
                      <a:pt x="2569" y="1979"/>
                    </a:lnTo>
                    <a:lnTo>
                      <a:pt x="2560" y="1986"/>
                    </a:lnTo>
                    <a:lnTo>
                      <a:pt x="2549" y="1992"/>
                    </a:lnTo>
                    <a:lnTo>
                      <a:pt x="2543" y="1995"/>
                    </a:lnTo>
                    <a:lnTo>
                      <a:pt x="2536" y="1997"/>
                    </a:lnTo>
                    <a:lnTo>
                      <a:pt x="2529" y="1998"/>
                    </a:lnTo>
                    <a:lnTo>
                      <a:pt x="2521" y="2000"/>
                    </a:lnTo>
                    <a:lnTo>
                      <a:pt x="2521" y="2000"/>
                    </a:lnTo>
                    <a:lnTo>
                      <a:pt x="2515" y="1998"/>
                    </a:lnTo>
                    <a:lnTo>
                      <a:pt x="2508" y="1998"/>
                    </a:lnTo>
                    <a:lnTo>
                      <a:pt x="2500" y="1996"/>
                    </a:lnTo>
                    <a:lnTo>
                      <a:pt x="2490" y="1991"/>
                    </a:lnTo>
                    <a:lnTo>
                      <a:pt x="2481" y="1985"/>
                    </a:lnTo>
                    <a:lnTo>
                      <a:pt x="2478" y="1980"/>
                    </a:lnTo>
                    <a:lnTo>
                      <a:pt x="2474" y="1975"/>
                    </a:lnTo>
                    <a:lnTo>
                      <a:pt x="2472" y="1969"/>
                    </a:lnTo>
                    <a:lnTo>
                      <a:pt x="2469" y="1962"/>
                    </a:lnTo>
                    <a:lnTo>
                      <a:pt x="2468" y="1955"/>
                    </a:lnTo>
                    <a:lnTo>
                      <a:pt x="2467" y="1946"/>
                    </a:lnTo>
                    <a:lnTo>
                      <a:pt x="2616" y="1946"/>
                    </a:lnTo>
                    <a:lnTo>
                      <a:pt x="2616" y="1946"/>
                    </a:lnTo>
                    <a:lnTo>
                      <a:pt x="2617" y="1928"/>
                    </a:lnTo>
                    <a:lnTo>
                      <a:pt x="2617" y="1928"/>
                    </a:lnTo>
                    <a:lnTo>
                      <a:pt x="2617" y="1913"/>
                    </a:lnTo>
                    <a:lnTo>
                      <a:pt x="2615" y="1900"/>
                    </a:lnTo>
                    <a:lnTo>
                      <a:pt x="2614" y="1886"/>
                    </a:lnTo>
                    <a:lnTo>
                      <a:pt x="2610" y="1874"/>
                    </a:lnTo>
                    <a:lnTo>
                      <a:pt x="2607" y="1863"/>
                    </a:lnTo>
                    <a:lnTo>
                      <a:pt x="2602" y="1852"/>
                    </a:lnTo>
                    <a:lnTo>
                      <a:pt x="2596" y="1843"/>
                    </a:lnTo>
                    <a:lnTo>
                      <a:pt x="2589" y="1834"/>
                    </a:lnTo>
                    <a:lnTo>
                      <a:pt x="2582" y="1826"/>
                    </a:lnTo>
                    <a:lnTo>
                      <a:pt x="2575" y="1820"/>
                    </a:lnTo>
                    <a:lnTo>
                      <a:pt x="2566" y="1814"/>
                    </a:lnTo>
                    <a:lnTo>
                      <a:pt x="2557" y="1809"/>
                    </a:lnTo>
                    <a:lnTo>
                      <a:pt x="2547" y="1805"/>
                    </a:lnTo>
                    <a:lnTo>
                      <a:pt x="2537" y="1801"/>
                    </a:lnTo>
                    <a:lnTo>
                      <a:pt x="2526" y="1800"/>
                    </a:lnTo>
                    <a:lnTo>
                      <a:pt x="2514" y="1799"/>
                    </a:lnTo>
                    <a:lnTo>
                      <a:pt x="2514" y="1799"/>
                    </a:lnTo>
                    <a:lnTo>
                      <a:pt x="2503" y="1800"/>
                    </a:lnTo>
                    <a:lnTo>
                      <a:pt x="2492" y="1801"/>
                    </a:lnTo>
                    <a:lnTo>
                      <a:pt x="2481" y="1805"/>
                    </a:lnTo>
                    <a:lnTo>
                      <a:pt x="2470" y="1809"/>
                    </a:lnTo>
                    <a:lnTo>
                      <a:pt x="2461" y="1814"/>
                    </a:lnTo>
                    <a:lnTo>
                      <a:pt x="2452" y="1821"/>
                    </a:lnTo>
                    <a:lnTo>
                      <a:pt x="2444" y="1827"/>
                    </a:lnTo>
                    <a:lnTo>
                      <a:pt x="2436" y="1835"/>
                    </a:lnTo>
                    <a:lnTo>
                      <a:pt x="2429" y="1844"/>
                    </a:lnTo>
                    <a:lnTo>
                      <a:pt x="2423" y="1854"/>
                    </a:lnTo>
                    <a:lnTo>
                      <a:pt x="2418" y="1865"/>
                    </a:lnTo>
                    <a:lnTo>
                      <a:pt x="2413" y="1876"/>
                    </a:lnTo>
                    <a:lnTo>
                      <a:pt x="2410" y="1888"/>
                    </a:lnTo>
                    <a:lnTo>
                      <a:pt x="2407" y="1901"/>
                    </a:lnTo>
                    <a:lnTo>
                      <a:pt x="2406" y="1913"/>
                    </a:lnTo>
                    <a:lnTo>
                      <a:pt x="2405" y="1928"/>
                    </a:lnTo>
                    <a:lnTo>
                      <a:pt x="2405" y="1928"/>
                    </a:lnTo>
                    <a:lnTo>
                      <a:pt x="2406" y="1941"/>
                    </a:lnTo>
                    <a:lnTo>
                      <a:pt x="2407" y="1955"/>
                    </a:lnTo>
                    <a:lnTo>
                      <a:pt x="2410" y="1968"/>
                    </a:lnTo>
                    <a:lnTo>
                      <a:pt x="2413" y="1980"/>
                    </a:lnTo>
                    <a:lnTo>
                      <a:pt x="2418" y="1991"/>
                    </a:lnTo>
                    <a:lnTo>
                      <a:pt x="2423" y="2002"/>
                    </a:lnTo>
                    <a:lnTo>
                      <a:pt x="2429" y="2012"/>
                    </a:lnTo>
                    <a:lnTo>
                      <a:pt x="2436" y="2020"/>
                    </a:lnTo>
                    <a:lnTo>
                      <a:pt x="2445" y="2028"/>
                    </a:lnTo>
                    <a:lnTo>
                      <a:pt x="2453" y="2035"/>
                    </a:lnTo>
                    <a:lnTo>
                      <a:pt x="2463" y="2041"/>
                    </a:lnTo>
                    <a:lnTo>
                      <a:pt x="2473" y="2046"/>
                    </a:lnTo>
                    <a:lnTo>
                      <a:pt x="2484" y="2049"/>
                    </a:lnTo>
                    <a:lnTo>
                      <a:pt x="2496" y="2053"/>
                    </a:lnTo>
                    <a:lnTo>
                      <a:pt x="2508" y="2054"/>
                    </a:lnTo>
                    <a:lnTo>
                      <a:pt x="2521" y="2055"/>
                    </a:lnTo>
                    <a:lnTo>
                      <a:pt x="2521" y="2055"/>
                    </a:lnTo>
                    <a:lnTo>
                      <a:pt x="2534" y="2054"/>
                    </a:lnTo>
                    <a:lnTo>
                      <a:pt x="2545" y="2053"/>
                    </a:lnTo>
                    <a:lnTo>
                      <a:pt x="2557" y="2049"/>
                    </a:lnTo>
                    <a:lnTo>
                      <a:pt x="2568" y="2046"/>
                    </a:lnTo>
                    <a:lnTo>
                      <a:pt x="2579" y="2040"/>
                    </a:lnTo>
                    <a:lnTo>
                      <a:pt x="2588" y="2034"/>
                    </a:lnTo>
                    <a:lnTo>
                      <a:pt x="2598" y="2025"/>
                    </a:lnTo>
                    <a:lnTo>
                      <a:pt x="2608" y="2017"/>
                    </a:lnTo>
                    <a:lnTo>
                      <a:pt x="2569" y="1979"/>
                    </a:lnTo>
                    <a:close/>
                    <a:moveTo>
                      <a:pt x="2468" y="1901"/>
                    </a:moveTo>
                    <a:lnTo>
                      <a:pt x="2468" y="1901"/>
                    </a:lnTo>
                    <a:lnTo>
                      <a:pt x="2469" y="1890"/>
                    </a:lnTo>
                    <a:lnTo>
                      <a:pt x="2472" y="1880"/>
                    </a:lnTo>
                    <a:lnTo>
                      <a:pt x="2475" y="1872"/>
                    </a:lnTo>
                    <a:lnTo>
                      <a:pt x="2481" y="1865"/>
                    </a:lnTo>
                    <a:lnTo>
                      <a:pt x="2487" y="1859"/>
                    </a:lnTo>
                    <a:lnTo>
                      <a:pt x="2495" y="1855"/>
                    </a:lnTo>
                    <a:lnTo>
                      <a:pt x="2503" y="1851"/>
                    </a:lnTo>
                    <a:lnTo>
                      <a:pt x="2513" y="1851"/>
                    </a:lnTo>
                    <a:lnTo>
                      <a:pt x="2513" y="1851"/>
                    </a:lnTo>
                    <a:lnTo>
                      <a:pt x="2524" y="1852"/>
                    </a:lnTo>
                    <a:lnTo>
                      <a:pt x="2534" y="1855"/>
                    </a:lnTo>
                    <a:lnTo>
                      <a:pt x="2541" y="1860"/>
                    </a:lnTo>
                    <a:lnTo>
                      <a:pt x="2547" y="1867"/>
                    </a:lnTo>
                    <a:lnTo>
                      <a:pt x="2552" y="1874"/>
                    </a:lnTo>
                    <a:lnTo>
                      <a:pt x="2555" y="1883"/>
                    </a:lnTo>
                    <a:lnTo>
                      <a:pt x="2558" y="1893"/>
                    </a:lnTo>
                    <a:lnTo>
                      <a:pt x="2559" y="1901"/>
                    </a:lnTo>
                    <a:lnTo>
                      <a:pt x="2468" y="1901"/>
                    </a:lnTo>
                    <a:close/>
                    <a:moveTo>
                      <a:pt x="3153" y="1979"/>
                    </a:moveTo>
                    <a:lnTo>
                      <a:pt x="3153" y="1979"/>
                    </a:lnTo>
                    <a:lnTo>
                      <a:pt x="3144" y="1986"/>
                    </a:lnTo>
                    <a:lnTo>
                      <a:pt x="3134" y="1992"/>
                    </a:lnTo>
                    <a:lnTo>
                      <a:pt x="3127" y="1995"/>
                    </a:lnTo>
                    <a:lnTo>
                      <a:pt x="3121" y="1997"/>
                    </a:lnTo>
                    <a:lnTo>
                      <a:pt x="3113" y="1998"/>
                    </a:lnTo>
                    <a:lnTo>
                      <a:pt x="3105" y="2000"/>
                    </a:lnTo>
                    <a:lnTo>
                      <a:pt x="3105" y="2000"/>
                    </a:lnTo>
                    <a:lnTo>
                      <a:pt x="3099" y="1998"/>
                    </a:lnTo>
                    <a:lnTo>
                      <a:pt x="3091" y="1998"/>
                    </a:lnTo>
                    <a:lnTo>
                      <a:pt x="3083" y="1996"/>
                    </a:lnTo>
                    <a:lnTo>
                      <a:pt x="3074" y="1991"/>
                    </a:lnTo>
                    <a:lnTo>
                      <a:pt x="3066" y="1985"/>
                    </a:lnTo>
                    <a:lnTo>
                      <a:pt x="3062" y="1980"/>
                    </a:lnTo>
                    <a:lnTo>
                      <a:pt x="3059" y="1975"/>
                    </a:lnTo>
                    <a:lnTo>
                      <a:pt x="3056" y="1969"/>
                    </a:lnTo>
                    <a:lnTo>
                      <a:pt x="3054" y="1962"/>
                    </a:lnTo>
                    <a:lnTo>
                      <a:pt x="3051" y="1955"/>
                    </a:lnTo>
                    <a:lnTo>
                      <a:pt x="3050" y="1946"/>
                    </a:lnTo>
                    <a:lnTo>
                      <a:pt x="3201" y="1946"/>
                    </a:lnTo>
                    <a:lnTo>
                      <a:pt x="3201" y="1946"/>
                    </a:lnTo>
                    <a:lnTo>
                      <a:pt x="3202" y="1928"/>
                    </a:lnTo>
                    <a:lnTo>
                      <a:pt x="3202" y="1928"/>
                    </a:lnTo>
                    <a:lnTo>
                      <a:pt x="3201" y="1913"/>
                    </a:lnTo>
                    <a:lnTo>
                      <a:pt x="3199" y="1900"/>
                    </a:lnTo>
                    <a:lnTo>
                      <a:pt x="3197" y="1886"/>
                    </a:lnTo>
                    <a:lnTo>
                      <a:pt x="3195" y="1874"/>
                    </a:lnTo>
                    <a:lnTo>
                      <a:pt x="3190" y="1863"/>
                    </a:lnTo>
                    <a:lnTo>
                      <a:pt x="3185" y="1852"/>
                    </a:lnTo>
                    <a:lnTo>
                      <a:pt x="3180" y="1843"/>
                    </a:lnTo>
                    <a:lnTo>
                      <a:pt x="3174" y="1834"/>
                    </a:lnTo>
                    <a:lnTo>
                      <a:pt x="3167" y="1826"/>
                    </a:lnTo>
                    <a:lnTo>
                      <a:pt x="3158" y="1820"/>
                    </a:lnTo>
                    <a:lnTo>
                      <a:pt x="3150" y="1814"/>
                    </a:lnTo>
                    <a:lnTo>
                      <a:pt x="3141" y="1809"/>
                    </a:lnTo>
                    <a:lnTo>
                      <a:pt x="3131" y="1805"/>
                    </a:lnTo>
                    <a:lnTo>
                      <a:pt x="3121" y="1801"/>
                    </a:lnTo>
                    <a:lnTo>
                      <a:pt x="3110" y="1800"/>
                    </a:lnTo>
                    <a:lnTo>
                      <a:pt x="3099" y="1799"/>
                    </a:lnTo>
                    <a:lnTo>
                      <a:pt x="3099" y="1799"/>
                    </a:lnTo>
                    <a:lnTo>
                      <a:pt x="3086" y="1800"/>
                    </a:lnTo>
                    <a:lnTo>
                      <a:pt x="3076" y="1801"/>
                    </a:lnTo>
                    <a:lnTo>
                      <a:pt x="3065" y="1805"/>
                    </a:lnTo>
                    <a:lnTo>
                      <a:pt x="3055" y="1809"/>
                    </a:lnTo>
                    <a:lnTo>
                      <a:pt x="3045" y="1814"/>
                    </a:lnTo>
                    <a:lnTo>
                      <a:pt x="3035" y="1821"/>
                    </a:lnTo>
                    <a:lnTo>
                      <a:pt x="3028" y="1827"/>
                    </a:lnTo>
                    <a:lnTo>
                      <a:pt x="3020" y="1835"/>
                    </a:lnTo>
                    <a:lnTo>
                      <a:pt x="3012" y="1844"/>
                    </a:lnTo>
                    <a:lnTo>
                      <a:pt x="3006" y="1854"/>
                    </a:lnTo>
                    <a:lnTo>
                      <a:pt x="3001" y="1865"/>
                    </a:lnTo>
                    <a:lnTo>
                      <a:pt x="2997" y="1876"/>
                    </a:lnTo>
                    <a:lnTo>
                      <a:pt x="2994" y="1888"/>
                    </a:lnTo>
                    <a:lnTo>
                      <a:pt x="2990" y="1901"/>
                    </a:lnTo>
                    <a:lnTo>
                      <a:pt x="2989" y="1913"/>
                    </a:lnTo>
                    <a:lnTo>
                      <a:pt x="2989" y="1928"/>
                    </a:lnTo>
                    <a:lnTo>
                      <a:pt x="2989" y="1928"/>
                    </a:lnTo>
                    <a:lnTo>
                      <a:pt x="2989" y="1941"/>
                    </a:lnTo>
                    <a:lnTo>
                      <a:pt x="2990" y="1955"/>
                    </a:lnTo>
                    <a:lnTo>
                      <a:pt x="2993" y="1968"/>
                    </a:lnTo>
                    <a:lnTo>
                      <a:pt x="2997" y="1980"/>
                    </a:lnTo>
                    <a:lnTo>
                      <a:pt x="3001" y="1991"/>
                    </a:lnTo>
                    <a:lnTo>
                      <a:pt x="3008" y="2002"/>
                    </a:lnTo>
                    <a:lnTo>
                      <a:pt x="3014" y="2012"/>
                    </a:lnTo>
                    <a:lnTo>
                      <a:pt x="3021" y="2020"/>
                    </a:lnTo>
                    <a:lnTo>
                      <a:pt x="3028" y="2028"/>
                    </a:lnTo>
                    <a:lnTo>
                      <a:pt x="3037" y="2035"/>
                    </a:lnTo>
                    <a:lnTo>
                      <a:pt x="3046" y="2041"/>
                    </a:lnTo>
                    <a:lnTo>
                      <a:pt x="3057" y="2046"/>
                    </a:lnTo>
                    <a:lnTo>
                      <a:pt x="3068" y="2049"/>
                    </a:lnTo>
                    <a:lnTo>
                      <a:pt x="3079" y="2053"/>
                    </a:lnTo>
                    <a:lnTo>
                      <a:pt x="3093" y="2054"/>
                    </a:lnTo>
                    <a:lnTo>
                      <a:pt x="3105" y="2055"/>
                    </a:lnTo>
                    <a:lnTo>
                      <a:pt x="3105" y="2055"/>
                    </a:lnTo>
                    <a:lnTo>
                      <a:pt x="3117" y="2054"/>
                    </a:lnTo>
                    <a:lnTo>
                      <a:pt x="3129" y="2053"/>
                    </a:lnTo>
                    <a:lnTo>
                      <a:pt x="3140" y="2049"/>
                    </a:lnTo>
                    <a:lnTo>
                      <a:pt x="3151" y="2046"/>
                    </a:lnTo>
                    <a:lnTo>
                      <a:pt x="3162" y="2040"/>
                    </a:lnTo>
                    <a:lnTo>
                      <a:pt x="3173" y="2034"/>
                    </a:lnTo>
                    <a:lnTo>
                      <a:pt x="3182" y="2025"/>
                    </a:lnTo>
                    <a:lnTo>
                      <a:pt x="3191" y="2017"/>
                    </a:lnTo>
                    <a:lnTo>
                      <a:pt x="3153" y="1979"/>
                    </a:lnTo>
                    <a:close/>
                    <a:moveTo>
                      <a:pt x="3051" y="1901"/>
                    </a:moveTo>
                    <a:lnTo>
                      <a:pt x="3051" y="1901"/>
                    </a:lnTo>
                    <a:lnTo>
                      <a:pt x="3052" y="1890"/>
                    </a:lnTo>
                    <a:lnTo>
                      <a:pt x="3056" y="1880"/>
                    </a:lnTo>
                    <a:lnTo>
                      <a:pt x="3060" y="1872"/>
                    </a:lnTo>
                    <a:lnTo>
                      <a:pt x="3065" y="1865"/>
                    </a:lnTo>
                    <a:lnTo>
                      <a:pt x="3072" y="1859"/>
                    </a:lnTo>
                    <a:lnTo>
                      <a:pt x="3079" y="1855"/>
                    </a:lnTo>
                    <a:lnTo>
                      <a:pt x="3088" y="1851"/>
                    </a:lnTo>
                    <a:lnTo>
                      <a:pt x="3097" y="1851"/>
                    </a:lnTo>
                    <a:lnTo>
                      <a:pt x="3097" y="1851"/>
                    </a:lnTo>
                    <a:lnTo>
                      <a:pt x="3108" y="1852"/>
                    </a:lnTo>
                    <a:lnTo>
                      <a:pt x="3117" y="1855"/>
                    </a:lnTo>
                    <a:lnTo>
                      <a:pt x="3125" y="1860"/>
                    </a:lnTo>
                    <a:lnTo>
                      <a:pt x="3131" y="1867"/>
                    </a:lnTo>
                    <a:lnTo>
                      <a:pt x="3136" y="1874"/>
                    </a:lnTo>
                    <a:lnTo>
                      <a:pt x="3140" y="1883"/>
                    </a:lnTo>
                    <a:lnTo>
                      <a:pt x="3142" y="1893"/>
                    </a:lnTo>
                    <a:lnTo>
                      <a:pt x="3144" y="1901"/>
                    </a:lnTo>
                    <a:lnTo>
                      <a:pt x="3051" y="1901"/>
                    </a:lnTo>
                    <a:close/>
                    <a:moveTo>
                      <a:pt x="2905" y="1964"/>
                    </a:moveTo>
                    <a:lnTo>
                      <a:pt x="2905" y="1964"/>
                    </a:lnTo>
                    <a:lnTo>
                      <a:pt x="2905" y="1973"/>
                    </a:lnTo>
                    <a:lnTo>
                      <a:pt x="2907" y="1979"/>
                    </a:lnTo>
                    <a:lnTo>
                      <a:pt x="2909" y="1985"/>
                    </a:lnTo>
                    <a:lnTo>
                      <a:pt x="2912" y="1990"/>
                    </a:lnTo>
                    <a:lnTo>
                      <a:pt x="2915" y="1993"/>
                    </a:lnTo>
                    <a:lnTo>
                      <a:pt x="2920" y="1996"/>
                    </a:lnTo>
                    <a:lnTo>
                      <a:pt x="2925" y="1997"/>
                    </a:lnTo>
                    <a:lnTo>
                      <a:pt x="2932" y="1997"/>
                    </a:lnTo>
                    <a:lnTo>
                      <a:pt x="2932" y="1997"/>
                    </a:lnTo>
                    <a:lnTo>
                      <a:pt x="2941" y="1997"/>
                    </a:lnTo>
                    <a:lnTo>
                      <a:pt x="2950" y="1995"/>
                    </a:lnTo>
                    <a:lnTo>
                      <a:pt x="2960" y="1991"/>
                    </a:lnTo>
                    <a:lnTo>
                      <a:pt x="2969" y="1986"/>
                    </a:lnTo>
                    <a:lnTo>
                      <a:pt x="2961" y="2043"/>
                    </a:lnTo>
                    <a:lnTo>
                      <a:pt x="2961" y="2043"/>
                    </a:lnTo>
                    <a:lnTo>
                      <a:pt x="2950" y="2048"/>
                    </a:lnTo>
                    <a:lnTo>
                      <a:pt x="2937" y="2052"/>
                    </a:lnTo>
                    <a:lnTo>
                      <a:pt x="2924" y="2054"/>
                    </a:lnTo>
                    <a:lnTo>
                      <a:pt x="2910" y="2055"/>
                    </a:lnTo>
                    <a:lnTo>
                      <a:pt x="2910" y="2055"/>
                    </a:lnTo>
                    <a:lnTo>
                      <a:pt x="2902" y="2054"/>
                    </a:lnTo>
                    <a:lnTo>
                      <a:pt x="2893" y="2053"/>
                    </a:lnTo>
                    <a:lnTo>
                      <a:pt x="2886" y="2051"/>
                    </a:lnTo>
                    <a:lnTo>
                      <a:pt x="2880" y="2048"/>
                    </a:lnTo>
                    <a:lnTo>
                      <a:pt x="2874" y="2045"/>
                    </a:lnTo>
                    <a:lnTo>
                      <a:pt x="2868" y="2041"/>
                    </a:lnTo>
                    <a:lnTo>
                      <a:pt x="2864" y="2036"/>
                    </a:lnTo>
                    <a:lnTo>
                      <a:pt x="2859" y="2030"/>
                    </a:lnTo>
                    <a:lnTo>
                      <a:pt x="2853" y="2019"/>
                    </a:lnTo>
                    <a:lnTo>
                      <a:pt x="2848" y="2006"/>
                    </a:lnTo>
                    <a:lnTo>
                      <a:pt x="2846" y="1993"/>
                    </a:lnTo>
                    <a:lnTo>
                      <a:pt x="2845" y="1980"/>
                    </a:lnTo>
                    <a:lnTo>
                      <a:pt x="2845" y="1861"/>
                    </a:lnTo>
                    <a:lnTo>
                      <a:pt x="2807" y="1861"/>
                    </a:lnTo>
                    <a:lnTo>
                      <a:pt x="2807" y="1805"/>
                    </a:lnTo>
                    <a:lnTo>
                      <a:pt x="2845" y="1805"/>
                    </a:lnTo>
                    <a:lnTo>
                      <a:pt x="2845" y="1742"/>
                    </a:lnTo>
                    <a:lnTo>
                      <a:pt x="2905" y="1711"/>
                    </a:lnTo>
                    <a:lnTo>
                      <a:pt x="2905" y="1805"/>
                    </a:lnTo>
                    <a:lnTo>
                      <a:pt x="2960" y="1805"/>
                    </a:lnTo>
                    <a:lnTo>
                      <a:pt x="2960" y="1861"/>
                    </a:lnTo>
                    <a:lnTo>
                      <a:pt x="2905" y="1861"/>
                    </a:lnTo>
                    <a:lnTo>
                      <a:pt x="2905" y="1964"/>
                    </a:lnTo>
                    <a:close/>
                    <a:moveTo>
                      <a:pt x="2788" y="2043"/>
                    </a:moveTo>
                    <a:lnTo>
                      <a:pt x="2788" y="2043"/>
                    </a:lnTo>
                    <a:lnTo>
                      <a:pt x="2777" y="2048"/>
                    </a:lnTo>
                    <a:lnTo>
                      <a:pt x="2764" y="2052"/>
                    </a:lnTo>
                    <a:lnTo>
                      <a:pt x="2751" y="2054"/>
                    </a:lnTo>
                    <a:lnTo>
                      <a:pt x="2738" y="2055"/>
                    </a:lnTo>
                    <a:lnTo>
                      <a:pt x="2738" y="2055"/>
                    </a:lnTo>
                    <a:lnTo>
                      <a:pt x="2728" y="2054"/>
                    </a:lnTo>
                    <a:lnTo>
                      <a:pt x="2721" y="2053"/>
                    </a:lnTo>
                    <a:lnTo>
                      <a:pt x="2713" y="2051"/>
                    </a:lnTo>
                    <a:lnTo>
                      <a:pt x="2706" y="2048"/>
                    </a:lnTo>
                    <a:lnTo>
                      <a:pt x="2701" y="2045"/>
                    </a:lnTo>
                    <a:lnTo>
                      <a:pt x="2695" y="2041"/>
                    </a:lnTo>
                    <a:lnTo>
                      <a:pt x="2690" y="2036"/>
                    </a:lnTo>
                    <a:lnTo>
                      <a:pt x="2687" y="2030"/>
                    </a:lnTo>
                    <a:lnTo>
                      <a:pt x="2679" y="2019"/>
                    </a:lnTo>
                    <a:lnTo>
                      <a:pt x="2676" y="2006"/>
                    </a:lnTo>
                    <a:lnTo>
                      <a:pt x="2672" y="1993"/>
                    </a:lnTo>
                    <a:lnTo>
                      <a:pt x="2672" y="1980"/>
                    </a:lnTo>
                    <a:lnTo>
                      <a:pt x="2672" y="1861"/>
                    </a:lnTo>
                    <a:lnTo>
                      <a:pt x="2634" y="1861"/>
                    </a:lnTo>
                    <a:lnTo>
                      <a:pt x="2634" y="1805"/>
                    </a:lnTo>
                    <a:lnTo>
                      <a:pt x="2672" y="1805"/>
                    </a:lnTo>
                    <a:lnTo>
                      <a:pt x="2672" y="1742"/>
                    </a:lnTo>
                    <a:lnTo>
                      <a:pt x="2733" y="1711"/>
                    </a:lnTo>
                    <a:lnTo>
                      <a:pt x="2733" y="1805"/>
                    </a:lnTo>
                    <a:lnTo>
                      <a:pt x="2784" y="1805"/>
                    </a:lnTo>
                    <a:lnTo>
                      <a:pt x="2784" y="1861"/>
                    </a:lnTo>
                    <a:lnTo>
                      <a:pt x="2733" y="1861"/>
                    </a:lnTo>
                    <a:lnTo>
                      <a:pt x="2733" y="1964"/>
                    </a:lnTo>
                    <a:lnTo>
                      <a:pt x="2733" y="1964"/>
                    </a:lnTo>
                    <a:lnTo>
                      <a:pt x="2733" y="1973"/>
                    </a:lnTo>
                    <a:lnTo>
                      <a:pt x="2734" y="1979"/>
                    </a:lnTo>
                    <a:lnTo>
                      <a:pt x="2737" y="1985"/>
                    </a:lnTo>
                    <a:lnTo>
                      <a:pt x="2739" y="1990"/>
                    </a:lnTo>
                    <a:lnTo>
                      <a:pt x="2743" y="1993"/>
                    </a:lnTo>
                    <a:lnTo>
                      <a:pt x="2747" y="1996"/>
                    </a:lnTo>
                    <a:lnTo>
                      <a:pt x="2752" y="1997"/>
                    </a:lnTo>
                    <a:lnTo>
                      <a:pt x="2758" y="1997"/>
                    </a:lnTo>
                    <a:lnTo>
                      <a:pt x="2758" y="1997"/>
                    </a:lnTo>
                    <a:lnTo>
                      <a:pt x="2768" y="1997"/>
                    </a:lnTo>
                    <a:lnTo>
                      <a:pt x="2778" y="1995"/>
                    </a:lnTo>
                    <a:lnTo>
                      <a:pt x="2786" y="1991"/>
                    </a:lnTo>
                    <a:lnTo>
                      <a:pt x="2795" y="1986"/>
                    </a:lnTo>
                    <a:lnTo>
                      <a:pt x="2788" y="2043"/>
                    </a:lnTo>
                    <a:close/>
                    <a:moveTo>
                      <a:pt x="3384" y="1873"/>
                    </a:moveTo>
                    <a:lnTo>
                      <a:pt x="3384" y="1873"/>
                    </a:lnTo>
                    <a:lnTo>
                      <a:pt x="3376" y="1867"/>
                    </a:lnTo>
                    <a:lnTo>
                      <a:pt x="3366" y="1863"/>
                    </a:lnTo>
                    <a:lnTo>
                      <a:pt x="3355" y="1861"/>
                    </a:lnTo>
                    <a:lnTo>
                      <a:pt x="3344" y="1860"/>
                    </a:lnTo>
                    <a:lnTo>
                      <a:pt x="3344" y="1860"/>
                    </a:lnTo>
                    <a:lnTo>
                      <a:pt x="3334" y="1861"/>
                    </a:lnTo>
                    <a:lnTo>
                      <a:pt x="3325" y="1863"/>
                    </a:lnTo>
                    <a:lnTo>
                      <a:pt x="3317" y="1868"/>
                    </a:lnTo>
                    <a:lnTo>
                      <a:pt x="3311" y="1874"/>
                    </a:lnTo>
                    <a:lnTo>
                      <a:pt x="3306" y="1882"/>
                    </a:lnTo>
                    <a:lnTo>
                      <a:pt x="3304" y="1891"/>
                    </a:lnTo>
                    <a:lnTo>
                      <a:pt x="3302" y="1904"/>
                    </a:lnTo>
                    <a:lnTo>
                      <a:pt x="3300" y="1917"/>
                    </a:lnTo>
                    <a:lnTo>
                      <a:pt x="3300" y="2049"/>
                    </a:lnTo>
                    <a:lnTo>
                      <a:pt x="3241" y="2049"/>
                    </a:lnTo>
                    <a:lnTo>
                      <a:pt x="3241" y="1805"/>
                    </a:lnTo>
                    <a:lnTo>
                      <a:pt x="3300" y="1805"/>
                    </a:lnTo>
                    <a:lnTo>
                      <a:pt x="3300" y="1826"/>
                    </a:lnTo>
                    <a:lnTo>
                      <a:pt x="3300" y="1826"/>
                    </a:lnTo>
                    <a:lnTo>
                      <a:pt x="3306" y="1820"/>
                    </a:lnTo>
                    <a:lnTo>
                      <a:pt x="3313" y="1814"/>
                    </a:lnTo>
                    <a:lnTo>
                      <a:pt x="3319" y="1810"/>
                    </a:lnTo>
                    <a:lnTo>
                      <a:pt x="3326" y="1806"/>
                    </a:lnTo>
                    <a:lnTo>
                      <a:pt x="3332" y="1803"/>
                    </a:lnTo>
                    <a:lnTo>
                      <a:pt x="3339" y="1801"/>
                    </a:lnTo>
                    <a:lnTo>
                      <a:pt x="3347" y="1800"/>
                    </a:lnTo>
                    <a:lnTo>
                      <a:pt x="3355" y="1799"/>
                    </a:lnTo>
                    <a:lnTo>
                      <a:pt x="3355" y="1799"/>
                    </a:lnTo>
                    <a:lnTo>
                      <a:pt x="3367" y="1800"/>
                    </a:lnTo>
                    <a:lnTo>
                      <a:pt x="3379" y="1804"/>
                    </a:lnTo>
                    <a:lnTo>
                      <a:pt x="3390" y="1807"/>
                    </a:lnTo>
                    <a:lnTo>
                      <a:pt x="3400" y="1814"/>
                    </a:lnTo>
                    <a:lnTo>
                      <a:pt x="3384" y="1873"/>
                    </a:lnTo>
                    <a:close/>
                    <a:moveTo>
                      <a:pt x="653" y="1747"/>
                    </a:moveTo>
                    <a:lnTo>
                      <a:pt x="653" y="1770"/>
                    </a:lnTo>
                    <a:lnTo>
                      <a:pt x="592" y="1770"/>
                    </a:lnTo>
                    <a:lnTo>
                      <a:pt x="592" y="1709"/>
                    </a:lnTo>
                    <a:lnTo>
                      <a:pt x="653" y="1709"/>
                    </a:lnTo>
                    <a:lnTo>
                      <a:pt x="653" y="1747"/>
                    </a:lnTo>
                    <a:close/>
                    <a:moveTo>
                      <a:pt x="1073" y="1805"/>
                    </a:moveTo>
                    <a:lnTo>
                      <a:pt x="1134" y="1805"/>
                    </a:lnTo>
                    <a:lnTo>
                      <a:pt x="1134" y="1930"/>
                    </a:lnTo>
                    <a:lnTo>
                      <a:pt x="1134" y="2049"/>
                    </a:lnTo>
                    <a:lnTo>
                      <a:pt x="1073" y="2049"/>
                    </a:lnTo>
                    <a:lnTo>
                      <a:pt x="1073" y="1805"/>
                    </a:lnTo>
                    <a:close/>
                    <a:moveTo>
                      <a:pt x="1134" y="1739"/>
                    </a:moveTo>
                    <a:lnTo>
                      <a:pt x="1134" y="1770"/>
                    </a:lnTo>
                    <a:lnTo>
                      <a:pt x="1073" y="1770"/>
                    </a:lnTo>
                    <a:lnTo>
                      <a:pt x="1073" y="1709"/>
                    </a:lnTo>
                    <a:lnTo>
                      <a:pt x="1134" y="1709"/>
                    </a:lnTo>
                    <a:lnTo>
                      <a:pt x="1134" y="1739"/>
                    </a:lnTo>
                    <a:close/>
                    <a:moveTo>
                      <a:pt x="2796" y="2250"/>
                    </a:moveTo>
                    <a:lnTo>
                      <a:pt x="2796" y="2250"/>
                    </a:lnTo>
                    <a:lnTo>
                      <a:pt x="2790" y="2245"/>
                    </a:lnTo>
                    <a:lnTo>
                      <a:pt x="2784" y="2240"/>
                    </a:lnTo>
                    <a:lnTo>
                      <a:pt x="2778" y="2237"/>
                    </a:lnTo>
                    <a:lnTo>
                      <a:pt x="2771" y="2233"/>
                    </a:lnTo>
                    <a:lnTo>
                      <a:pt x="2764" y="2231"/>
                    </a:lnTo>
                    <a:lnTo>
                      <a:pt x="2757" y="2229"/>
                    </a:lnTo>
                    <a:lnTo>
                      <a:pt x="2741" y="2227"/>
                    </a:lnTo>
                    <a:lnTo>
                      <a:pt x="2741" y="2227"/>
                    </a:lnTo>
                    <a:lnTo>
                      <a:pt x="2730" y="2228"/>
                    </a:lnTo>
                    <a:lnTo>
                      <a:pt x="2721" y="2229"/>
                    </a:lnTo>
                    <a:lnTo>
                      <a:pt x="2711" y="2233"/>
                    </a:lnTo>
                    <a:lnTo>
                      <a:pt x="2701" y="2237"/>
                    </a:lnTo>
                    <a:lnTo>
                      <a:pt x="2693" y="2241"/>
                    </a:lnTo>
                    <a:lnTo>
                      <a:pt x="2685" y="2246"/>
                    </a:lnTo>
                    <a:lnTo>
                      <a:pt x="2678" y="2254"/>
                    </a:lnTo>
                    <a:lnTo>
                      <a:pt x="2671" y="2261"/>
                    </a:lnTo>
                    <a:lnTo>
                      <a:pt x="2666" y="2269"/>
                    </a:lnTo>
                    <a:lnTo>
                      <a:pt x="2660" y="2279"/>
                    </a:lnTo>
                    <a:lnTo>
                      <a:pt x="2656" y="2289"/>
                    </a:lnTo>
                    <a:lnTo>
                      <a:pt x="2653" y="2301"/>
                    </a:lnTo>
                    <a:lnTo>
                      <a:pt x="2649" y="2312"/>
                    </a:lnTo>
                    <a:lnTo>
                      <a:pt x="2648" y="2325"/>
                    </a:lnTo>
                    <a:lnTo>
                      <a:pt x="2647" y="2339"/>
                    </a:lnTo>
                    <a:lnTo>
                      <a:pt x="2645" y="2353"/>
                    </a:lnTo>
                    <a:lnTo>
                      <a:pt x="2645" y="2353"/>
                    </a:lnTo>
                    <a:lnTo>
                      <a:pt x="2647" y="2368"/>
                    </a:lnTo>
                    <a:lnTo>
                      <a:pt x="2648" y="2381"/>
                    </a:lnTo>
                    <a:lnTo>
                      <a:pt x="2649" y="2395"/>
                    </a:lnTo>
                    <a:lnTo>
                      <a:pt x="2653" y="2408"/>
                    </a:lnTo>
                    <a:lnTo>
                      <a:pt x="2655" y="2419"/>
                    </a:lnTo>
                    <a:lnTo>
                      <a:pt x="2660" y="2430"/>
                    </a:lnTo>
                    <a:lnTo>
                      <a:pt x="2665" y="2440"/>
                    </a:lnTo>
                    <a:lnTo>
                      <a:pt x="2671" y="2448"/>
                    </a:lnTo>
                    <a:lnTo>
                      <a:pt x="2677" y="2457"/>
                    </a:lnTo>
                    <a:lnTo>
                      <a:pt x="2684" y="2463"/>
                    </a:lnTo>
                    <a:lnTo>
                      <a:pt x="2692" y="2469"/>
                    </a:lnTo>
                    <a:lnTo>
                      <a:pt x="2700" y="2474"/>
                    </a:lnTo>
                    <a:lnTo>
                      <a:pt x="2710" y="2479"/>
                    </a:lnTo>
                    <a:lnTo>
                      <a:pt x="2720" y="2481"/>
                    </a:lnTo>
                    <a:lnTo>
                      <a:pt x="2729" y="2482"/>
                    </a:lnTo>
                    <a:lnTo>
                      <a:pt x="2740" y="2483"/>
                    </a:lnTo>
                    <a:lnTo>
                      <a:pt x="2740" y="2483"/>
                    </a:lnTo>
                    <a:lnTo>
                      <a:pt x="2747" y="2482"/>
                    </a:lnTo>
                    <a:lnTo>
                      <a:pt x="2756" y="2481"/>
                    </a:lnTo>
                    <a:lnTo>
                      <a:pt x="2763" y="2480"/>
                    </a:lnTo>
                    <a:lnTo>
                      <a:pt x="2769" y="2477"/>
                    </a:lnTo>
                    <a:lnTo>
                      <a:pt x="2777" y="2474"/>
                    </a:lnTo>
                    <a:lnTo>
                      <a:pt x="2784" y="2470"/>
                    </a:lnTo>
                    <a:lnTo>
                      <a:pt x="2790" y="2465"/>
                    </a:lnTo>
                    <a:lnTo>
                      <a:pt x="2796" y="2459"/>
                    </a:lnTo>
                    <a:lnTo>
                      <a:pt x="2796" y="2477"/>
                    </a:lnTo>
                    <a:lnTo>
                      <a:pt x="2857" y="2477"/>
                    </a:lnTo>
                    <a:lnTo>
                      <a:pt x="2857" y="2131"/>
                    </a:lnTo>
                    <a:lnTo>
                      <a:pt x="2796" y="2161"/>
                    </a:lnTo>
                    <a:lnTo>
                      <a:pt x="2796" y="2250"/>
                    </a:lnTo>
                    <a:close/>
                    <a:moveTo>
                      <a:pt x="2754" y="2427"/>
                    </a:moveTo>
                    <a:lnTo>
                      <a:pt x="2754" y="2427"/>
                    </a:lnTo>
                    <a:lnTo>
                      <a:pt x="2745" y="2426"/>
                    </a:lnTo>
                    <a:lnTo>
                      <a:pt x="2738" y="2424"/>
                    </a:lnTo>
                    <a:lnTo>
                      <a:pt x="2729" y="2420"/>
                    </a:lnTo>
                    <a:lnTo>
                      <a:pt x="2722" y="2413"/>
                    </a:lnTo>
                    <a:lnTo>
                      <a:pt x="2716" y="2403"/>
                    </a:lnTo>
                    <a:lnTo>
                      <a:pt x="2711" y="2390"/>
                    </a:lnTo>
                    <a:lnTo>
                      <a:pt x="2709" y="2373"/>
                    </a:lnTo>
                    <a:lnTo>
                      <a:pt x="2707" y="2351"/>
                    </a:lnTo>
                    <a:lnTo>
                      <a:pt x="2707" y="2351"/>
                    </a:lnTo>
                    <a:lnTo>
                      <a:pt x="2709" y="2333"/>
                    </a:lnTo>
                    <a:lnTo>
                      <a:pt x="2711" y="2317"/>
                    </a:lnTo>
                    <a:lnTo>
                      <a:pt x="2716" y="2305"/>
                    </a:lnTo>
                    <a:lnTo>
                      <a:pt x="2722" y="2296"/>
                    </a:lnTo>
                    <a:lnTo>
                      <a:pt x="2729" y="2290"/>
                    </a:lnTo>
                    <a:lnTo>
                      <a:pt x="2737" y="2285"/>
                    </a:lnTo>
                    <a:lnTo>
                      <a:pt x="2745" y="2284"/>
                    </a:lnTo>
                    <a:lnTo>
                      <a:pt x="2752" y="2283"/>
                    </a:lnTo>
                    <a:lnTo>
                      <a:pt x="2752" y="2283"/>
                    </a:lnTo>
                    <a:lnTo>
                      <a:pt x="2761" y="2284"/>
                    </a:lnTo>
                    <a:lnTo>
                      <a:pt x="2768" y="2285"/>
                    </a:lnTo>
                    <a:lnTo>
                      <a:pt x="2774" y="2288"/>
                    </a:lnTo>
                    <a:lnTo>
                      <a:pt x="2780" y="2291"/>
                    </a:lnTo>
                    <a:lnTo>
                      <a:pt x="2785" y="2295"/>
                    </a:lnTo>
                    <a:lnTo>
                      <a:pt x="2790" y="2299"/>
                    </a:lnTo>
                    <a:lnTo>
                      <a:pt x="2796" y="2307"/>
                    </a:lnTo>
                    <a:lnTo>
                      <a:pt x="2796" y="2403"/>
                    </a:lnTo>
                    <a:lnTo>
                      <a:pt x="2796" y="2403"/>
                    </a:lnTo>
                    <a:lnTo>
                      <a:pt x="2789" y="2412"/>
                    </a:lnTo>
                    <a:lnTo>
                      <a:pt x="2780" y="2419"/>
                    </a:lnTo>
                    <a:lnTo>
                      <a:pt x="2774" y="2423"/>
                    </a:lnTo>
                    <a:lnTo>
                      <a:pt x="2768" y="2425"/>
                    </a:lnTo>
                    <a:lnTo>
                      <a:pt x="2761" y="2426"/>
                    </a:lnTo>
                    <a:lnTo>
                      <a:pt x="2754" y="2427"/>
                    </a:lnTo>
                    <a:lnTo>
                      <a:pt x="2754" y="2427"/>
                    </a:lnTo>
                    <a:close/>
                    <a:moveTo>
                      <a:pt x="740" y="2301"/>
                    </a:moveTo>
                    <a:lnTo>
                      <a:pt x="740" y="2301"/>
                    </a:lnTo>
                    <a:lnTo>
                      <a:pt x="732" y="2296"/>
                    </a:lnTo>
                    <a:lnTo>
                      <a:pt x="722" y="2291"/>
                    </a:lnTo>
                    <a:lnTo>
                      <a:pt x="711" y="2289"/>
                    </a:lnTo>
                    <a:lnTo>
                      <a:pt x="700" y="2288"/>
                    </a:lnTo>
                    <a:lnTo>
                      <a:pt x="700" y="2288"/>
                    </a:lnTo>
                    <a:lnTo>
                      <a:pt x="690" y="2289"/>
                    </a:lnTo>
                    <a:lnTo>
                      <a:pt x="680" y="2291"/>
                    </a:lnTo>
                    <a:lnTo>
                      <a:pt x="673" y="2296"/>
                    </a:lnTo>
                    <a:lnTo>
                      <a:pt x="667" y="2302"/>
                    </a:lnTo>
                    <a:lnTo>
                      <a:pt x="662" y="2310"/>
                    </a:lnTo>
                    <a:lnTo>
                      <a:pt x="660" y="2319"/>
                    </a:lnTo>
                    <a:lnTo>
                      <a:pt x="657" y="2331"/>
                    </a:lnTo>
                    <a:lnTo>
                      <a:pt x="656" y="2345"/>
                    </a:lnTo>
                    <a:lnTo>
                      <a:pt x="656" y="2477"/>
                    </a:lnTo>
                    <a:lnTo>
                      <a:pt x="597" y="2477"/>
                    </a:lnTo>
                    <a:lnTo>
                      <a:pt x="597" y="2233"/>
                    </a:lnTo>
                    <a:lnTo>
                      <a:pt x="656" y="2233"/>
                    </a:lnTo>
                    <a:lnTo>
                      <a:pt x="656" y="2254"/>
                    </a:lnTo>
                    <a:lnTo>
                      <a:pt x="656" y="2254"/>
                    </a:lnTo>
                    <a:lnTo>
                      <a:pt x="662" y="2248"/>
                    </a:lnTo>
                    <a:lnTo>
                      <a:pt x="668" y="2241"/>
                    </a:lnTo>
                    <a:lnTo>
                      <a:pt x="674" y="2238"/>
                    </a:lnTo>
                    <a:lnTo>
                      <a:pt x="682" y="2234"/>
                    </a:lnTo>
                    <a:lnTo>
                      <a:pt x="688" y="2231"/>
                    </a:lnTo>
                    <a:lnTo>
                      <a:pt x="695" y="2229"/>
                    </a:lnTo>
                    <a:lnTo>
                      <a:pt x="704" y="2228"/>
                    </a:lnTo>
                    <a:lnTo>
                      <a:pt x="711" y="2227"/>
                    </a:lnTo>
                    <a:lnTo>
                      <a:pt x="711" y="2227"/>
                    </a:lnTo>
                    <a:lnTo>
                      <a:pt x="723" y="2228"/>
                    </a:lnTo>
                    <a:lnTo>
                      <a:pt x="735" y="2232"/>
                    </a:lnTo>
                    <a:lnTo>
                      <a:pt x="747" y="2237"/>
                    </a:lnTo>
                    <a:lnTo>
                      <a:pt x="757" y="2243"/>
                    </a:lnTo>
                    <a:lnTo>
                      <a:pt x="740" y="2301"/>
                    </a:lnTo>
                    <a:close/>
                    <a:moveTo>
                      <a:pt x="265" y="2233"/>
                    </a:moveTo>
                    <a:lnTo>
                      <a:pt x="324" y="2233"/>
                    </a:lnTo>
                    <a:lnTo>
                      <a:pt x="255" y="2477"/>
                    </a:lnTo>
                    <a:lnTo>
                      <a:pt x="203" y="2477"/>
                    </a:lnTo>
                    <a:lnTo>
                      <a:pt x="176" y="2376"/>
                    </a:lnTo>
                    <a:lnTo>
                      <a:pt x="176" y="2376"/>
                    </a:lnTo>
                    <a:lnTo>
                      <a:pt x="163" y="2323"/>
                    </a:lnTo>
                    <a:lnTo>
                      <a:pt x="163" y="2323"/>
                    </a:lnTo>
                    <a:lnTo>
                      <a:pt x="157" y="2348"/>
                    </a:lnTo>
                    <a:lnTo>
                      <a:pt x="149" y="2378"/>
                    </a:lnTo>
                    <a:lnTo>
                      <a:pt x="122" y="2477"/>
                    </a:lnTo>
                    <a:lnTo>
                      <a:pt x="69" y="2477"/>
                    </a:lnTo>
                    <a:lnTo>
                      <a:pt x="69" y="2476"/>
                    </a:lnTo>
                    <a:lnTo>
                      <a:pt x="0" y="2233"/>
                    </a:lnTo>
                    <a:lnTo>
                      <a:pt x="63" y="2233"/>
                    </a:lnTo>
                    <a:lnTo>
                      <a:pt x="85" y="2324"/>
                    </a:lnTo>
                    <a:lnTo>
                      <a:pt x="85" y="2324"/>
                    </a:lnTo>
                    <a:lnTo>
                      <a:pt x="91" y="2353"/>
                    </a:lnTo>
                    <a:lnTo>
                      <a:pt x="97" y="2384"/>
                    </a:lnTo>
                    <a:lnTo>
                      <a:pt x="97" y="2384"/>
                    </a:lnTo>
                    <a:lnTo>
                      <a:pt x="105" y="2353"/>
                    </a:lnTo>
                    <a:lnTo>
                      <a:pt x="112" y="2323"/>
                    </a:lnTo>
                    <a:lnTo>
                      <a:pt x="137" y="2233"/>
                    </a:lnTo>
                    <a:lnTo>
                      <a:pt x="190" y="2233"/>
                    </a:lnTo>
                    <a:lnTo>
                      <a:pt x="215" y="2323"/>
                    </a:lnTo>
                    <a:lnTo>
                      <a:pt x="215" y="2323"/>
                    </a:lnTo>
                    <a:lnTo>
                      <a:pt x="222" y="2352"/>
                    </a:lnTo>
                    <a:lnTo>
                      <a:pt x="230" y="2385"/>
                    </a:lnTo>
                    <a:lnTo>
                      <a:pt x="230" y="2385"/>
                    </a:lnTo>
                    <a:lnTo>
                      <a:pt x="235" y="2357"/>
                    </a:lnTo>
                    <a:lnTo>
                      <a:pt x="242" y="2323"/>
                    </a:lnTo>
                    <a:lnTo>
                      <a:pt x="265" y="2233"/>
                    </a:lnTo>
                    <a:close/>
                    <a:moveTo>
                      <a:pt x="447" y="2227"/>
                    </a:moveTo>
                    <a:lnTo>
                      <a:pt x="447" y="2227"/>
                    </a:lnTo>
                    <a:lnTo>
                      <a:pt x="436" y="2228"/>
                    </a:lnTo>
                    <a:lnTo>
                      <a:pt x="424" y="2229"/>
                    </a:lnTo>
                    <a:lnTo>
                      <a:pt x="413" y="2233"/>
                    </a:lnTo>
                    <a:lnTo>
                      <a:pt x="403" y="2237"/>
                    </a:lnTo>
                    <a:lnTo>
                      <a:pt x="394" y="2241"/>
                    </a:lnTo>
                    <a:lnTo>
                      <a:pt x="384" y="2248"/>
                    </a:lnTo>
                    <a:lnTo>
                      <a:pt x="375" y="2255"/>
                    </a:lnTo>
                    <a:lnTo>
                      <a:pt x="368" y="2263"/>
                    </a:lnTo>
                    <a:lnTo>
                      <a:pt x="361" y="2272"/>
                    </a:lnTo>
                    <a:lnTo>
                      <a:pt x="355" y="2282"/>
                    </a:lnTo>
                    <a:lnTo>
                      <a:pt x="349" y="2293"/>
                    </a:lnTo>
                    <a:lnTo>
                      <a:pt x="345" y="2303"/>
                    </a:lnTo>
                    <a:lnTo>
                      <a:pt x="341" y="2316"/>
                    </a:lnTo>
                    <a:lnTo>
                      <a:pt x="339" y="2328"/>
                    </a:lnTo>
                    <a:lnTo>
                      <a:pt x="337" y="2341"/>
                    </a:lnTo>
                    <a:lnTo>
                      <a:pt x="337" y="2356"/>
                    </a:lnTo>
                    <a:lnTo>
                      <a:pt x="337" y="2356"/>
                    </a:lnTo>
                    <a:lnTo>
                      <a:pt x="337" y="2369"/>
                    </a:lnTo>
                    <a:lnTo>
                      <a:pt x="339" y="2382"/>
                    </a:lnTo>
                    <a:lnTo>
                      <a:pt x="341" y="2395"/>
                    </a:lnTo>
                    <a:lnTo>
                      <a:pt x="345" y="2407"/>
                    </a:lnTo>
                    <a:lnTo>
                      <a:pt x="349" y="2418"/>
                    </a:lnTo>
                    <a:lnTo>
                      <a:pt x="355" y="2429"/>
                    </a:lnTo>
                    <a:lnTo>
                      <a:pt x="361" y="2438"/>
                    </a:lnTo>
                    <a:lnTo>
                      <a:pt x="368" y="2447"/>
                    </a:lnTo>
                    <a:lnTo>
                      <a:pt x="375" y="2455"/>
                    </a:lnTo>
                    <a:lnTo>
                      <a:pt x="384" y="2463"/>
                    </a:lnTo>
                    <a:lnTo>
                      <a:pt x="394" y="2469"/>
                    </a:lnTo>
                    <a:lnTo>
                      <a:pt x="403" y="2474"/>
                    </a:lnTo>
                    <a:lnTo>
                      <a:pt x="413" y="2477"/>
                    </a:lnTo>
                    <a:lnTo>
                      <a:pt x="424" y="2481"/>
                    </a:lnTo>
                    <a:lnTo>
                      <a:pt x="436" y="2482"/>
                    </a:lnTo>
                    <a:lnTo>
                      <a:pt x="447" y="2483"/>
                    </a:lnTo>
                    <a:lnTo>
                      <a:pt x="447" y="2483"/>
                    </a:lnTo>
                    <a:lnTo>
                      <a:pt x="459" y="2482"/>
                    </a:lnTo>
                    <a:lnTo>
                      <a:pt x="471" y="2481"/>
                    </a:lnTo>
                    <a:lnTo>
                      <a:pt x="482" y="2477"/>
                    </a:lnTo>
                    <a:lnTo>
                      <a:pt x="492" y="2474"/>
                    </a:lnTo>
                    <a:lnTo>
                      <a:pt x="502" y="2469"/>
                    </a:lnTo>
                    <a:lnTo>
                      <a:pt x="512" y="2463"/>
                    </a:lnTo>
                    <a:lnTo>
                      <a:pt x="520" y="2455"/>
                    </a:lnTo>
                    <a:lnTo>
                      <a:pt x="527" y="2447"/>
                    </a:lnTo>
                    <a:lnTo>
                      <a:pt x="535" y="2438"/>
                    </a:lnTo>
                    <a:lnTo>
                      <a:pt x="541" y="2429"/>
                    </a:lnTo>
                    <a:lnTo>
                      <a:pt x="546" y="2418"/>
                    </a:lnTo>
                    <a:lnTo>
                      <a:pt x="550" y="2407"/>
                    </a:lnTo>
                    <a:lnTo>
                      <a:pt x="554" y="2395"/>
                    </a:lnTo>
                    <a:lnTo>
                      <a:pt x="557" y="2382"/>
                    </a:lnTo>
                    <a:lnTo>
                      <a:pt x="559" y="2369"/>
                    </a:lnTo>
                    <a:lnTo>
                      <a:pt x="559" y="2356"/>
                    </a:lnTo>
                    <a:lnTo>
                      <a:pt x="559" y="2356"/>
                    </a:lnTo>
                    <a:lnTo>
                      <a:pt x="559" y="2341"/>
                    </a:lnTo>
                    <a:lnTo>
                      <a:pt x="557" y="2328"/>
                    </a:lnTo>
                    <a:lnTo>
                      <a:pt x="554" y="2316"/>
                    </a:lnTo>
                    <a:lnTo>
                      <a:pt x="550" y="2303"/>
                    </a:lnTo>
                    <a:lnTo>
                      <a:pt x="546" y="2293"/>
                    </a:lnTo>
                    <a:lnTo>
                      <a:pt x="541" y="2282"/>
                    </a:lnTo>
                    <a:lnTo>
                      <a:pt x="535" y="2272"/>
                    </a:lnTo>
                    <a:lnTo>
                      <a:pt x="527" y="2263"/>
                    </a:lnTo>
                    <a:lnTo>
                      <a:pt x="520" y="2255"/>
                    </a:lnTo>
                    <a:lnTo>
                      <a:pt x="512" y="2248"/>
                    </a:lnTo>
                    <a:lnTo>
                      <a:pt x="502" y="2241"/>
                    </a:lnTo>
                    <a:lnTo>
                      <a:pt x="492" y="2237"/>
                    </a:lnTo>
                    <a:lnTo>
                      <a:pt x="482" y="2233"/>
                    </a:lnTo>
                    <a:lnTo>
                      <a:pt x="471" y="2229"/>
                    </a:lnTo>
                    <a:lnTo>
                      <a:pt x="459" y="2228"/>
                    </a:lnTo>
                    <a:lnTo>
                      <a:pt x="447" y="2227"/>
                    </a:lnTo>
                    <a:lnTo>
                      <a:pt x="447" y="2227"/>
                    </a:lnTo>
                    <a:close/>
                    <a:moveTo>
                      <a:pt x="447" y="2426"/>
                    </a:moveTo>
                    <a:lnTo>
                      <a:pt x="447" y="2426"/>
                    </a:lnTo>
                    <a:lnTo>
                      <a:pt x="436" y="2425"/>
                    </a:lnTo>
                    <a:lnTo>
                      <a:pt x="427" y="2421"/>
                    </a:lnTo>
                    <a:lnTo>
                      <a:pt x="419" y="2415"/>
                    </a:lnTo>
                    <a:lnTo>
                      <a:pt x="412" y="2407"/>
                    </a:lnTo>
                    <a:lnTo>
                      <a:pt x="406" y="2397"/>
                    </a:lnTo>
                    <a:lnTo>
                      <a:pt x="401" y="2385"/>
                    </a:lnTo>
                    <a:lnTo>
                      <a:pt x="399" y="2370"/>
                    </a:lnTo>
                    <a:lnTo>
                      <a:pt x="399" y="2356"/>
                    </a:lnTo>
                    <a:lnTo>
                      <a:pt x="399" y="2356"/>
                    </a:lnTo>
                    <a:lnTo>
                      <a:pt x="399" y="2340"/>
                    </a:lnTo>
                    <a:lnTo>
                      <a:pt x="401" y="2325"/>
                    </a:lnTo>
                    <a:lnTo>
                      <a:pt x="406" y="2314"/>
                    </a:lnTo>
                    <a:lnTo>
                      <a:pt x="412" y="2303"/>
                    </a:lnTo>
                    <a:lnTo>
                      <a:pt x="419" y="2295"/>
                    </a:lnTo>
                    <a:lnTo>
                      <a:pt x="427" y="2289"/>
                    </a:lnTo>
                    <a:lnTo>
                      <a:pt x="436" y="2285"/>
                    </a:lnTo>
                    <a:lnTo>
                      <a:pt x="447" y="2284"/>
                    </a:lnTo>
                    <a:lnTo>
                      <a:pt x="447" y="2284"/>
                    </a:lnTo>
                    <a:lnTo>
                      <a:pt x="458" y="2285"/>
                    </a:lnTo>
                    <a:lnTo>
                      <a:pt x="468" y="2289"/>
                    </a:lnTo>
                    <a:lnTo>
                      <a:pt x="476" y="2295"/>
                    </a:lnTo>
                    <a:lnTo>
                      <a:pt x="484" y="2303"/>
                    </a:lnTo>
                    <a:lnTo>
                      <a:pt x="490" y="2314"/>
                    </a:lnTo>
                    <a:lnTo>
                      <a:pt x="493" y="2325"/>
                    </a:lnTo>
                    <a:lnTo>
                      <a:pt x="496" y="2340"/>
                    </a:lnTo>
                    <a:lnTo>
                      <a:pt x="497" y="2356"/>
                    </a:lnTo>
                    <a:lnTo>
                      <a:pt x="497" y="2356"/>
                    </a:lnTo>
                    <a:lnTo>
                      <a:pt x="496" y="2370"/>
                    </a:lnTo>
                    <a:lnTo>
                      <a:pt x="493" y="2385"/>
                    </a:lnTo>
                    <a:lnTo>
                      <a:pt x="490" y="2397"/>
                    </a:lnTo>
                    <a:lnTo>
                      <a:pt x="484" y="2407"/>
                    </a:lnTo>
                    <a:lnTo>
                      <a:pt x="476" y="2415"/>
                    </a:lnTo>
                    <a:lnTo>
                      <a:pt x="468" y="2421"/>
                    </a:lnTo>
                    <a:lnTo>
                      <a:pt x="458" y="2425"/>
                    </a:lnTo>
                    <a:lnTo>
                      <a:pt x="447" y="2426"/>
                    </a:lnTo>
                    <a:lnTo>
                      <a:pt x="447" y="2426"/>
                    </a:lnTo>
                    <a:close/>
                    <a:moveTo>
                      <a:pt x="2498" y="2301"/>
                    </a:moveTo>
                    <a:lnTo>
                      <a:pt x="2498" y="2301"/>
                    </a:lnTo>
                    <a:lnTo>
                      <a:pt x="2489" y="2296"/>
                    </a:lnTo>
                    <a:lnTo>
                      <a:pt x="2479" y="2291"/>
                    </a:lnTo>
                    <a:lnTo>
                      <a:pt x="2468" y="2289"/>
                    </a:lnTo>
                    <a:lnTo>
                      <a:pt x="2458" y="2288"/>
                    </a:lnTo>
                    <a:lnTo>
                      <a:pt x="2458" y="2288"/>
                    </a:lnTo>
                    <a:lnTo>
                      <a:pt x="2447" y="2289"/>
                    </a:lnTo>
                    <a:lnTo>
                      <a:pt x="2439" y="2291"/>
                    </a:lnTo>
                    <a:lnTo>
                      <a:pt x="2432" y="2296"/>
                    </a:lnTo>
                    <a:lnTo>
                      <a:pt x="2425" y="2302"/>
                    </a:lnTo>
                    <a:lnTo>
                      <a:pt x="2421" y="2310"/>
                    </a:lnTo>
                    <a:lnTo>
                      <a:pt x="2417" y="2319"/>
                    </a:lnTo>
                    <a:lnTo>
                      <a:pt x="2415" y="2331"/>
                    </a:lnTo>
                    <a:lnTo>
                      <a:pt x="2415" y="2345"/>
                    </a:lnTo>
                    <a:lnTo>
                      <a:pt x="2415" y="2477"/>
                    </a:lnTo>
                    <a:lnTo>
                      <a:pt x="2354" y="2477"/>
                    </a:lnTo>
                    <a:lnTo>
                      <a:pt x="2354" y="2233"/>
                    </a:lnTo>
                    <a:lnTo>
                      <a:pt x="2415" y="2233"/>
                    </a:lnTo>
                    <a:lnTo>
                      <a:pt x="2415" y="2254"/>
                    </a:lnTo>
                    <a:lnTo>
                      <a:pt x="2415" y="2254"/>
                    </a:lnTo>
                    <a:lnTo>
                      <a:pt x="2419" y="2248"/>
                    </a:lnTo>
                    <a:lnTo>
                      <a:pt x="2425" y="2241"/>
                    </a:lnTo>
                    <a:lnTo>
                      <a:pt x="2432" y="2238"/>
                    </a:lnTo>
                    <a:lnTo>
                      <a:pt x="2439" y="2234"/>
                    </a:lnTo>
                    <a:lnTo>
                      <a:pt x="2446" y="2231"/>
                    </a:lnTo>
                    <a:lnTo>
                      <a:pt x="2453" y="2229"/>
                    </a:lnTo>
                    <a:lnTo>
                      <a:pt x="2461" y="2228"/>
                    </a:lnTo>
                    <a:lnTo>
                      <a:pt x="2468" y="2227"/>
                    </a:lnTo>
                    <a:lnTo>
                      <a:pt x="2468" y="2227"/>
                    </a:lnTo>
                    <a:lnTo>
                      <a:pt x="2480" y="2228"/>
                    </a:lnTo>
                    <a:lnTo>
                      <a:pt x="2492" y="2232"/>
                    </a:lnTo>
                    <a:lnTo>
                      <a:pt x="2504" y="2237"/>
                    </a:lnTo>
                    <a:lnTo>
                      <a:pt x="2514" y="2243"/>
                    </a:lnTo>
                    <a:lnTo>
                      <a:pt x="2498" y="2301"/>
                    </a:lnTo>
                    <a:close/>
                    <a:moveTo>
                      <a:pt x="2022" y="2233"/>
                    </a:moveTo>
                    <a:lnTo>
                      <a:pt x="2082" y="2233"/>
                    </a:lnTo>
                    <a:lnTo>
                      <a:pt x="2012" y="2477"/>
                    </a:lnTo>
                    <a:lnTo>
                      <a:pt x="1960" y="2477"/>
                    </a:lnTo>
                    <a:lnTo>
                      <a:pt x="1933" y="2376"/>
                    </a:lnTo>
                    <a:lnTo>
                      <a:pt x="1933" y="2376"/>
                    </a:lnTo>
                    <a:lnTo>
                      <a:pt x="1920" y="2323"/>
                    </a:lnTo>
                    <a:lnTo>
                      <a:pt x="1920" y="2323"/>
                    </a:lnTo>
                    <a:lnTo>
                      <a:pt x="1914" y="2348"/>
                    </a:lnTo>
                    <a:lnTo>
                      <a:pt x="1907" y="2378"/>
                    </a:lnTo>
                    <a:lnTo>
                      <a:pt x="1880" y="2477"/>
                    </a:lnTo>
                    <a:lnTo>
                      <a:pt x="1828" y="2477"/>
                    </a:lnTo>
                    <a:lnTo>
                      <a:pt x="1826" y="2476"/>
                    </a:lnTo>
                    <a:lnTo>
                      <a:pt x="1758" y="2233"/>
                    </a:lnTo>
                    <a:lnTo>
                      <a:pt x="1820" y="2233"/>
                    </a:lnTo>
                    <a:lnTo>
                      <a:pt x="1843" y="2324"/>
                    </a:lnTo>
                    <a:lnTo>
                      <a:pt x="1843" y="2324"/>
                    </a:lnTo>
                    <a:lnTo>
                      <a:pt x="1849" y="2353"/>
                    </a:lnTo>
                    <a:lnTo>
                      <a:pt x="1856" y="2384"/>
                    </a:lnTo>
                    <a:lnTo>
                      <a:pt x="1856" y="2384"/>
                    </a:lnTo>
                    <a:lnTo>
                      <a:pt x="1862" y="2353"/>
                    </a:lnTo>
                    <a:lnTo>
                      <a:pt x="1870" y="2323"/>
                    </a:lnTo>
                    <a:lnTo>
                      <a:pt x="1896" y="2233"/>
                    </a:lnTo>
                    <a:lnTo>
                      <a:pt x="1947" y="2233"/>
                    </a:lnTo>
                    <a:lnTo>
                      <a:pt x="1972" y="2323"/>
                    </a:lnTo>
                    <a:lnTo>
                      <a:pt x="1972" y="2323"/>
                    </a:lnTo>
                    <a:lnTo>
                      <a:pt x="1979" y="2352"/>
                    </a:lnTo>
                    <a:lnTo>
                      <a:pt x="1987" y="2385"/>
                    </a:lnTo>
                    <a:lnTo>
                      <a:pt x="1987" y="2385"/>
                    </a:lnTo>
                    <a:lnTo>
                      <a:pt x="1993" y="2357"/>
                    </a:lnTo>
                    <a:lnTo>
                      <a:pt x="2000" y="2323"/>
                    </a:lnTo>
                    <a:lnTo>
                      <a:pt x="2022" y="2233"/>
                    </a:lnTo>
                    <a:close/>
                    <a:moveTo>
                      <a:pt x="2204" y="2227"/>
                    </a:moveTo>
                    <a:lnTo>
                      <a:pt x="2204" y="2227"/>
                    </a:lnTo>
                    <a:lnTo>
                      <a:pt x="2193" y="2228"/>
                    </a:lnTo>
                    <a:lnTo>
                      <a:pt x="2181" y="2229"/>
                    </a:lnTo>
                    <a:lnTo>
                      <a:pt x="2170" y="2233"/>
                    </a:lnTo>
                    <a:lnTo>
                      <a:pt x="2161" y="2237"/>
                    </a:lnTo>
                    <a:lnTo>
                      <a:pt x="2151" y="2241"/>
                    </a:lnTo>
                    <a:lnTo>
                      <a:pt x="2141" y="2249"/>
                    </a:lnTo>
                    <a:lnTo>
                      <a:pt x="2133" y="2255"/>
                    </a:lnTo>
                    <a:lnTo>
                      <a:pt x="2125" y="2263"/>
                    </a:lnTo>
                    <a:lnTo>
                      <a:pt x="2118" y="2272"/>
                    </a:lnTo>
                    <a:lnTo>
                      <a:pt x="2112" y="2282"/>
                    </a:lnTo>
                    <a:lnTo>
                      <a:pt x="2106" y="2293"/>
                    </a:lnTo>
                    <a:lnTo>
                      <a:pt x="2102" y="2303"/>
                    </a:lnTo>
                    <a:lnTo>
                      <a:pt x="2099" y="2316"/>
                    </a:lnTo>
                    <a:lnTo>
                      <a:pt x="2095" y="2329"/>
                    </a:lnTo>
                    <a:lnTo>
                      <a:pt x="2094" y="2341"/>
                    </a:lnTo>
                    <a:lnTo>
                      <a:pt x="2094" y="2356"/>
                    </a:lnTo>
                    <a:lnTo>
                      <a:pt x="2094" y="2356"/>
                    </a:lnTo>
                    <a:lnTo>
                      <a:pt x="2094" y="2369"/>
                    </a:lnTo>
                    <a:lnTo>
                      <a:pt x="2095" y="2382"/>
                    </a:lnTo>
                    <a:lnTo>
                      <a:pt x="2099" y="2395"/>
                    </a:lnTo>
                    <a:lnTo>
                      <a:pt x="2102" y="2407"/>
                    </a:lnTo>
                    <a:lnTo>
                      <a:pt x="2106" y="2418"/>
                    </a:lnTo>
                    <a:lnTo>
                      <a:pt x="2112" y="2429"/>
                    </a:lnTo>
                    <a:lnTo>
                      <a:pt x="2118" y="2438"/>
                    </a:lnTo>
                    <a:lnTo>
                      <a:pt x="2125" y="2447"/>
                    </a:lnTo>
                    <a:lnTo>
                      <a:pt x="2133" y="2455"/>
                    </a:lnTo>
                    <a:lnTo>
                      <a:pt x="2141" y="2463"/>
                    </a:lnTo>
                    <a:lnTo>
                      <a:pt x="2151" y="2469"/>
                    </a:lnTo>
                    <a:lnTo>
                      <a:pt x="2161" y="2474"/>
                    </a:lnTo>
                    <a:lnTo>
                      <a:pt x="2170" y="2477"/>
                    </a:lnTo>
                    <a:lnTo>
                      <a:pt x="2181" y="2481"/>
                    </a:lnTo>
                    <a:lnTo>
                      <a:pt x="2193" y="2482"/>
                    </a:lnTo>
                    <a:lnTo>
                      <a:pt x="2204" y="2483"/>
                    </a:lnTo>
                    <a:lnTo>
                      <a:pt x="2204" y="2483"/>
                    </a:lnTo>
                    <a:lnTo>
                      <a:pt x="2216" y="2482"/>
                    </a:lnTo>
                    <a:lnTo>
                      <a:pt x="2229" y="2481"/>
                    </a:lnTo>
                    <a:lnTo>
                      <a:pt x="2240" y="2477"/>
                    </a:lnTo>
                    <a:lnTo>
                      <a:pt x="2249" y="2474"/>
                    </a:lnTo>
                    <a:lnTo>
                      <a:pt x="2259" y="2469"/>
                    </a:lnTo>
                    <a:lnTo>
                      <a:pt x="2269" y="2463"/>
                    </a:lnTo>
                    <a:lnTo>
                      <a:pt x="2277" y="2455"/>
                    </a:lnTo>
                    <a:lnTo>
                      <a:pt x="2284" y="2447"/>
                    </a:lnTo>
                    <a:lnTo>
                      <a:pt x="2292" y="2438"/>
                    </a:lnTo>
                    <a:lnTo>
                      <a:pt x="2298" y="2429"/>
                    </a:lnTo>
                    <a:lnTo>
                      <a:pt x="2303" y="2418"/>
                    </a:lnTo>
                    <a:lnTo>
                      <a:pt x="2308" y="2407"/>
                    </a:lnTo>
                    <a:lnTo>
                      <a:pt x="2311" y="2395"/>
                    </a:lnTo>
                    <a:lnTo>
                      <a:pt x="2314" y="2382"/>
                    </a:lnTo>
                    <a:lnTo>
                      <a:pt x="2316" y="2369"/>
                    </a:lnTo>
                    <a:lnTo>
                      <a:pt x="2316" y="2356"/>
                    </a:lnTo>
                    <a:lnTo>
                      <a:pt x="2316" y="2356"/>
                    </a:lnTo>
                    <a:lnTo>
                      <a:pt x="2316" y="2341"/>
                    </a:lnTo>
                    <a:lnTo>
                      <a:pt x="2314" y="2329"/>
                    </a:lnTo>
                    <a:lnTo>
                      <a:pt x="2311" y="2316"/>
                    </a:lnTo>
                    <a:lnTo>
                      <a:pt x="2308" y="2303"/>
                    </a:lnTo>
                    <a:lnTo>
                      <a:pt x="2303" y="2293"/>
                    </a:lnTo>
                    <a:lnTo>
                      <a:pt x="2298" y="2282"/>
                    </a:lnTo>
                    <a:lnTo>
                      <a:pt x="2292" y="2272"/>
                    </a:lnTo>
                    <a:lnTo>
                      <a:pt x="2284" y="2263"/>
                    </a:lnTo>
                    <a:lnTo>
                      <a:pt x="2277" y="2255"/>
                    </a:lnTo>
                    <a:lnTo>
                      <a:pt x="2269" y="2249"/>
                    </a:lnTo>
                    <a:lnTo>
                      <a:pt x="2259" y="2241"/>
                    </a:lnTo>
                    <a:lnTo>
                      <a:pt x="2249" y="2237"/>
                    </a:lnTo>
                    <a:lnTo>
                      <a:pt x="2240" y="2233"/>
                    </a:lnTo>
                    <a:lnTo>
                      <a:pt x="2229" y="2229"/>
                    </a:lnTo>
                    <a:lnTo>
                      <a:pt x="2216" y="2228"/>
                    </a:lnTo>
                    <a:lnTo>
                      <a:pt x="2204" y="2227"/>
                    </a:lnTo>
                    <a:lnTo>
                      <a:pt x="2204" y="2227"/>
                    </a:lnTo>
                    <a:close/>
                    <a:moveTo>
                      <a:pt x="2204" y="2426"/>
                    </a:moveTo>
                    <a:lnTo>
                      <a:pt x="2204" y="2426"/>
                    </a:lnTo>
                    <a:lnTo>
                      <a:pt x="2193" y="2425"/>
                    </a:lnTo>
                    <a:lnTo>
                      <a:pt x="2185" y="2421"/>
                    </a:lnTo>
                    <a:lnTo>
                      <a:pt x="2176" y="2415"/>
                    </a:lnTo>
                    <a:lnTo>
                      <a:pt x="2169" y="2407"/>
                    </a:lnTo>
                    <a:lnTo>
                      <a:pt x="2163" y="2397"/>
                    </a:lnTo>
                    <a:lnTo>
                      <a:pt x="2158" y="2385"/>
                    </a:lnTo>
                    <a:lnTo>
                      <a:pt x="2156" y="2370"/>
                    </a:lnTo>
                    <a:lnTo>
                      <a:pt x="2156" y="2356"/>
                    </a:lnTo>
                    <a:lnTo>
                      <a:pt x="2156" y="2356"/>
                    </a:lnTo>
                    <a:lnTo>
                      <a:pt x="2156" y="2340"/>
                    </a:lnTo>
                    <a:lnTo>
                      <a:pt x="2158" y="2327"/>
                    </a:lnTo>
                    <a:lnTo>
                      <a:pt x="2163" y="2314"/>
                    </a:lnTo>
                    <a:lnTo>
                      <a:pt x="2169" y="2303"/>
                    </a:lnTo>
                    <a:lnTo>
                      <a:pt x="2176" y="2295"/>
                    </a:lnTo>
                    <a:lnTo>
                      <a:pt x="2185" y="2289"/>
                    </a:lnTo>
                    <a:lnTo>
                      <a:pt x="2193" y="2285"/>
                    </a:lnTo>
                    <a:lnTo>
                      <a:pt x="2204" y="2284"/>
                    </a:lnTo>
                    <a:lnTo>
                      <a:pt x="2204" y="2284"/>
                    </a:lnTo>
                    <a:lnTo>
                      <a:pt x="2215" y="2285"/>
                    </a:lnTo>
                    <a:lnTo>
                      <a:pt x="2225" y="2289"/>
                    </a:lnTo>
                    <a:lnTo>
                      <a:pt x="2233" y="2295"/>
                    </a:lnTo>
                    <a:lnTo>
                      <a:pt x="2241" y="2303"/>
                    </a:lnTo>
                    <a:lnTo>
                      <a:pt x="2247" y="2314"/>
                    </a:lnTo>
                    <a:lnTo>
                      <a:pt x="2250" y="2327"/>
                    </a:lnTo>
                    <a:lnTo>
                      <a:pt x="2253" y="2340"/>
                    </a:lnTo>
                    <a:lnTo>
                      <a:pt x="2254" y="2356"/>
                    </a:lnTo>
                    <a:lnTo>
                      <a:pt x="2254" y="2356"/>
                    </a:lnTo>
                    <a:lnTo>
                      <a:pt x="2253" y="2370"/>
                    </a:lnTo>
                    <a:lnTo>
                      <a:pt x="2250" y="2385"/>
                    </a:lnTo>
                    <a:lnTo>
                      <a:pt x="2247" y="2397"/>
                    </a:lnTo>
                    <a:lnTo>
                      <a:pt x="2241" y="2407"/>
                    </a:lnTo>
                    <a:lnTo>
                      <a:pt x="2233" y="2415"/>
                    </a:lnTo>
                    <a:lnTo>
                      <a:pt x="2225" y="2421"/>
                    </a:lnTo>
                    <a:lnTo>
                      <a:pt x="2215" y="2425"/>
                    </a:lnTo>
                    <a:lnTo>
                      <a:pt x="2204" y="2426"/>
                    </a:lnTo>
                    <a:lnTo>
                      <a:pt x="2204" y="2426"/>
                    </a:lnTo>
                    <a:close/>
                    <a:moveTo>
                      <a:pt x="921" y="2313"/>
                    </a:moveTo>
                    <a:lnTo>
                      <a:pt x="995" y="2477"/>
                    </a:lnTo>
                    <a:lnTo>
                      <a:pt x="928" y="2477"/>
                    </a:lnTo>
                    <a:lnTo>
                      <a:pt x="877" y="2364"/>
                    </a:lnTo>
                    <a:lnTo>
                      <a:pt x="845" y="2404"/>
                    </a:lnTo>
                    <a:lnTo>
                      <a:pt x="845" y="2477"/>
                    </a:lnTo>
                    <a:lnTo>
                      <a:pt x="785" y="2477"/>
                    </a:lnTo>
                    <a:lnTo>
                      <a:pt x="785" y="2161"/>
                    </a:lnTo>
                    <a:lnTo>
                      <a:pt x="845" y="2131"/>
                    </a:lnTo>
                    <a:lnTo>
                      <a:pt x="845" y="2327"/>
                    </a:lnTo>
                    <a:lnTo>
                      <a:pt x="845" y="2327"/>
                    </a:lnTo>
                    <a:lnTo>
                      <a:pt x="868" y="2295"/>
                    </a:lnTo>
                    <a:lnTo>
                      <a:pt x="916" y="2233"/>
                    </a:lnTo>
                    <a:lnTo>
                      <a:pt x="987" y="2233"/>
                    </a:lnTo>
                    <a:lnTo>
                      <a:pt x="921" y="2313"/>
                    </a:lnTo>
                    <a:close/>
                    <a:moveTo>
                      <a:pt x="1208" y="2477"/>
                    </a:moveTo>
                    <a:lnTo>
                      <a:pt x="1147" y="2477"/>
                    </a:lnTo>
                    <a:lnTo>
                      <a:pt x="1147" y="2233"/>
                    </a:lnTo>
                    <a:lnTo>
                      <a:pt x="1208" y="2233"/>
                    </a:lnTo>
                    <a:lnTo>
                      <a:pt x="1208" y="2254"/>
                    </a:lnTo>
                    <a:lnTo>
                      <a:pt x="1208" y="2254"/>
                    </a:lnTo>
                    <a:lnTo>
                      <a:pt x="1214" y="2248"/>
                    </a:lnTo>
                    <a:lnTo>
                      <a:pt x="1220" y="2243"/>
                    </a:lnTo>
                    <a:lnTo>
                      <a:pt x="1227" y="2238"/>
                    </a:lnTo>
                    <a:lnTo>
                      <a:pt x="1235" y="2234"/>
                    </a:lnTo>
                    <a:lnTo>
                      <a:pt x="1243" y="2232"/>
                    </a:lnTo>
                    <a:lnTo>
                      <a:pt x="1252" y="2229"/>
                    </a:lnTo>
                    <a:lnTo>
                      <a:pt x="1260" y="2228"/>
                    </a:lnTo>
                    <a:lnTo>
                      <a:pt x="1270" y="2227"/>
                    </a:lnTo>
                    <a:lnTo>
                      <a:pt x="1270" y="2227"/>
                    </a:lnTo>
                    <a:lnTo>
                      <a:pt x="1281" y="2228"/>
                    </a:lnTo>
                    <a:lnTo>
                      <a:pt x="1290" y="2229"/>
                    </a:lnTo>
                    <a:lnTo>
                      <a:pt x="1299" y="2232"/>
                    </a:lnTo>
                    <a:lnTo>
                      <a:pt x="1309" y="2234"/>
                    </a:lnTo>
                    <a:lnTo>
                      <a:pt x="1316" y="2239"/>
                    </a:lnTo>
                    <a:lnTo>
                      <a:pt x="1323" y="2244"/>
                    </a:lnTo>
                    <a:lnTo>
                      <a:pt x="1331" y="2249"/>
                    </a:lnTo>
                    <a:lnTo>
                      <a:pt x="1337" y="2256"/>
                    </a:lnTo>
                    <a:lnTo>
                      <a:pt x="1342" y="2263"/>
                    </a:lnTo>
                    <a:lnTo>
                      <a:pt x="1346" y="2272"/>
                    </a:lnTo>
                    <a:lnTo>
                      <a:pt x="1350" y="2280"/>
                    </a:lnTo>
                    <a:lnTo>
                      <a:pt x="1354" y="2291"/>
                    </a:lnTo>
                    <a:lnTo>
                      <a:pt x="1356" y="2302"/>
                    </a:lnTo>
                    <a:lnTo>
                      <a:pt x="1357" y="2313"/>
                    </a:lnTo>
                    <a:lnTo>
                      <a:pt x="1359" y="2325"/>
                    </a:lnTo>
                    <a:lnTo>
                      <a:pt x="1360" y="2339"/>
                    </a:lnTo>
                    <a:lnTo>
                      <a:pt x="1360" y="2477"/>
                    </a:lnTo>
                    <a:lnTo>
                      <a:pt x="1299" y="2477"/>
                    </a:lnTo>
                    <a:lnTo>
                      <a:pt x="1299" y="2342"/>
                    </a:lnTo>
                    <a:lnTo>
                      <a:pt x="1299" y="2342"/>
                    </a:lnTo>
                    <a:lnTo>
                      <a:pt x="1298" y="2329"/>
                    </a:lnTo>
                    <a:lnTo>
                      <a:pt x="1297" y="2316"/>
                    </a:lnTo>
                    <a:lnTo>
                      <a:pt x="1293" y="2306"/>
                    </a:lnTo>
                    <a:lnTo>
                      <a:pt x="1288" y="2297"/>
                    </a:lnTo>
                    <a:lnTo>
                      <a:pt x="1282" y="2291"/>
                    </a:lnTo>
                    <a:lnTo>
                      <a:pt x="1275" y="2286"/>
                    </a:lnTo>
                    <a:lnTo>
                      <a:pt x="1265" y="2284"/>
                    </a:lnTo>
                    <a:lnTo>
                      <a:pt x="1254" y="2283"/>
                    </a:lnTo>
                    <a:lnTo>
                      <a:pt x="1254" y="2283"/>
                    </a:lnTo>
                    <a:lnTo>
                      <a:pt x="1244" y="2284"/>
                    </a:lnTo>
                    <a:lnTo>
                      <a:pt x="1235" y="2286"/>
                    </a:lnTo>
                    <a:lnTo>
                      <a:pt x="1226" y="2291"/>
                    </a:lnTo>
                    <a:lnTo>
                      <a:pt x="1220" y="2299"/>
                    </a:lnTo>
                    <a:lnTo>
                      <a:pt x="1215" y="2306"/>
                    </a:lnTo>
                    <a:lnTo>
                      <a:pt x="1212" y="2317"/>
                    </a:lnTo>
                    <a:lnTo>
                      <a:pt x="1209" y="2329"/>
                    </a:lnTo>
                    <a:lnTo>
                      <a:pt x="1208" y="2342"/>
                    </a:lnTo>
                    <a:lnTo>
                      <a:pt x="1208" y="2477"/>
                    </a:lnTo>
                    <a:close/>
                    <a:moveTo>
                      <a:pt x="1551" y="2250"/>
                    </a:moveTo>
                    <a:lnTo>
                      <a:pt x="1551" y="2250"/>
                    </a:lnTo>
                    <a:lnTo>
                      <a:pt x="1544" y="2245"/>
                    </a:lnTo>
                    <a:lnTo>
                      <a:pt x="1538" y="2240"/>
                    </a:lnTo>
                    <a:lnTo>
                      <a:pt x="1532" y="2237"/>
                    </a:lnTo>
                    <a:lnTo>
                      <a:pt x="1525" y="2233"/>
                    </a:lnTo>
                    <a:lnTo>
                      <a:pt x="1518" y="2231"/>
                    </a:lnTo>
                    <a:lnTo>
                      <a:pt x="1510" y="2229"/>
                    </a:lnTo>
                    <a:lnTo>
                      <a:pt x="1503" y="2228"/>
                    </a:lnTo>
                    <a:lnTo>
                      <a:pt x="1496" y="2227"/>
                    </a:lnTo>
                    <a:lnTo>
                      <a:pt x="1496" y="2227"/>
                    </a:lnTo>
                    <a:lnTo>
                      <a:pt x="1485" y="2228"/>
                    </a:lnTo>
                    <a:lnTo>
                      <a:pt x="1475" y="2229"/>
                    </a:lnTo>
                    <a:lnTo>
                      <a:pt x="1465" y="2232"/>
                    </a:lnTo>
                    <a:lnTo>
                      <a:pt x="1456" y="2237"/>
                    </a:lnTo>
                    <a:lnTo>
                      <a:pt x="1447" y="2240"/>
                    </a:lnTo>
                    <a:lnTo>
                      <a:pt x="1440" y="2246"/>
                    </a:lnTo>
                    <a:lnTo>
                      <a:pt x="1433" y="2254"/>
                    </a:lnTo>
                    <a:lnTo>
                      <a:pt x="1425" y="2261"/>
                    </a:lnTo>
                    <a:lnTo>
                      <a:pt x="1419" y="2269"/>
                    </a:lnTo>
                    <a:lnTo>
                      <a:pt x="1414" y="2279"/>
                    </a:lnTo>
                    <a:lnTo>
                      <a:pt x="1410" y="2289"/>
                    </a:lnTo>
                    <a:lnTo>
                      <a:pt x="1406" y="2301"/>
                    </a:lnTo>
                    <a:lnTo>
                      <a:pt x="1404" y="2312"/>
                    </a:lnTo>
                    <a:lnTo>
                      <a:pt x="1401" y="2325"/>
                    </a:lnTo>
                    <a:lnTo>
                      <a:pt x="1400" y="2339"/>
                    </a:lnTo>
                    <a:lnTo>
                      <a:pt x="1400" y="2352"/>
                    </a:lnTo>
                    <a:lnTo>
                      <a:pt x="1400" y="2352"/>
                    </a:lnTo>
                    <a:lnTo>
                      <a:pt x="1400" y="2368"/>
                    </a:lnTo>
                    <a:lnTo>
                      <a:pt x="1401" y="2381"/>
                    </a:lnTo>
                    <a:lnTo>
                      <a:pt x="1404" y="2395"/>
                    </a:lnTo>
                    <a:lnTo>
                      <a:pt x="1406" y="2408"/>
                    </a:lnTo>
                    <a:lnTo>
                      <a:pt x="1410" y="2419"/>
                    </a:lnTo>
                    <a:lnTo>
                      <a:pt x="1414" y="2430"/>
                    </a:lnTo>
                    <a:lnTo>
                      <a:pt x="1419" y="2440"/>
                    </a:lnTo>
                    <a:lnTo>
                      <a:pt x="1425" y="2448"/>
                    </a:lnTo>
                    <a:lnTo>
                      <a:pt x="1431" y="2457"/>
                    </a:lnTo>
                    <a:lnTo>
                      <a:pt x="1439" y="2463"/>
                    </a:lnTo>
                    <a:lnTo>
                      <a:pt x="1446" y="2469"/>
                    </a:lnTo>
                    <a:lnTo>
                      <a:pt x="1455" y="2474"/>
                    </a:lnTo>
                    <a:lnTo>
                      <a:pt x="1464" y="2477"/>
                    </a:lnTo>
                    <a:lnTo>
                      <a:pt x="1474" y="2481"/>
                    </a:lnTo>
                    <a:lnTo>
                      <a:pt x="1484" y="2482"/>
                    </a:lnTo>
                    <a:lnTo>
                      <a:pt x="1495" y="2483"/>
                    </a:lnTo>
                    <a:lnTo>
                      <a:pt x="1495" y="2483"/>
                    </a:lnTo>
                    <a:lnTo>
                      <a:pt x="1502" y="2482"/>
                    </a:lnTo>
                    <a:lnTo>
                      <a:pt x="1510" y="2481"/>
                    </a:lnTo>
                    <a:lnTo>
                      <a:pt x="1518" y="2480"/>
                    </a:lnTo>
                    <a:lnTo>
                      <a:pt x="1525" y="2477"/>
                    </a:lnTo>
                    <a:lnTo>
                      <a:pt x="1531" y="2474"/>
                    </a:lnTo>
                    <a:lnTo>
                      <a:pt x="1538" y="2470"/>
                    </a:lnTo>
                    <a:lnTo>
                      <a:pt x="1544" y="2465"/>
                    </a:lnTo>
                    <a:lnTo>
                      <a:pt x="1551" y="2459"/>
                    </a:lnTo>
                    <a:lnTo>
                      <a:pt x="1551" y="2465"/>
                    </a:lnTo>
                    <a:lnTo>
                      <a:pt x="1551" y="2465"/>
                    </a:lnTo>
                    <a:lnTo>
                      <a:pt x="1551" y="2475"/>
                    </a:lnTo>
                    <a:lnTo>
                      <a:pt x="1549" y="2486"/>
                    </a:lnTo>
                    <a:lnTo>
                      <a:pt x="1546" y="2497"/>
                    </a:lnTo>
                    <a:lnTo>
                      <a:pt x="1543" y="2502"/>
                    </a:lnTo>
                    <a:lnTo>
                      <a:pt x="1541" y="2506"/>
                    </a:lnTo>
                    <a:lnTo>
                      <a:pt x="1536" y="2511"/>
                    </a:lnTo>
                    <a:lnTo>
                      <a:pt x="1531" y="2516"/>
                    </a:lnTo>
                    <a:lnTo>
                      <a:pt x="1525" y="2520"/>
                    </a:lnTo>
                    <a:lnTo>
                      <a:pt x="1518" y="2524"/>
                    </a:lnTo>
                    <a:lnTo>
                      <a:pt x="1508" y="2526"/>
                    </a:lnTo>
                    <a:lnTo>
                      <a:pt x="1498" y="2528"/>
                    </a:lnTo>
                    <a:lnTo>
                      <a:pt x="1486" y="2530"/>
                    </a:lnTo>
                    <a:lnTo>
                      <a:pt x="1472" y="2530"/>
                    </a:lnTo>
                    <a:lnTo>
                      <a:pt x="1469" y="2530"/>
                    </a:lnTo>
                    <a:lnTo>
                      <a:pt x="1491" y="2577"/>
                    </a:lnTo>
                    <a:lnTo>
                      <a:pt x="1492" y="2577"/>
                    </a:lnTo>
                    <a:lnTo>
                      <a:pt x="1492" y="2577"/>
                    </a:lnTo>
                    <a:lnTo>
                      <a:pt x="1507" y="2577"/>
                    </a:lnTo>
                    <a:lnTo>
                      <a:pt x="1520" y="2576"/>
                    </a:lnTo>
                    <a:lnTo>
                      <a:pt x="1532" y="2572"/>
                    </a:lnTo>
                    <a:lnTo>
                      <a:pt x="1544" y="2570"/>
                    </a:lnTo>
                    <a:lnTo>
                      <a:pt x="1555" y="2565"/>
                    </a:lnTo>
                    <a:lnTo>
                      <a:pt x="1565" y="2560"/>
                    </a:lnTo>
                    <a:lnTo>
                      <a:pt x="1574" y="2554"/>
                    </a:lnTo>
                    <a:lnTo>
                      <a:pt x="1581" y="2547"/>
                    </a:lnTo>
                    <a:lnTo>
                      <a:pt x="1588" y="2538"/>
                    </a:lnTo>
                    <a:lnTo>
                      <a:pt x="1594" y="2530"/>
                    </a:lnTo>
                    <a:lnTo>
                      <a:pt x="1599" y="2519"/>
                    </a:lnTo>
                    <a:lnTo>
                      <a:pt x="1603" y="2508"/>
                    </a:lnTo>
                    <a:lnTo>
                      <a:pt x="1606" y="2497"/>
                    </a:lnTo>
                    <a:lnTo>
                      <a:pt x="1609" y="2483"/>
                    </a:lnTo>
                    <a:lnTo>
                      <a:pt x="1610" y="2470"/>
                    </a:lnTo>
                    <a:lnTo>
                      <a:pt x="1610" y="2455"/>
                    </a:lnTo>
                    <a:lnTo>
                      <a:pt x="1610" y="2233"/>
                    </a:lnTo>
                    <a:lnTo>
                      <a:pt x="1551" y="2233"/>
                    </a:lnTo>
                    <a:lnTo>
                      <a:pt x="1551" y="2250"/>
                    </a:lnTo>
                    <a:close/>
                    <a:moveTo>
                      <a:pt x="1551" y="2307"/>
                    </a:moveTo>
                    <a:lnTo>
                      <a:pt x="1551" y="2403"/>
                    </a:lnTo>
                    <a:lnTo>
                      <a:pt x="1551" y="2403"/>
                    </a:lnTo>
                    <a:lnTo>
                      <a:pt x="1542" y="2412"/>
                    </a:lnTo>
                    <a:lnTo>
                      <a:pt x="1534" y="2420"/>
                    </a:lnTo>
                    <a:lnTo>
                      <a:pt x="1527" y="2423"/>
                    </a:lnTo>
                    <a:lnTo>
                      <a:pt x="1521" y="2425"/>
                    </a:lnTo>
                    <a:lnTo>
                      <a:pt x="1515" y="2426"/>
                    </a:lnTo>
                    <a:lnTo>
                      <a:pt x="1507" y="2427"/>
                    </a:lnTo>
                    <a:lnTo>
                      <a:pt x="1507" y="2427"/>
                    </a:lnTo>
                    <a:lnTo>
                      <a:pt x="1499" y="2426"/>
                    </a:lnTo>
                    <a:lnTo>
                      <a:pt x="1491" y="2424"/>
                    </a:lnTo>
                    <a:lnTo>
                      <a:pt x="1484" y="2420"/>
                    </a:lnTo>
                    <a:lnTo>
                      <a:pt x="1476" y="2413"/>
                    </a:lnTo>
                    <a:lnTo>
                      <a:pt x="1470" y="2403"/>
                    </a:lnTo>
                    <a:lnTo>
                      <a:pt x="1465" y="2390"/>
                    </a:lnTo>
                    <a:lnTo>
                      <a:pt x="1463" y="2373"/>
                    </a:lnTo>
                    <a:lnTo>
                      <a:pt x="1462" y="2351"/>
                    </a:lnTo>
                    <a:lnTo>
                      <a:pt x="1462" y="2351"/>
                    </a:lnTo>
                    <a:lnTo>
                      <a:pt x="1463" y="2333"/>
                    </a:lnTo>
                    <a:lnTo>
                      <a:pt x="1465" y="2317"/>
                    </a:lnTo>
                    <a:lnTo>
                      <a:pt x="1470" y="2305"/>
                    </a:lnTo>
                    <a:lnTo>
                      <a:pt x="1476" y="2296"/>
                    </a:lnTo>
                    <a:lnTo>
                      <a:pt x="1484" y="2290"/>
                    </a:lnTo>
                    <a:lnTo>
                      <a:pt x="1491" y="2285"/>
                    </a:lnTo>
                    <a:lnTo>
                      <a:pt x="1499" y="2284"/>
                    </a:lnTo>
                    <a:lnTo>
                      <a:pt x="1507" y="2283"/>
                    </a:lnTo>
                    <a:lnTo>
                      <a:pt x="1507" y="2283"/>
                    </a:lnTo>
                    <a:lnTo>
                      <a:pt x="1515" y="2284"/>
                    </a:lnTo>
                    <a:lnTo>
                      <a:pt x="1523" y="2285"/>
                    </a:lnTo>
                    <a:lnTo>
                      <a:pt x="1529" y="2288"/>
                    </a:lnTo>
                    <a:lnTo>
                      <a:pt x="1535" y="2291"/>
                    </a:lnTo>
                    <a:lnTo>
                      <a:pt x="1540" y="2295"/>
                    </a:lnTo>
                    <a:lnTo>
                      <a:pt x="1543" y="2299"/>
                    </a:lnTo>
                    <a:lnTo>
                      <a:pt x="1551" y="2307"/>
                    </a:lnTo>
                    <a:lnTo>
                      <a:pt x="1551" y="2307"/>
                    </a:lnTo>
                    <a:close/>
                    <a:moveTo>
                      <a:pt x="1033" y="2233"/>
                    </a:moveTo>
                    <a:lnTo>
                      <a:pt x="1094" y="2233"/>
                    </a:lnTo>
                    <a:lnTo>
                      <a:pt x="1094" y="2341"/>
                    </a:lnTo>
                    <a:lnTo>
                      <a:pt x="1094" y="2477"/>
                    </a:lnTo>
                    <a:lnTo>
                      <a:pt x="1033" y="2477"/>
                    </a:lnTo>
                    <a:lnTo>
                      <a:pt x="1033" y="2233"/>
                    </a:lnTo>
                    <a:close/>
                    <a:moveTo>
                      <a:pt x="1094" y="2167"/>
                    </a:moveTo>
                    <a:lnTo>
                      <a:pt x="1094" y="2198"/>
                    </a:lnTo>
                    <a:lnTo>
                      <a:pt x="1033" y="2198"/>
                    </a:lnTo>
                    <a:lnTo>
                      <a:pt x="1033" y="2137"/>
                    </a:lnTo>
                    <a:lnTo>
                      <a:pt x="1094" y="2137"/>
                    </a:lnTo>
                    <a:lnTo>
                      <a:pt x="1094" y="2167"/>
                    </a:lnTo>
                    <a:close/>
                    <a:moveTo>
                      <a:pt x="2542" y="2161"/>
                    </a:moveTo>
                    <a:lnTo>
                      <a:pt x="2603" y="2131"/>
                    </a:lnTo>
                    <a:lnTo>
                      <a:pt x="2603" y="2352"/>
                    </a:lnTo>
                    <a:lnTo>
                      <a:pt x="2603" y="2477"/>
                    </a:lnTo>
                    <a:lnTo>
                      <a:pt x="2542" y="2477"/>
                    </a:lnTo>
                    <a:lnTo>
                      <a:pt x="2542" y="2161"/>
                    </a:lnTo>
                    <a:close/>
                    <a:moveTo>
                      <a:pt x="437" y="834"/>
                    </a:moveTo>
                    <a:lnTo>
                      <a:pt x="936" y="834"/>
                    </a:lnTo>
                    <a:lnTo>
                      <a:pt x="936" y="544"/>
                    </a:lnTo>
                    <a:lnTo>
                      <a:pt x="437" y="544"/>
                    </a:lnTo>
                    <a:lnTo>
                      <a:pt x="437" y="317"/>
                    </a:lnTo>
                    <a:lnTo>
                      <a:pt x="989" y="317"/>
                    </a:lnTo>
                    <a:lnTo>
                      <a:pt x="806" y="0"/>
                    </a:lnTo>
                    <a:lnTo>
                      <a:pt x="24" y="0"/>
                    </a:lnTo>
                    <a:lnTo>
                      <a:pt x="24" y="1378"/>
                    </a:lnTo>
                    <a:lnTo>
                      <a:pt x="1126" y="1378"/>
                    </a:lnTo>
                    <a:lnTo>
                      <a:pt x="1126" y="1061"/>
                    </a:lnTo>
                    <a:lnTo>
                      <a:pt x="437" y="1061"/>
                    </a:lnTo>
                    <a:lnTo>
                      <a:pt x="437" y="834"/>
                    </a:lnTo>
                    <a:close/>
                    <a:moveTo>
                      <a:pt x="1860" y="0"/>
                    </a:moveTo>
                    <a:lnTo>
                      <a:pt x="1626" y="450"/>
                    </a:lnTo>
                    <a:lnTo>
                      <a:pt x="1393" y="0"/>
                    </a:lnTo>
                    <a:lnTo>
                      <a:pt x="936" y="0"/>
                    </a:lnTo>
                    <a:lnTo>
                      <a:pt x="1417" y="834"/>
                    </a:lnTo>
                    <a:lnTo>
                      <a:pt x="1417" y="1378"/>
                    </a:lnTo>
                    <a:lnTo>
                      <a:pt x="1829" y="1378"/>
                    </a:lnTo>
                    <a:lnTo>
                      <a:pt x="1829" y="834"/>
                    </a:lnTo>
                    <a:lnTo>
                      <a:pt x="2311" y="0"/>
                    </a:lnTo>
                    <a:lnTo>
                      <a:pt x="18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</p:grpSp>
        <p:sp>
          <p:nvSpPr>
            <p:cNvPr id="42" name="Content Placeholder 5">
              <a:extLst>
                <a:ext uri="{FF2B5EF4-FFF2-40B4-BE49-F238E27FC236}">
                  <a16:creationId xmlns:a16="http://schemas.microsoft.com/office/drawing/2014/main" id="{59904723-3505-4489-88A0-2F54E77DAC3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28588" y="-12187"/>
              <a:ext cx="799089" cy="310587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Context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&amp; Scope</a:t>
              </a:r>
            </a:p>
          </p:txBody>
        </p:sp>
        <p:sp>
          <p:nvSpPr>
            <p:cNvPr id="43" name="Content Placeholder 5">
              <a:extLst>
                <a:ext uri="{FF2B5EF4-FFF2-40B4-BE49-F238E27FC236}">
                  <a16:creationId xmlns:a16="http://schemas.microsoft.com/office/drawing/2014/main" id="{233DD175-7183-4AE4-9881-2C36EA99C90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653573" y="1246"/>
              <a:ext cx="1008804" cy="283721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en-US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 Timeline</a:t>
              </a:r>
            </a:p>
          </p:txBody>
        </p:sp>
        <p:sp>
          <p:nvSpPr>
            <p:cNvPr id="44" name="Content Placeholder 5">
              <a:extLst>
                <a:ext uri="{FF2B5EF4-FFF2-40B4-BE49-F238E27FC236}">
                  <a16:creationId xmlns:a16="http://schemas.microsoft.com/office/drawing/2014/main" id="{09B95E0E-82DE-4799-8272-67A544B3D11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77810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Detailed Scope &amp; Assumptions</a:t>
              </a:r>
            </a:p>
          </p:txBody>
        </p:sp>
        <p:sp>
          <p:nvSpPr>
            <p:cNvPr id="45" name="Content Placeholder 5">
              <a:extLst>
                <a:ext uri="{FF2B5EF4-FFF2-40B4-BE49-F238E27FC236}">
                  <a16:creationId xmlns:a16="http://schemas.microsoft.com/office/drawing/2014/main" id="{40168E49-8C15-4E9B-9FEB-533743B34F0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97101" y="47457"/>
              <a:ext cx="1279397" cy="191298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Solution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roach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6" name="Content Placeholder 5">
              <a:extLst>
                <a:ext uri="{FF2B5EF4-FFF2-40B4-BE49-F238E27FC236}">
                  <a16:creationId xmlns:a16="http://schemas.microsoft.com/office/drawing/2014/main" id="{ECA90900-5B4F-4BEE-8176-5138E2A8299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45922" y="75112"/>
              <a:ext cx="1138227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ject Team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Governance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7" name="Content Placeholder 5">
              <a:extLst>
                <a:ext uri="{FF2B5EF4-FFF2-40B4-BE49-F238E27FC236}">
                  <a16:creationId xmlns:a16="http://schemas.microsoft.com/office/drawing/2014/main" id="{3758BF46-E905-4F40-84FE-7C81A639DA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31801" y="75112"/>
              <a:ext cx="1097554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Value Proposition</a:t>
              </a:r>
            </a:p>
          </p:txBody>
        </p:sp>
        <p:sp>
          <p:nvSpPr>
            <p:cNvPr id="48" name="Content Placeholder 5">
              <a:extLst>
                <a:ext uri="{FF2B5EF4-FFF2-40B4-BE49-F238E27FC236}">
                  <a16:creationId xmlns:a16="http://schemas.microsoft.com/office/drawing/2014/main" id="{B50F5E5B-8DF9-47E9-A674-1AAA8833A9C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734717" y="79567"/>
              <a:ext cx="773670" cy="12707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Teams Profiles</a:t>
              </a:r>
            </a:p>
          </p:txBody>
        </p:sp>
        <p:sp>
          <p:nvSpPr>
            <p:cNvPr id="49" name="Content Placeholder 5">
              <a:extLst>
                <a:ext uri="{FF2B5EF4-FFF2-40B4-BE49-F238E27FC236}">
                  <a16:creationId xmlns:a16="http://schemas.microsoft.com/office/drawing/2014/main" id="{08830926-0FCB-4C69-8E99-E72155289F5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98779" y="54928"/>
              <a:ext cx="866515" cy="1763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Credentials</a:t>
              </a:r>
            </a:p>
          </p:txBody>
        </p:sp>
        <p:sp>
          <p:nvSpPr>
            <p:cNvPr id="50" name="Content Placeholder 5">
              <a:extLst>
                <a:ext uri="{FF2B5EF4-FFF2-40B4-BE49-F238E27FC236}">
                  <a16:creationId xmlns:a16="http://schemas.microsoft.com/office/drawing/2014/main" id="{E553ED55-B3E9-44B8-957A-A33B89A79FF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229765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end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571956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833312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42960850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93025553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35486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3873468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480797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790311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195472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83393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71002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e libre : forme 27">
            <a:extLst>
              <a:ext uri="{FF2B5EF4-FFF2-40B4-BE49-F238E27FC236}">
                <a16:creationId xmlns:a16="http://schemas.microsoft.com/office/drawing/2014/main" id="{6BA73D43-5242-442B-A26F-B732C19FFFF6}"/>
              </a:ext>
            </a:extLst>
          </p:cNvPr>
          <p:cNvSpPr/>
          <p:nvPr userDrawn="1"/>
        </p:nvSpPr>
        <p:spPr>
          <a:xfrm>
            <a:off x="-792287" y="600412"/>
            <a:ext cx="1181100" cy="0"/>
          </a:xfrm>
          <a:custGeom>
            <a:avLst/>
            <a:gdLst>
              <a:gd name="connsiteX0" fmla="*/ 0 w 1181100"/>
              <a:gd name="connsiteY0" fmla="*/ 0 h 0"/>
              <a:gd name="connsiteX1" fmla="*/ 1181100 w 1181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81100">
                <a:moveTo>
                  <a:pt x="0" y="0"/>
                </a:moveTo>
                <a:lnTo>
                  <a:pt x="1181100" y="0"/>
                </a:lnTo>
              </a:path>
            </a:pathLst>
          </a:cu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BEC4C7E5-0360-4F1D-80C5-6806CF45D6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478450"/>
            <a:ext cx="11175818" cy="476462"/>
          </a:xfrm>
        </p:spPr>
        <p:txBody>
          <a:bodyPr numCol="1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lang="en-US" sz="1600" b="0" kern="1200" cap="none" baseline="0" noProof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marL="169790" indent="0">
              <a:buNone/>
              <a:defRPr/>
            </a:lvl2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Rectangle 36">
            <a:extLst>
              <a:ext uri="{FF2B5EF4-FFF2-40B4-BE49-F238E27FC236}">
                <a16:creationId xmlns:a16="http://schemas.microsoft.com/office/drawing/2014/main" id="{F8B37F8E-048D-4CE0-BE77-3E1D993EA694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99441" y="6544316"/>
            <a:ext cx="284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EY Consulting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54D1753-0EAF-41BC-ABF1-AFF24445A022}"/>
              </a:ext>
            </a:extLst>
          </p:cNvPr>
          <p:cNvGrpSpPr/>
          <p:nvPr userDrawn="1"/>
        </p:nvGrpSpPr>
        <p:grpSpPr>
          <a:xfrm>
            <a:off x="0" y="-2662"/>
            <a:ext cx="12212298" cy="362728"/>
            <a:chOff x="0" y="-12187"/>
            <a:chExt cx="12212298" cy="36272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E872043-9F0A-4438-A760-A3B56D423511}"/>
                </a:ext>
              </a:extLst>
            </p:cNvPr>
            <p:cNvGrpSpPr/>
            <p:nvPr userDrawn="1"/>
          </p:nvGrpSpPr>
          <p:grpSpPr>
            <a:xfrm>
              <a:off x="0" y="1"/>
              <a:ext cx="12192000" cy="350540"/>
              <a:chOff x="0" y="1"/>
              <a:chExt cx="12192000" cy="350540"/>
            </a:xfrm>
          </p:grpSpPr>
          <p:sp>
            <p:nvSpPr>
              <p:cNvPr id="50" name="AutoShape 4">
                <a:extLst>
                  <a:ext uri="{FF2B5EF4-FFF2-40B4-BE49-F238E27FC236}">
                    <a16:creationId xmlns:a16="http://schemas.microsoft.com/office/drawing/2014/main" id="{6AC3DA00-EE2D-4DD6-A237-CE3E583C06D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4680" y="68072"/>
                <a:ext cx="167539" cy="200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CDA18D30-1FE9-4EEB-956F-E86458B758C4}"/>
                  </a:ext>
                </a:extLst>
              </p:cNvPr>
              <p:cNvGrpSpPr/>
              <p:nvPr userDrawn="1"/>
            </p:nvGrpSpPr>
            <p:grpSpPr>
              <a:xfrm>
                <a:off x="0" y="1"/>
                <a:ext cx="12192000" cy="350540"/>
                <a:chOff x="0" y="1"/>
                <a:chExt cx="12192000" cy="350540"/>
              </a:xfrm>
            </p:grpSpPr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76A109A8-6230-4EA7-B59F-8C23296F3DDE}"/>
                    </a:ext>
                  </a:extLst>
                </p:cNvPr>
                <p:cNvSpPr/>
                <p:nvPr userDrawn="1"/>
              </p:nvSpPr>
              <p:spPr>
                <a:xfrm>
                  <a:off x="0" y="1"/>
                  <a:ext cx="12192000" cy="350540"/>
                </a:xfrm>
                <a:prstGeom prst="rect">
                  <a:avLst/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55AECED7-60E7-4522-B141-DDF15AE533DF}"/>
                    </a:ext>
                  </a:extLst>
                </p:cNvPr>
                <p:cNvGrpSpPr/>
                <p:nvPr userDrawn="1"/>
              </p:nvGrpSpPr>
              <p:grpSpPr>
                <a:xfrm>
                  <a:off x="81557" y="51130"/>
                  <a:ext cx="11861822" cy="211888"/>
                  <a:chOff x="81557" y="51130"/>
                  <a:chExt cx="11861822" cy="211888"/>
                </a:xfrm>
              </p:grpSpPr>
              <p:grpSp>
                <p:nvGrpSpPr>
                  <p:cNvPr id="55" name="Group 54">
                    <a:extLst>
                      <a:ext uri="{FF2B5EF4-FFF2-40B4-BE49-F238E27FC236}">
                        <a16:creationId xmlns:a16="http://schemas.microsoft.com/office/drawing/2014/main" id="{6A3A3360-CA67-471F-88F6-1D71EF0A66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81557" y="62687"/>
                    <a:ext cx="167539" cy="200331"/>
                    <a:chOff x="784680" y="68072"/>
                    <a:chExt cx="167539" cy="200331"/>
                  </a:xfrm>
                </p:grpSpPr>
                <p:sp>
                  <p:nvSpPr>
                    <p:cNvPr id="64" name="Freeform 6">
                      <a:extLst>
                        <a:ext uri="{FF2B5EF4-FFF2-40B4-BE49-F238E27FC236}">
                          <a16:creationId xmlns:a16="http://schemas.microsoft.com/office/drawing/2014/main" id="{0AF319B6-16EA-4D40-8C87-594FABA853F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84680" y="68072"/>
                      <a:ext cx="134278" cy="50020"/>
                    </a:xfrm>
                    <a:custGeom>
                      <a:avLst/>
                      <a:gdLst>
                        <a:gd name="T0" fmla="*/ 2723 w 2723"/>
                        <a:gd name="T1" fmla="*/ 0 h 994"/>
                        <a:gd name="T2" fmla="*/ 0 w 2723"/>
                        <a:gd name="T3" fmla="*/ 994 h 994"/>
                        <a:gd name="T4" fmla="*/ 2723 w 2723"/>
                        <a:gd name="T5" fmla="*/ 513 h 994"/>
                        <a:gd name="T6" fmla="*/ 2723 w 2723"/>
                        <a:gd name="T7" fmla="*/ 0 h 9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723" h="994">
                          <a:moveTo>
                            <a:pt x="2723" y="0"/>
                          </a:moveTo>
                          <a:lnTo>
                            <a:pt x="0" y="994"/>
                          </a:lnTo>
                          <a:lnTo>
                            <a:pt x="2723" y="513"/>
                          </a:lnTo>
                          <a:lnTo>
                            <a:pt x="2723" y="0"/>
                          </a:lnTo>
                          <a:close/>
                        </a:path>
                      </a:pathLst>
                    </a:custGeom>
                    <a:solidFill>
                      <a:srgbClr val="F7DF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  <p:sp>
                  <p:nvSpPr>
                    <p:cNvPr id="65" name="Freeform 7">
                      <a:extLst>
                        <a:ext uri="{FF2B5EF4-FFF2-40B4-BE49-F238E27FC236}">
                          <a16:creationId xmlns:a16="http://schemas.microsoft.com/office/drawing/2014/main" id="{17020107-DF7B-4611-8AB8-A55CAB8BB80D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84680" y="138954"/>
                      <a:ext cx="167539" cy="129449"/>
                    </a:xfrm>
                    <a:custGeom>
                      <a:avLst/>
                      <a:gdLst>
                        <a:gd name="T0" fmla="*/ 256 w 3400"/>
                        <a:gd name="T1" fmla="*/ 1749 h 2577"/>
                        <a:gd name="T2" fmla="*/ 278 w 3400"/>
                        <a:gd name="T3" fmla="*/ 1978 h 2577"/>
                        <a:gd name="T4" fmla="*/ 166 w 3400"/>
                        <a:gd name="T5" fmla="*/ 1993 h 2577"/>
                        <a:gd name="T6" fmla="*/ 386 w 3400"/>
                        <a:gd name="T7" fmla="*/ 1940 h 2577"/>
                        <a:gd name="T8" fmla="*/ 458 w 3400"/>
                        <a:gd name="T9" fmla="*/ 2046 h 2577"/>
                        <a:gd name="T10" fmla="*/ 1255 w 3400"/>
                        <a:gd name="T11" fmla="*/ 1820 h 2577"/>
                        <a:gd name="T12" fmla="*/ 1339 w 3400"/>
                        <a:gd name="T13" fmla="*/ 1914 h 2577"/>
                        <a:gd name="T14" fmla="*/ 767 w 3400"/>
                        <a:gd name="T15" fmla="*/ 1703 h 2577"/>
                        <a:gd name="T16" fmla="*/ 813 w 3400"/>
                        <a:gd name="T17" fmla="*/ 1884 h 2577"/>
                        <a:gd name="T18" fmla="*/ 947 w 3400"/>
                        <a:gd name="T19" fmla="*/ 2042 h 2577"/>
                        <a:gd name="T20" fmla="*/ 916 w 3400"/>
                        <a:gd name="T21" fmla="*/ 1855 h 2577"/>
                        <a:gd name="T22" fmla="*/ 2225 w 3400"/>
                        <a:gd name="T23" fmla="*/ 2049 h 2577"/>
                        <a:gd name="T24" fmla="*/ 2376 w 3400"/>
                        <a:gd name="T25" fmla="*/ 1924 h 2577"/>
                        <a:gd name="T26" fmla="*/ 2312 w 3400"/>
                        <a:gd name="T27" fmla="*/ 1906 h 2577"/>
                        <a:gd name="T28" fmla="*/ 2267 w 3400"/>
                        <a:gd name="T29" fmla="*/ 1855 h 2577"/>
                        <a:gd name="T30" fmla="*/ 1441 w 3400"/>
                        <a:gd name="T31" fmla="*/ 1911 h 2577"/>
                        <a:gd name="T32" fmla="*/ 1591 w 3400"/>
                        <a:gd name="T33" fmla="*/ 2031 h 2577"/>
                        <a:gd name="T34" fmla="*/ 1622 w 3400"/>
                        <a:gd name="T35" fmla="*/ 2119 h 2577"/>
                        <a:gd name="T36" fmla="*/ 1507 w 3400"/>
                        <a:gd name="T37" fmla="*/ 1962 h 2577"/>
                        <a:gd name="T38" fmla="*/ 1902 w 3400"/>
                        <a:gd name="T39" fmla="*/ 1848 h 2577"/>
                        <a:gd name="T40" fmla="*/ 1797 w 3400"/>
                        <a:gd name="T41" fmla="*/ 1958 h 2577"/>
                        <a:gd name="T42" fmla="*/ 2006 w 3400"/>
                        <a:gd name="T43" fmla="*/ 1884 h 2577"/>
                        <a:gd name="T44" fmla="*/ 1857 w 3400"/>
                        <a:gd name="T45" fmla="*/ 1968 h 2577"/>
                        <a:gd name="T46" fmla="*/ 1881 w 3400"/>
                        <a:gd name="T47" fmla="*/ 2002 h 2577"/>
                        <a:gd name="T48" fmla="*/ 2467 w 3400"/>
                        <a:gd name="T49" fmla="*/ 1946 h 2577"/>
                        <a:gd name="T50" fmla="*/ 2452 w 3400"/>
                        <a:gd name="T51" fmla="*/ 1821 h 2577"/>
                        <a:gd name="T52" fmla="*/ 2521 w 3400"/>
                        <a:gd name="T53" fmla="*/ 2055 h 2577"/>
                        <a:gd name="T54" fmla="*/ 2555 w 3400"/>
                        <a:gd name="T55" fmla="*/ 1883 h 2577"/>
                        <a:gd name="T56" fmla="*/ 3202 w 3400"/>
                        <a:gd name="T57" fmla="*/ 1928 h 2577"/>
                        <a:gd name="T58" fmla="*/ 3006 w 3400"/>
                        <a:gd name="T59" fmla="*/ 1854 h 2577"/>
                        <a:gd name="T60" fmla="*/ 3140 w 3400"/>
                        <a:gd name="T61" fmla="*/ 2049 h 2577"/>
                        <a:gd name="T62" fmla="*/ 2905 w 3400"/>
                        <a:gd name="T63" fmla="*/ 1964 h 2577"/>
                        <a:gd name="T64" fmla="*/ 2868 w 3400"/>
                        <a:gd name="T65" fmla="*/ 2041 h 2577"/>
                        <a:gd name="T66" fmla="*/ 2713 w 3400"/>
                        <a:gd name="T67" fmla="*/ 2051 h 2577"/>
                        <a:gd name="T68" fmla="*/ 2747 w 3400"/>
                        <a:gd name="T69" fmla="*/ 1996 h 2577"/>
                        <a:gd name="T70" fmla="*/ 3300 w 3400"/>
                        <a:gd name="T71" fmla="*/ 1805 h 2577"/>
                        <a:gd name="T72" fmla="*/ 1073 w 3400"/>
                        <a:gd name="T73" fmla="*/ 2049 h 2577"/>
                        <a:gd name="T74" fmla="*/ 2660 w 3400"/>
                        <a:gd name="T75" fmla="*/ 2279 h 2577"/>
                        <a:gd name="T76" fmla="*/ 2763 w 3400"/>
                        <a:gd name="T77" fmla="*/ 2480 h 2577"/>
                        <a:gd name="T78" fmla="*/ 2737 w 3400"/>
                        <a:gd name="T79" fmla="*/ 2285 h 2577"/>
                        <a:gd name="T80" fmla="*/ 690 w 3400"/>
                        <a:gd name="T81" fmla="*/ 2289 h 2577"/>
                        <a:gd name="T82" fmla="*/ 740 w 3400"/>
                        <a:gd name="T83" fmla="*/ 2301 h 2577"/>
                        <a:gd name="T84" fmla="*/ 222 w 3400"/>
                        <a:gd name="T85" fmla="*/ 2352 h 2577"/>
                        <a:gd name="T86" fmla="*/ 341 w 3400"/>
                        <a:gd name="T87" fmla="*/ 2395 h 2577"/>
                        <a:gd name="T88" fmla="*/ 554 w 3400"/>
                        <a:gd name="T89" fmla="*/ 2395 h 2577"/>
                        <a:gd name="T90" fmla="*/ 412 w 3400"/>
                        <a:gd name="T91" fmla="*/ 2407 h 2577"/>
                        <a:gd name="T92" fmla="*/ 484 w 3400"/>
                        <a:gd name="T93" fmla="*/ 2407 h 2577"/>
                        <a:gd name="T94" fmla="*/ 2419 w 3400"/>
                        <a:gd name="T95" fmla="*/ 2248 h 2577"/>
                        <a:gd name="T96" fmla="*/ 1758 w 3400"/>
                        <a:gd name="T97" fmla="*/ 2233 h 2577"/>
                        <a:gd name="T98" fmla="*/ 2133 w 3400"/>
                        <a:gd name="T99" fmla="*/ 2255 h 2577"/>
                        <a:gd name="T100" fmla="*/ 2204 w 3400"/>
                        <a:gd name="T101" fmla="*/ 2483 h 2577"/>
                        <a:gd name="T102" fmla="*/ 2269 w 3400"/>
                        <a:gd name="T103" fmla="*/ 2249 h 2577"/>
                        <a:gd name="T104" fmla="*/ 2204 w 3400"/>
                        <a:gd name="T105" fmla="*/ 2284 h 2577"/>
                        <a:gd name="T106" fmla="*/ 845 w 3400"/>
                        <a:gd name="T107" fmla="*/ 2131 h 2577"/>
                        <a:gd name="T108" fmla="*/ 1323 w 3400"/>
                        <a:gd name="T109" fmla="*/ 2244 h 2577"/>
                        <a:gd name="T110" fmla="*/ 1220 w 3400"/>
                        <a:gd name="T111" fmla="*/ 2299 h 2577"/>
                        <a:gd name="T112" fmla="*/ 1410 w 3400"/>
                        <a:gd name="T113" fmla="*/ 2289 h 2577"/>
                        <a:gd name="T114" fmla="*/ 1525 w 3400"/>
                        <a:gd name="T115" fmla="*/ 2477 h 2577"/>
                        <a:gd name="T116" fmla="*/ 1544 w 3400"/>
                        <a:gd name="T117" fmla="*/ 2570 h 2577"/>
                        <a:gd name="T118" fmla="*/ 1491 w 3400"/>
                        <a:gd name="T119" fmla="*/ 2424 h 2577"/>
                        <a:gd name="T120" fmla="*/ 1094 w 3400"/>
                        <a:gd name="T121" fmla="*/ 2341 h 2577"/>
                        <a:gd name="T122" fmla="*/ 437 w 3400"/>
                        <a:gd name="T123" fmla="*/ 1061 h 25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3400" h="2577">
                          <a:moveTo>
                            <a:pt x="283" y="1942"/>
                          </a:moveTo>
                          <a:lnTo>
                            <a:pt x="283" y="1942"/>
                          </a:lnTo>
                          <a:lnTo>
                            <a:pt x="283" y="1934"/>
                          </a:lnTo>
                          <a:lnTo>
                            <a:pt x="282" y="1927"/>
                          </a:lnTo>
                          <a:lnTo>
                            <a:pt x="278" y="1912"/>
                          </a:lnTo>
                          <a:lnTo>
                            <a:pt x="272" y="1900"/>
                          </a:lnTo>
                          <a:lnTo>
                            <a:pt x="265" y="1890"/>
                          </a:lnTo>
                          <a:lnTo>
                            <a:pt x="256" y="1883"/>
                          </a:lnTo>
                          <a:lnTo>
                            <a:pt x="248" y="1877"/>
                          </a:lnTo>
                          <a:lnTo>
                            <a:pt x="241" y="1872"/>
                          </a:lnTo>
                          <a:lnTo>
                            <a:pt x="233" y="1868"/>
                          </a:lnTo>
                          <a:lnTo>
                            <a:pt x="233" y="1868"/>
                          </a:lnTo>
                          <a:lnTo>
                            <a:pt x="242" y="1862"/>
                          </a:lnTo>
                          <a:lnTo>
                            <a:pt x="249" y="1856"/>
                          </a:lnTo>
                          <a:lnTo>
                            <a:pt x="255" y="1849"/>
                          </a:lnTo>
                          <a:lnTo>
                            <a:pt x="261" y="1840"/>
                          </a:lnTo>
                          <a:lnTo>
                            <a:pt x="266" y="1832"/>
                          </a:lnTo>
                          <a:lnTo>
                            <a:pt x="269" y="1822"/>
                          </a:lnTo>
                          <a:lnTo>
                            <a:pt x="271" y="1812"/>
                          </a:lnTo>
                          <a:lnTo>
                            <a:pt x="271" y="1801"/>
                          </a:lnTo>
                          <a:lnTo>
                            <a:pt x="271" y="1801"/>
                          </a:lnTo>
                          <a:lnTo>
                            <a:pt x="271" y="1792"/>
                          </a:lnTo>
                          <a:lnTo>
                            <a:pt x="270" y="1782"/>
                          </a:lnTo>
                          <a:lnTo>
                            <a:pt x="267" y="1773"/>
                          </a:lnTo>
                          <a:lnTo>
                            <a:pt x="265" y="1765"/>
                          </a:lnTo>
                          <a:lnTo>
                            <a:pt x="261" y="1756"/>
                          </a:lnTo>
                          <a:lnTo>
                            <a:pt x="256" y="1749"/>
                          </a:lnTo>
                          <a:lnTo>
                            <a:pt x="250" y="1743"/>
                          </a:lnTo>
                          <a:lnTo>
                            <a:pt x="244" y="1737"/>
                          </a:lnTo>
                          <a:lnTo>
                            <a:pt x="237" y="1732"/>
                          </a:lnTo>
                          <a:lnTo>
                            <a:pt x="230" y="1727"/>
                          </a:lnTo>
                          <a:lnTo>
                            <a:pt x="221" y="1724"/>
                          </a:lnTo>
                          <a:lnTo>
                            <a:pt x="211" y="1720"/>
                          </a:lnTo>
                          <a:lnTo>
                            <a:pt x="202" y="1718"/>
                          </a:lnTo>
                          <a:lnTo>
                            <a:pt x="191" y="1715"/>
                          </a:lnTo>
                          <a:lnTo>
                            <a:pt x="180" y="1715"/>
                          </a:lnTo>
                          <a:lnTo>
                            <a:pt x="168" y="1714"/>
                          </a:lnTo>
                          <a:lnTo>
                            <a:pt x="24" y="1714"/>
                          </a:lnTo>
                          <a:lnTo>
                            <a:pt x="24" y="2049"/>
                          </a:lnTo>
                          <a:lnTo>
                            <a:pt x="166" y="2049"/>
                          </a:lnTo>
                          <a:lnTo>
                            <a:pt x="166" y="2049"/>
                          </a:lnTo>
                          <a:lnTo>
                            <a:pt x="180" y="2049"/>
                          </a:lnTo>
                          <a:lnTo>
                            <a:pt x="192" y="2048"/>
                          </a:lnTo>
                          <a:lnTo>
                            <a:pt x="204" y="2046"/>
                          </a:lnTo>
                          <a:lnTo>
                            <a:pt x="215" y="2042"/>
                          </a:lnTo>
                          <a:lnTo>
                            <a:pt x="226" y="2038"/>
                          </a:lnTo>
                          <a:lnTo>
                            <a:pt x="236" y="2034"/>
                          </a:lnTo>
                          <a:lnTo>
                            <a:pt x="244" y="2028"/>
                          </a:lnTo>
                          <a:lnTo>
                            <a:pt x="252" y="2021"/>
                          </a:lnTo>
                          <a:lnTo>
                            <a:pt x="259" y="2014"/>
                          </a:lnTo>
                          <a:lnTo>
                            <a:pt x="265" y="2006"/>
                          </a:lnTo>
                          <a:lnTo>
                            <a:pt x="271" y="1997"/>
                          </a:lnTo>
                          <a:lnTo>
                            <a:pt x="275" y="1987"/>
                          </a:lnTo>
                          <a:lnTo>
                            <a:pt x="278" y="1978"/>
                          </a:lnTo>
                          <a:lnTo>
                            <a:pt x="281" y="1967"/>
                          </a:lnTo>
                          <a:lnTo>
                            <a:pt x="282" y="1955"/>
                          </a:lnTo>
                          <a:lnTo>
                            <a:pt x="283" y="1942"/>
                          </a:lnTo>
                          <a:lnTo>
                            <a:pt x="283" y="1942"/>
                          </a:lnTo>
                          <a:close/>
                          <a:moveTo>
                            <a:pt x="166" y="1993"/>
                          </a:moveTo>
                          <a:lnTo>
                            <a:pt x="86" y="1993"/>
                          </a:lnTo>
                          <a:lnTo>
                            <a:pt x="86" y="1897"/>
                          </a:lnTo>
                          <a:lnTo>
                            <a:pt x="166" y="1897"/>
                          </a:lnTo>
                          <a:lnTo>
                            <a:pt x="166" y="1897"/>
                          </a:lnTo>
                          <a:lnTo>
                            <a:pt x="179" y="1899"/>
                          </a:lnTo>
                          <a:lnTo>
                            <a:pt x="188" y="1900"/>
                          </a:lnTo>
                          <a:lnTo>
                            <a:pt x="197" y="1904"/>
                          </a:lnTo>
                          <a:lnTo>
                            <a:pt x="204" y="1910"/>
                          </a:lnTo>
                          <a:lnTo>
                            <a:pt x="210" y="1916"/>
                          </a:lnTo>
                          <a:lnTo>
                            <a:pt x="214" y="1924"/>
                          </a:lnTo>
                          <a:lnTo>
                            <a:pt x="216" y="1934"/>
                          </a:lnTo>
                          <a:lnTo>
                            <a:pt x="218" y="1945"/>
                          </a:lnTo>
                          <a:lnTo>
                            <a:pt x="218" y="1945"/>
                          </a:lnTo>
                          <a:lnTo>
                            <a:pt x="216" y="1956"/>
                          </a:lnTo>
                          <a:lnTo>
                            <a:pt x="214" y="1966"/>
                          </a:lnTo>
                          <a:lnTo>
                            <a:pt x="209" y="1974"/>
                          </a:lnTo>
                          <a:lnTo>
                            <a:pt x="204" y="1980"/>
                          </a:lnTo>
                          <a:lnTo>
                            <a:pt x="197" y="1986"/>
                          </a:lnTo>
                          <a:lnTo>
                            <a:pt x="188" y="1990"/>
                          </a:lnTo>
                          <a:lnTo>
                            <a:pt x="177" y="1992"/>
                          </a:lnTo>
                          <a:lnTo>
                            <a:pt x="166" y="1993"/>
                          </a:lnTo>
                          <a:lnTo>
                            <a:pt x="166" y="1993"/>
                          </a:lnTo>
                          <a:close/>
                          <a:moveTo>
                            <a:pt x="165" y="1843"/>
                          </a:moveTo>
                          <a:lnTo>
                            <a:pt x="86" y="1843"/>
                          </a:lnTo>
                          <a:lnTo>
                            <a:pt x="86" y="1771"/>
                          </a:lnTo>
                          <a:lnTo>
                            <a:pt x="163" y="1771"/>
                          </a:lnTo>
                          <a:lnTo>
                            <a:pt x="163" y="1771"/>
                          </a:lnTo>
                          <a:lnTo>
                            <a:pt x="173" y="1772"/>
                          </a:lnTo>
                          <a:lnTo>
                            <a:pt x="182" y="1773"/>
                          </a:lnTo>
                          <a:lnTo>
                            <a:pt x="190" y="1776"/>
                          </a:lnTo>
                          <a:lnTo>
                            <a:pt x="196" y="1780"/>
                          </a:lnTo>
                          <a:lnTo>
                            <a:pt x="201" y="1786"/>
                          </a:lnTo>
                          <a:lnTo>
                            <a:pt x="204" y="1792"/>
                          </a:lnTo>
                          <a:lnTo>
                            <a:pt x="205" y="1799"/>
                          </a:lnTo>
                          <a:lnTo>
                            <a:pt x="207" y="1807"/>
                          </a:lnTo>
                          <a:lnTo>
                            <a:pt x="207" y="1807"/>
                          </a:lnTo>
                          <a:lnTo>
                            <a:pt x="207" y="1814"/>
                          </a:lnTo>
                          <a:lnTo>
                            <a:pt x="205" y="1820"/>
                          </a:lnTo>
                          <a:lnTo>
                            <a:pt x="203" y="1826"/>
                          </a:lnTo>
                          <a:lnTo>
                            <a:pt x="199" y="1831"/>
                          </a:lnTo>
                          <a:lnTo>
                            <a:pt x="193" y="1835"/>
                          </a:lnTo>
                          <a:lnTo>
                            <a:pt x="186" y="1839"/>
                          </a:lnTo>
                          <a:lnTo>
                            <a:pt x="177" y="1842"/>
                          </a:lnTo>
                          <a:lnTo>
                            <a:pt x="165" y="1843"/>
                          </a:lnTo>
                          <a:lnTo>
                            <a:pt x="165" y="1843"/>
                          </a:lnTo>
                          <a:close/>
                          <a:moveTo>
                            <a:pt x="326" y="1944"/>
                          </a:moveTo>
                          <a:lnTo>
                            <a:pt x="326" y="1805"/>
                          </a:lnTo>
                          <a:lnTo>
                            <a:pt x="386" y="1805"/>
                          </a:lnTo>
                          <a:lnTo>
                            <a:pt x="386" y="1940"/>
                          </a:lnTo>
                          <a:lnTo>
                            <a:pt x="386" y="1940"/>
                          </a:lnTo>
                          <a:lnTo>
                            <a:pt x="386" y="1953"/>
                          </a:lnTo>
                          <a:lnTo>
                            <a:pt x="389" y="1967"/>
                          </a:lnTo>
                          <a:lnTo>
                            <a:pt x="392" y="1976"/>
                          </a:lnTo>
                          <a:lnTo>
                            <a:pt x="397" y="1985"/>
                          </a:lnTo>
                          <a:lnTo>
                            <a:pt x="403" y="1991"/>
                          </a:lnTo>
                          <a:lnTo>
                            <a:pt x="411" y="1996"/>
                          </a:lnTo>
                          <a:lnTo>
                            <a:pt x="420" y="1998"/>
                          </a:lnTo>
                          <a:lnTo>
                            <a:pt x="431" y="2000"/>
                          </a:lnTo>
                          <a:lnTo>
                            <a:pt x="431" y="2000"/>
                          </a:lnTo>
                          <a:lnTo>
                            <a:pt x="442" y="1998"/>
                          </a:lnTo>
                          <a:lnTo>
                            <a:pt x="451" y="1996"/>
                          </a:lnTo>
                          <a:lnTo>
                            <a:pt x="459" y="1991"/>
                          </a:lnTo>
                          <a:lnTo>
                            <a:pt x="465" y="1985"/>
                          </a:lnTo>
                          <a:lnTo>
                            <a:pt x="470" y="1976"/>
                          </a:lnTo>
                          <a:lnTo>
                            <a:pt x="474" y="1966"/>
                          </a:lnTo>
                          <a:lnTo>
                            <a:pt x="476" y="1953"/>
                          </a:lnTo>
                          <a:lnTo>
                            <a:pt x="476" y="1940"/>
                          </a:lnTo>
                          <a:lnTo>
                            <a:pt x="476" y="1805"/>
                          </a:lnTo>
                          <a:lnTo>
                            <a:pt x="537" y="1805"/>
                          </a:lnTo>
                          <a:lnTo>
                            <a:pt x="537" y="2049"/>
                          </a:lnTo>
                          <a:lnTo>
                            <a:pt x="476" y="2049"/>
                          </a:lnTo>
                          <a:lnTo>
                            <a:pt x="476" y="2030"/>
                          </a:lnTo>
                          <a:lnTo>
                            <a:pt x="476" y="2030"/>
                          </a:lnTo>
                          <a:lnTo>
                            <a:pt x="471" y="2036"/>
                          </a:lnTo>
                          <a:lnTo>
                            <a:pt x="464" y="2041"/>
                          </a:lnTo>
                          <a:lnTo>
                            <a:pt x="458" y="2046"/>
                          </a:lnTo>
                          <a:lnTo>
                            <a:pt x="451" y="2048"/>
                          </a:lnTo>
                          <a:lnTo>
                            <a:pt x="444" y="2052"/>
                          </a:lnTo>
                          <a:lnTo>
                            <a:pt x="435" y="2053"/>
                          </a:lnTo>
                          <a:lnTo>
                            <a:pt x="427" y="2054"/>
                          </a:lnTo>
                          <a:lnTo>
                            <a:pt x="418" y="2055"/>
                          </a:lnTo>
                          <a:lnTo>
                            <a:pt x="418" y="2055"/>
                          </a:lnTo>
                          <a:lnTo>
                            <a:pt x="403" y="2054"/>
                          </a:lnTo>
                          <a:lnTo>
                            <a:pt x="391" y="2052"/>
                          </a:lnTo>
                          <a:lnTo>
                            <a:pt x="380" y="2048"/>
                          </a:lnTo>
                          <a:lnTo>
                            <a:pt x="369" y="2043"/>
                          </a:lnTo>
                          <a:lnTo>
                            <a:pt x="361" y="2037"/>
                          </a:lnTo>
                          <a:lnTo>
                            <a:pt x="354" y="2031"/>
                          </a:lnTo>
                          <a:lnTo>
                            <a:pt x="348" y="2023"/>
                          </a:lnTo>
                          <a:lnTo>
                            <a:pt x="341" y="2014"/>
                          </a:lnTo>
                          <a:lnTo>
                            <a:pt x="338" y="2006"/>
                          </a:lnTo>
                          <a:lnTo>
                            <a:pt x="334" y="1997"/>
                          </a:lnTo>
                          <a:lnTo>
                            <a:pt x="329" y="1978"/>
                          </a:lnTo>
                          <a:lnTo>
                            <a:pt x="327" y="1959"/>
                          </a:lnTo>
                          <a:lnTo>
                            <a:pt x="326" y="1944"/>
                          </a:lnTo>
                          <a:lnTo>
                            <a:pt x="326" y="1944"/>
                          </a:lnTo>
                          <a:close/>
                          <a:moveTo>
                            <a:pt x="1249" y="2049"/>
                          </a:moveTo>
                          <a:lnTo>
                            <a:pt x="1188" y="2049"/>
                          </a:lnTo>
                          <a:lnTo>
                            <a:pt x="1188" y="1805"/>
                          </a:lnTo>
                          <a:lnTo>
                            <a:pt x="1249" y="1805"/>
                          </a:lnTo>
                          <a:lnTo>
                            <a:pt x="1249" y="1826"/>
                          </a:lnTo>
                          <a:lnTo>
                            <a:pt x="1249" y="1826"/>
                          </a:lnTo>
                          <a:lnTo>
                            <a:pt x="1255" y="1820"/>
                          </a:lnTo>
                          <a:lnTo>
                            <a:pt x="1261" y="1814"/>
                          </a:lnTo>
                          <a:lnTo>
                            <a:pt x="1269" y="1810"/>
                          </a:lnTo>
                          <a:lnTo>
                            <a:pt x="1276" y="1806"/>
                          </a:lnTo>
                          <a:lnTo>
                            <a:pt x="1284" y="1803"/>
                          </a:lnTo>
                          <a:lnTo>
                            <a:pt x="1292" y="1801"/>
                          </a:lnTo>
                          <a:lnTo>
                            <a:pt x="1301" y="1800"/>
                          </a:lnTo>
                          <a:lnTo>
                            <a:pt x="1310" y="1799"/>
                          </a:lnTo>
                          <a:lnTo>
                            <a:pt x="1310" y="1799"/>
                          </a:lnTo>
                          <a:lnTo>
                            <a:pt x="1321" y="1800"/>
                          </a:lnTo>
                          <a:lnTo>
                            <a:pt x="1331" y="1801"/>
                          </a:lnTo>
                          <a:lnTo>
                            <a:pt x="1340" y="1804"/>
                          </a:lnTo>
                          <a:lnTo>
                            <a:pt x="1349" y="1806"/>
                          </a:lnTo>
                          <a:lnTo>
                            <a:pt x="1357" y="1810"/>
                          </a:lnTo>
                          <a:lnTo>
                            <a:pt x="1365" y="1816"/>
                          </a:lnTo>
                          <a:lnTo>
                            <a:pt x="1371" y="1821"/>
                          </a:lnTo>
                          <a:lnTo>
                            <a:pt x="1377" y="1828"/>
                          </a:lnTo>
                          <a:lnTo>
                            <a:pt x="1383" y="1835"/>
                          </a:lnTo>
                          <a:lnTo>
                            <a:pt x="1386" y="1844"/>
                          </a:lnTo>
                          <a:lnTo>
                            <a:pt x="1391" y="1852"/>
                          </a:lnTo>
                          <a:lnTo>
                            <a:pt x="1394" y="1862"/>
                          </a:lnTo>
                          <a:lnTo>
                            <a:pt x="1396" y="1873"/>
                          </a:lnTo>
                          <a:lnTo>
                            <a:pt x="1399" y="1885"/>
                          </a:lnTo>
                          <a:lnTo>
                            <a:pt x="1400" y="1897"/>
                          </a:lnTo>
                          <a:lnTo>
                            <a:pt x="1400" y="1911"/>
                          </a:lnTo>
                          <a:lnTo>
                            <a:pt x="1400" y="2049"/>
                          </a:lnTo>
                          <a:lnTo>
                            <a:pt x="1339" y="2049"/>
                          </a:lnTo>
                          <a:lnTo>
                            <a:pt x="1339" y="1914"/>
                          </a:lnTo>
                          <a:lnTo>
                            <a:pt x="1339" y="1914"/>
                          </a:lnTo>
                          <a:lnTo>
                            <a:pt x="1339" y="1900"/>
                          </a:lnTo>
                          <a:lnTo>
                            <a:pt x="1337" y="1888"/>
                          </a:lnTo>
                          <a:lnTo>
                            <a:pt x="1333" y="1878"/>
                          </a:lnTo>
                          <a:lnTo>
                            <a:pt x="1328" y="1869"/>
                          </a:lnTo>
                          <a:lnTo>
                            <a:pt x="1322" y="1863"/>
                          </a:lnTo>
                          <a:lnTo>
                            <a:pt x="1315" y="1859"/>
                          </a:lnTo>
                          <a:lnTo>
                            <a:pt x="1306" y="1856"/>
                          </a:lnTo>
                          <a:lnTo>
                            <a:pt x="1295" y="1855"/>
                          </a:lnTo>
                          <a:lnTo>
                            <a:pt x="1295" y="1855"/>
                          </a:lnTo>
                          <a:lnTo>
                            <a:pt x="1284" y="1856"/>
                          </a:lnTo>
                          <a:lnTo>
                            <a:pt x="1275" y="1859"/>
                          </a:lnTo>
                          <a:lnTo>
                            <a:pt x="1267" y="1863"/>
                          </a:lnTo>
                          <a:lnTo>
                            <a:pt x="1261" y="1869"/>
                          </a:lnTo>
                          <a:lnTo>
                            <a:pt x="1255" y="1878"/>
                          </a:lnTo>
                          <a:lnTo>
                            <a:pt x="1252" y="1889"/>
                          </a:lnTo>
                          <a:lnTo>
                            <a:pt x="1249" y="1901"/>
                          </a:lnTo>
                          <a:lnTo>
                            <a:pt x="1249" y="1914"/>
                          </a:lnTo>
                          <a:lnTo>
                            <a:pt x="1249" y="2049"/>
                          </a:lnTo>
                          <a:close/>
                          <a:moveTo>
                            <a:pt x="653" y="1927"/>
                          </a:moveTo>
                          <a:lnTo>
                            <a:pt x="653" y="2049"/>
                          </a:lnTo>
                          <a:lnTo>
                            <a:pt x="592" y="2049"/>
                          </a:lnTo>
                          <a:lnTo>
                            <a:pt x="592" y="1805"/>
                          </a:lnTo>
                          <a:lnTo>
                            <a:pt x="653" y="1805"/>
                          </a:lnTo>
                          <a:lnTo>
                            <a:pt x="653" y="1927"/>
                          </a:lnTo>
                          <a:close/>
                          <a:moveTo>
                            <a:pt x="706" y="1733"/>
                          </a:moveTo>
                          <a:lnTo>
                            <a:pt x="767" y="1703"/>
                          </a:lnTo>
                          <a:lnTo>
                            <a:pt x="767" y="1924"/>
                          </a:lnTo>
                          <a:lnTo>
                            <a:pt x="767" y="2049"/>
                          </a:lnTo>
                          <a:lnTo>
                            <a:pt x="706" y="2049"/>
                          </a:lnTo>
                          <a:lnTo>
                            <a:pt x="706" y="1733"/>
                          </a:lnTo>
                          <a:close/>
                          <a:moveTo>
                            <a:pt x="959" y="1822"/>
                          </a:moveTo>
                          <a:lnTo>
                            <a:pt x="959" y="1822"/>
                          </a:lnTo>
                          <a:lnTo>
                            <a:pt x="954" y="1816"/>
                          </a:lnTo>
                          <a:lnTo>
                            <a:pt x="948" y="1812"/>
                          </a:lnTo>
                          <a:lnTo>
                            <a:pt x="941" y="1807"/>
                          </a:lnTo>
                          <a:lnTo>
                            <a:pt x="934" y="1805"/>
                          </a:lnTo>
                          <a:lnTo>
                            <a:pt x="927" y="1803"/>
                          </a:lnTo>
                          <a:lnTo>
                            <a:pt x="920" y="1800"/>
                          </a:lnTo>
                          <a:lnTo>
                            <a:pt x="905" y="1799"/>
                          </a:lnTo>
                          <a:lnTo>
                            <a:pt x="905" y="1799"/>
                          </a:lnTo>
                          <a:lnTo>
                            <a:pt x="894" y="1800"/>
                          </a:lnTo>
                          <a:lnTo>
                            <a:pt x="883" y="1801"/>
                          </a:lnTo>
                          <a:lnTo>
                            <a:pt x="874" y="1804"/>
                          </a:lnTo>
                          <a:lnTo>
                            <a:pt x="865" y="1807"/>
                          </a:lnTo>
                          <a:lnTo>
                            <a:pt x="857" y="1812"/>
                          </a:lnTo>
                          <a:lnTo>
                            <a:pt x="848" y="1818"/>
                          </a:lnTo>
                          <a:lnTo>
                            <a:pt x="841" y="1826"/>
                          </a:lnTo>
                          <a:lnTo>
                            <a:pt x="835" y="1833"/>
                          </a:lnTo>
                          <a:lnTo>
                            <a:pt x="829" y="1842"/>
                          </a:lnTo>
                          <a:lnTo>
                            <a:pt x="824" y="1851"/>
                          </a:lnTo>
                          <a:lnTo>
                            <a:pt x="819" y="1861"/>
                          </a:lnTo>
                          <a:lnTo>
                            <a:pt x="815" y="1872"/>
                          </a:lnTo>
                          <a:lnTo>
                            <a:pt x="813" y="1884"/>
                          </a:lnTo>
                          <a:lnTo>
                            <a:pt x="811" y="1897"/>
                          </a:lnTo>
                          <a:lnTo>
                            <a:pt x="809" y="1911"/>
                          </a:lnTo>
                          <a:lnTo>
                            <a:pt x="809" y="1924"/>
                          </a:lnTo>
                          <a:lnTo>
                            <a:pt x="809" y="1924"/>
                          </a:lnTo>
                          <a:lnTo>
                            <a:pt x="809" y="1940"/>
                          </a:lnTo>
                          <a:lnTo>
                            <a:pt x="811" y="1953"/>
                          </a:lnTo>
                          <a:lnTo>
                            <a:pt x="813" y="1967"/>
                          </a:lnTo>
                          <a:lnTo>
                            <a:pt x="815" y="1979"/>
                          </a:lnTo>
                          <a:lnTo>
                            <a:pt x="819" y="1991"/>
                          </a:lnTo>
                          <a:lnTo>
                            <a:pt x="823" y="2002"/>
                          </a:lnTo>
                          <a:lnTo>
                            <a:pt x="828" y="2012"/>
                          </a:lnTo>
                          <a:lnTo>
                            <a:pt x="834" y="2020"/>
                          </a:lnTo>
                          <a:lnTo>
                            <a:pt x="841" y="2029"/>
                          </a:lnTo>
                          <a:lnTo>
                            <a:pt x="847" y="2035"/>
                          </a:lnTo>
                          <a:lnTo>
                            <a:pt x="855" y="2041"/>
                          </a:lnTo>
                          <a:lnTo>
                            <a:pt x="864" y="2046"/>
                          </a:lnTo>
                          <a:lnTo>
                            <a:pt x="872" y="2049"/>
                          </a:lnTo>
                          <a:lnTo>
                            <a:pt x="882" y="2053"/>
                          </a:lnTo>
                          <a:lnTo>
                            <a:pt x="893" y="2054"/>
                          </a:lnTo>
                          <a:lnTo>
                            <a:pt x="904" y="2055"/>
                          </a:lnTo>
                          <a:lnTo>
                            <a:pt x="904" y="2055"/>
                          </a:lnTo>
                          <a:lnTo>
                            <a:pt x="911" y="2054"/>
                          </a:lnTo>
                          <a:lnTo>
                            <a:pt x="919" y="2053"/>
                          </a:lnTo>
                          <a:lnTo>
                            <a:pt x="926" y="2052"/>
                          </a:lnTo>
                          <a:lnTo>
                            <a:pt x="933" y="2049"/>
                          </a:lnTo>
                          <a:lnTo>
                            <a:pt x="939" y="2046"/>
                          </a:lnTo>
                          <a:lnTo>
                            <a:pt x="947" y="2042"/>
                          </a:lnTo>
                          <a:lnTo>
                            <a:pt x="953" y="2037"/>
                          </a:lnTo>
                          <a:lnTo>
                            <a:pt x="959" y="2031"/>
                          </a:lnTo>
                          <a:lnTo>
                            <a:pt x="959" y="2049"/>
                          </a:lnTo>
                          <a:lnTo>
                            <a:pt x="1020" y="2049"/>
                          </a:lnTo>
                          <a:lnTo>
                            <a:pt x="1020" y="1703"/>
                          </a:lnTo>
                          <a:lnTo>
                            <a:pt x="959" y="1733"/>
                          </a:lnTo>
                          <a:lnTo>
                            <a:pt x="959" y="1822"/>
                          </a:lnTo>
                          <a:close/>
                          <a:moveTo>
                            <a:pt x="916" y="2000"/>
                          </a:moveTo>
                          <a:lnTo>
                            <a:pt x="916" y="2000"/>
                          </a:lnTo>
                          <a:lnTo>
                            <a:pt x="909" y="1998"/>
                          </a:lnTo>
                          <a:lnTo>
                            <a:pt x="900" y="1996"/>
                          </a:lnTo>
                          <a:lnTo>
                            <a:pt x="893" y="1992"/>
                          </a:lnTo>
                          <a:lnTo>
                            <a:pt x="886" y="1985"/>
                          </a:lnTo>
                          <a:lnTo>
                            <a:pt x="880" y="1975"/>
                          </a:lnTo>
                          <a:lnTo>
                            <a:pt x="875" y="1962"/>
                          </a:lnTo>
                          <a:lnTo>
                            <a:pt x="871" y="1945"/>
                          </a:lnTo>
                          <a:lnTo>
                            <a:pt x="870" y="1923"/>
                          </a:lnTo>
                          <a:lnTo>
                            <a:pt x="870" y="1923"/>
                          </a:lnTo>
                          <a:lnTo>
                            <a:pt x="871" y="1904"/>
                          </a:lnTo>
                          <a:lnTo>
                            <a:pt x="875" y="1889"/>
                          </a:lnTo>
                          <a:lnTo>
                            <a:pt x="880" y="1877"/>
                          </a:lnTo>
                          <a:lnTo>
                            <a:pt x="886" y="1868"/>
                          </a:lnTo>
                          <a:lnTo>
                            <a:pt x="892" y="1861"/>
                          </a:lnTo>
                          <a:lnTo>
                            <a:pt x="900" y="1857"/>
                          </a:lnTo>
                          <a:lnTo>
                            <a:pt x="908" y="1855"/>
                          </a:lnTo>
                          <a:lnTo>
                            <a:pt x="916" y="1855"/>
                          </a:lnTo>
                          <a:lnTo>
                            <a:pt x="916" y="1855"/>
                          </a:lnTo>
                          <a:lnTo>
                            <a:pt x="924" y="1855"/>
                          </a:lnTo>
                          <a:lnTo>
                            <a:pt x="931" y="1857"/>
                          </a:lnTo>
                          <a:lnTo>
                            <a:pt x="938" y="1860"/>
                          </a:lnTo>
                          <a:lnTo>
                            <a:pt x="943" y="1863"/>
                          </a:lnTo>
                          <a:lnTo>
                            <a:pt x="948" y="1867"/>
                          </a:lnTo>
                          <a:lnTo>
                            <a:pt x="953" y="1871"/>
                          </a:lnTo>
                          <a:lnTo>
                            <a:pt x="959" y="1879"/>
                          </a:lnTo>
                          <a:lnTo>
                            <a:pt x="959" y="1975"/>
                          </a:lnTo>
                          <a:lnTo>
                            <a:pt x="959" y="1975"/>
                          </a:lnTo>
                          <a:lnTo>
                            <a:pt x="951" y="1984"/>
                          </a:lnTo>
                          <a:lnTo>
                            <a:pt x="943" y="1991"/>
                          </a:lnTo>
                          <a:lnTo>
                            <a:pt x="938" y="1995"/>
                          </a:lnTo>
                          <a:lnTo>
                            <a:pt x="931" y="1997"/>
                          </a:lnTo>
                          <a:lnTo>
                            <a:pt x="925" y="1998"/>
                          </a:lnTo>
                          <a:lnTo>
                            <a:pt x="916" y="2000"/>
                          </a:lnTo>
                          <a:lnTo>
                            <a:pt x="916" y="2000"/>
                          </a:lnTo>
                          <a:close/>
                          <a:moveTo>
                            <a:pt x="2278" y="1799"/>
                          </a:moveTo>
                          <a:lnTo>
                            <a:pt x="2278" y="1799"/>
                          </a:lnTo>
                          <a:lnTo>
                            <a:pt x="2272" y="1800"/>
                          </a:lnTo>
                          <a:lnTo>
                            <a:pt x="2265" y="1801"/>
                          </a:lnTo>
                          <a:lnTo>
                            <a:pt x="2250" y="1805"/>
                          </a:lnTo>
                          <a:lnTo>
                            <a:pt x="2237" y="1812"/>
                          </a:lnTo>
                          <a:lnTo>
                            <a:pt x="2225" y="1822"/>
                          </a:lnTo>
                          <a:lnTo>
                            <a:pt x="2225" y="1709"/>
                          </a:lnTo>
                          <a:lnTo>
                            <a:pt x="2164" y="1739"/>
                          </a:lnTo>
                          <a:lnTo>
                            <a:pt x="2164" y="2049"/>
                          </a:lnTo>
                          <a:lnTo>
                            <a:pt x="2225" y="2049"/>
                          </a:lnTo>
                          <a:lnTo>
                            <a:pt x="2225" y="2031"/>
                          </a:lnTo>
                          <a:lnTo>
                            <a:pt x="2225" y="2031"/>
                          </a:lnTo>
                          <a:lnTo>
                            <a:pt x="2230" y="2037"/>
                          </a:lnTo>
                          <a:lnTo>
                            <a:pt x="2237" y="2042"/>
                          </a:lnTo>
                          <a:lnTo>
                            <a:pt x="2243" y="2046"/>
                          </a:lnTo>
                          <a:lnTo>
                            <a:pt x="2250" y="2049"/>
                          </a:lnTo>
                          <a:lnTo>
                            <a:pt x="2257" y="2052"/>
                          </a:lnTo>
                          <a:lnTo>
                            <a:pt x="2265" y="2053"/>
                          </a:lnTo>
                          <a:lnTo>
                            <a:pt x="2272" y="2054"/>
                          </a:lnTo>
                          <a:lnTo>
                            <a:pt x="2280" y="2055"/>
                          </a:lnTo>
                          <a:lnTo>
                            <a:pt x="2280" y="2055"/>
                          </a:lnTo>
                          <a:lnTo>
                            <a:pt x="2291" y="2054"/>
                          </a:lnTo>
                          <a:lnTo>
                            <a:pt x="2302" y="2053"/>
                          </a:lnTo>
                          <a:lnTo>
                            <a:pt x="2311" y="2051"/>
                          </a:lnTo>
                          <a:lnTo>
                            <a:pt x="2321" y="2046"/>
                          </a:lnTo>
                          <a:lnTo>
                            <a:pt x="2329" y="2041"/>
                          </a:lnTo>
                          <a:lnTo>
                            <a:pt x="2337" y="2036"/>
                          </a:lnTo>
                          <a:lnTo>
                            <a:pt x="2344" y="2029"/>
                          </a:lnTo>
                          <a:lnTo>
                            <a:pt x="2350" y="2021"/>
                          </a:lnTo>
                          <a:lnTo>
                            <a:pt x="2356" y="2012"/>
                          </a:lnTo>
                          <a:lnTo>
                            <a:pt x="2361" y="2002"/>
                          </a:lnTo>
                          <a:lnTo>
                            <a:pt x="2365" y="1991"/>
                          </a:lnTo>
                          <a:lnTo>
                            <a:pt x="2368" y="1980"/>
                          </a:lnTo>
                          <a:lnTo>
                            <a:pt x="2372" y="1968"/>
                          </a:lnTo>
                          <a:lnTo>
                            <a:pt x="2373" y="1955"/>
                          </a:lnTo>
                          <a:lnTo>
                            <a:pt x="2374" y="1940"/>
                          </a:lnTo>
                          <a:lnTo>
                            <a:pt x="2376" y="1924"/>
                          </a:lnTo>
                          <a:lnTo>
                            <a:pt x="2376" y="1924"/>
                          </a:lnTo>
                          <a:lnTo>
                            <a:pt x="2374" y="1911"/>
                          </a:lnTo>
                          <a:lnTo>
                            <a:pt x="2373" y="1897"/>
                          </a:lnTo>
                          <a:lnTo>
                            <a:pt x="2371" y="1884"/>
                          </a:lnTo>
                          <a:lnTo>
                            <a:pt x="2368" y="1872"/>
                          </a:lnTo>
                          <a:lnTo>
                            <a:pt x="2365" y="1861"/>
                          </a:lnTo>
                          <a:lnTo>
                            <a:pt x="2360" y="1851"/>
                          </a:lnTo>
                          <a:lnTo>
                            <a:pt x="2355" y="1842"/>
                          </a:lnTo>
                          <a:lnTo>
                            <a:pt x="2349" y="1833"/>
                          </a:lnTo>
                          <a:lnTo>
                            <a:pt x="2343" y="1826"/>
                          </a:lnTo>
                          <a:lnTo>
                            <a:pt x="2336" y="1818"/>
                          </a:lnTo>
                          <a:lnTo>
                            <a:pt x="2327" y="1812"/>
                          </a:lnTo>
                          <a:lnTo>
                            <a:pt x="2319" y="1807"/>
                          </a:lnTo>
                          <a:lnTo>
                            <a:pt x="2310" y="1804"/>
                          </a:lnTo>
                          <a:lnTo>
                            <a:pt x="2300" y="1801"/>
                          </a:lnTo>
                          <a:lnTo>
                            <a:pt x="2289" y="1800"/>
                          </a:lnTo>
                          <a:lnTo>
                            <a:pt x="2278" y="1799"/>
                          </a:lnTo>
                          <a:lnTo>
                            <a:pt x="2278" y="1799"/>
                          </a:lnTo>
                          <a:close/>
                          <a:moveTo>
                            <a:pt x="2267" y="1855"/>
                          </a:moveTo>
                          <a:lnTo>
                            <a:pt x="2267" y="1855"/>
                          </a:lnTo>
                          <a:lnTo>
                            <a:pt x="2276" y="1856"/>
                          </a:lnTo>
                          <a:lnTo>
                            <a:pt x="2284" y="1859"/>
                          </a:lnTo>
                          <a:lnTo>
                            <a:pt x="2292" y="1863"/>
                          </a:lnTo>
                          <a:lnTo>
                            <a:pt x="2299" y="1871"/>
                          </a:lnTo>
                          <a:lnTo>
                            <a:pt x="2305" y="1879"/>
                          </a:lnTo>
                          <a:lnTo>
                            <a:pt x="2309" y="1891"/>
                          </a:lnTo>
                          <a:lnTo>
                            <a:pt x="2312" y="1906"/>
                          </a:lnTo>
                          <a:lnTo>
                            <a:pt x="2314" y="1923"/>
                          </a:lnTo>
                          <a:lnTo>
                            <a:pt x="2314" y="1923"/>
                          </a:lnTo>
                          <a:lnTo>
                            <a:pt x="2312" y="1941"/>
                          </a:lnTo>
                          <a:lnTo>
                            <a:pt x="2310" y="1957"/>
                          </a:lnTo>
                          <a:lnTo>
                            <a:pt x="2308" y="1969"/>
                          </a:lnTo>
                          <a:lnTo>
                            <a:pt x="2303" y="1980"/>
                          </a:lnTo>
                          <a:lnTo>
                            <a:pt x="2295" y="1989"/>
                          </a:lnTo>
                          <a:lnTo>
                            <a:pt x="2288" y="1995"/>
                          </a:lnTo>
                          <a:lnTo>
                            <a:pt x="2280" y="1998"/>
                          </a:lnTo>
                          <a:lnTo>
                            <a:pt x="2269" y="2000"/>
                          </a:lnTo>
                          <a:lnTo>
                            <a:pt x="2269" y="2000"/>
                          </a:lnTo>
                          <a:lnTo>
                            <a:pt x="2260" y="1998"/>
                          </a:lnTo>
                          <a:lnTo>
                            <a:pt x="2253" y="1997"/>
                          </a:lnTo>
                          <a:lnTo>
                            <a:pt x="2247" y="1993"/>
                          </a:lnTo>
                          <a:lnTo>
                            <a:pt x="2241" y="1991"/>
                          </a:lnTo>
                          <a:lnTo>
                            <a:pt x="2231" y="1983"/>
                          </a:lnTo>
                          <a:lnTo>
                            <a:pt x="2225" y="1976"/>
                          </a:lnTo>
                          <a:lnTo>
                            <a:pt x="2225" y="1879"/>
                          </a:lnTo>
                          <a:lnTo>
                            <a:pt x="2225" y="1879"/>
                          </a:lnTo>
                          <a:lnTo>
                            <a:pt x="2229" y="1874"/>
                          </a:lnTo>
                          <a:lnTo>
                            <a:pt x="2233" y="1869"/>
                          </a:lnTo>
                          <a:lnTo>
                            <a:pt x="2238" y="1865"/>
                          </a:lnTo>
                          <a:lnTo>
                            <a:pt x="2243" y="1861"/>
                          </a:lnTo>
                          <a:lnTo>
                            <a:pt x="2249" y="1859"/>
                          </a:lnTo>
                          <a:lnTo>
                            <a:pt x="2255" y="1856"/>
                          </a:lnTo>
                          <a:lnTo>
                            <a:pt x="2261" y="1855"/>
                          </a:lnTo>
                          <a:lnTo>
                            <a:pt x="2267" y="1855"/>
                          </a:lnTo>
                          <a:lnTo>
                            <a:pt x="2267" y="1855"/>
                          </a:lnTo>
                          <a:close/>
                          <a:moveTo>
                            <a:pt x="1591" y="1822"/>
                          </a:moveTo>
                          <a:lnTo>
                            <a:pt x="1591" y="1822"/>
                          </a:lnTo>
                          <a:lnTo>
                            <a:pt x="1586" y="1817"/>
                          </a:lnTo>
                          <a:lnTo>
                            <a:pt x="1580" y="1812"/>
                          </a:lnTo>
                          <a:lnTo>
                            <a:pt x="1572" y="1809"/>
                          </a:lnTo>
                          <a:lnTo>
                            <a:pt x="1566" y="1805"/>
                          </a:lnTo>
                          <a:lnTo>
                            <a:pt x="1559" y="1803"/>
                          </a:lnTo>
                          <a:lnTo>
                            <a:pt x="1552" y="1800"/>
                          </a:lnTo>
                          <a:lnTo>
                            <a:pt x="1544" y="1800"/>
                          </a:lnTo>
                          <a:lnTo>
                            <a:pt x="1537" y="1799"/>
                          </a:lnTo>
                          <a:lnTo>
                            <a:pt x="1537" y="1799"/>
                          </a:lnTo>
                          <a:lnTo>
                            <a:pt x="1526" y="1800"/>
                          </a:lnTo>
                          <a:lnTo>
                            <a:pt x="1515" y="1801"/>
                          </a:lnTo>
                          <a:lnTo>
                            <a:pt x="1506" y="1804"/>
                          </a:lnTo>
                          <a:lnTo>
                            <a:pt x="1497" y="1807"/>
                          </a:lnTo>
                          <a:lnTo>
                            <a:pt x="1489" y="1812"/>
                          </a:lnTo>
                          <a:lnTo>
                            <a:pt x="1480" y="1818"/>
                          </a:lnTo>
                          <a:lnTo>
                            <a:pt x="1473" y="1826"/>
                          </a:lnTo>
                          <a:lnTo>
                            <a:pt x="1467" y="1833"/>
                          </a:lnTo>
                          <a:lnTo>
                            <a:pt x="1461" y="1842"/>
                          </a:lnTo>
                          <a:lnTo>
                            <a:pt x="1456" y="1851"/>
                          </a:lnTo>
                          <a:lnTo>
                            <a:pt x="1451" y="1861"/>
                          </a:lnTo>
                          <a:lnTo>
                            <a:pt x="1447" y="1872"/>
                          </a:lnTo>
                          <a:lnTo>
                            <a:pt x="1445" y="1884"/>
                          </a:lnTo>
                          <a:lnTo>
                            <a:pt x="1442" y="1897"/>
                          </a:lnTo>
                          <a:lnTo>
                            <a:pt x="1441" y="1911"/>
                          </a:lnTo>
                          <a:lnTo>
                            <a:pt x="1441" y="1924"/>
                          </a:lnTo>
                          <a:lnTo>
                            <a:pt x="1441" y="1924"/>
                          </a:lnTo>
                          <a:lnTo>
                            <a:pt x="1441" y="1940"/>
                          </a:lnTo>
                          <a:lnTo>
                            <a:pt x="1442" y="1953"/>
                          </a:lnTo>
                          <a:lnTo>
                            <a:pt x="1445" y="1967"/>
                          </a:lnTo>
                          <a:lnTo>
                            <a:pt x="1447" y="1979"/>
                          </a:lnTo>
                          <a:lnTo>
                            <a:pt x="1451" y="1991"/>
                          </a:lnTo>
                          <a:lnTo>
                            <a:pt x="1455" y="2002"/>
                          </a:lnTo>
                          <a:lnTo>
                            <a:pt x="1461" y="2012"/>
                          </a:lnTo>
                          <a:lnTo>
                            <a:pt x="1465" y="2020"/>
                          </a:lnTo>
                          <a:lnTo>
                            <a:pt x="1473" y="2029"/>
                          </a:lnTo>
                          <a:lnTo>
                            <a:pt x="1479" y="2035"/>
                          </a:lnTo>
                          <a:lnTo>
                            <a:pt x="1487" y="2041"/>
                          </a:lnTo>
                          <a:lnTo>
                            <a:pt x="1496" y="2046"/>
                          </a:lnTo>
                          <a:lnTo>
                            <a:pt x="1504" y="2049"/>
                          </a:lnTo>
                          <a:lnTo>
                            <a:pt x="1514" y="2053"/>
                          </a:lnTo>
                          <a:lnTo>
                            <a:pt x="1525" y="2054"/>
                          </a:lnTo>
                          <a:lnTo>
                            <a:pt x="1536" y="2054"/>
                          </a:lnTo>
                          <a:lnTo>
                            <a:pt x="1536" y="2054"/>
                          </a:lnTo>
                          <a:lnTo>
                            <a:pt x="1543" y="2054"/>
                          </a:lnTo>
                          <a:lnTo>
                            <a:pt x="1551" y="2053"/>
                          </a:lnTo>
                          <a:lnTo>
                            <a:pt x="1558" y="2052"/>
                          </a:lnTo>
                          <a:lnTo>
                            <a:pt x="1565" y="2049"/>
                          </a:lnTo>
                          <a:lnTo>
                            <a:pt x="1572" y="2046"/>
                          </a:lnTo>
                          <a:lnTo>
                            <a:pt x="1578" y="2041"/>
                          </a:lnTo>
                          <a:lnTo>
                            <a:pt x="1585" y="2037"/>
                          </a:lnTo>
                          <a:lnTo>
                            <a:pt x="1591" y="2031"/>
                          </a:lnTo>
                          <a:lnTo>
                            <a:pt x="1591" y="2037"/>
                          </a:lnTo>
                          <a:lnTo>
                            <a:pt x="1591" y="2037"/>
                          </a:lnTo>
                          <a:lnTo>
                            <a:pt x="1591" y="2047"/>
                          </a:lnTo>
                          <a:lnTo>
                            <a:pt x="1589" y="2058"/>
                          </a:lnTo>
                          <a:lnTo>
                            <a:pt x="1587" y="2069"/>
                          </a:lnTo>
                          <a:lnTo>
                            <a:pt x="1585" y="2074"/>
                          </a:lnTo>
                          <a:lnTo>
                            <a:pt x="1581" y="2079"/>
                          </a:lnTo>
                          <a:lnTo>
                            <a:pt x="1577" y="2083"/>
                          </a:lnTo>
                          <a:lnTo>
                            <a:pt x="1572" y="2088"/>
                          </a:lnTo>
                          <a:lnTo>
                            <a:pt x="1565" y="2092"/>
                          </a:lnTo>
                          <a:lnTo>
                            <a:pt x="1558" y="2094"/>
                          </a:lnTo>
                          <a:lnTo>
                            <a:pt x="1549" y="2098"/>
                          </a:lnTo>
                          <a:lnTo>
                            <a:pt x="1538" y="2099"/>
                          </a:lnTo>
                          <a:lnTo>
                            <a:pt x="1526" y="2102"/>
                          </a:lnTo>
                          <a:lnTo>
                            <a:pt x="1513" y="2102"/>
                          </a:lnTo>
                          <a:lnTo>
                            <a:pt x="1510" y="2102"/>
                          </a:lnTo>
                          <a:lnTo>
                            <a:pt x="1531" y="2149"/>
                          </a:lnTo>
                          <a:lnTo>
                            <a:pt x="1532" y="2149"/>
                          </a:lnTo>
                          <a:lnTo>
                            <a:pt x="1532" y="2149"/>
                          </a:lnTo>
                          <a:lnTo>
                            <a:pt x="1547" y="2149"/>
                          </a:lnTo>
                          <a:lnTo>
                            <a:pt x="1560" y="2147"/>
                          </a:lnTo>
                          <a:lnTo>
                            <a:pt x="1574" y="2144"/>
                          </a:lnTo>
                          <a:lnTo>
                            <a:pt x="1585" y="2141"/>
                          </a:lnTo>
                          <a:lnTo>
                            <a:pt x="1595" y="2137"/>
                          </a:lnTo>
                          <a:lnTo>
                            <a:pt x="1605" y="2132"/>
                          </a:lnTo>
                          <a:lnTo>
                            <a:pt x="1614" y="2125"/>
                          </a:lnTo>
                          <a:lnTo>
                            <a:pt x="1622" y="2119"/>
                          </a:lnTo>
                          <a:lnTo>
                            <a:pt x="1630" y="2110"/>
                          </a:lnTo>
                          <a:lnTo>
                            <a:pt x="1634" y="2100"/>
                          </a:lnTo>
                          <a:lnTo>
                            <a:pt x="1640" y="2091"/>
                          </a:lnTo>
                          <a:lnTo>
                            <a:pt x="1644" y="2080"/>
                          </a:lnTo>
                          <a:lnTo>
                            <a:pt x="1648" y="2068"/>
                          </a:lnTo>
                          <a:lnTo>
                            <a:pt x="1650" y="2055"/>
                          </a:lnTo>
                          <a:lnTo>
                            <a:pt x="1651" y="2042"/>
                          </a:lnTo>
                          <a:lnTo>
                            <a:pt x="1651" y="2026"/>
                          </a:lnTo>
                          <a:lnTo>
                            <a:pt x="1651" y="1805"/>
                          </a:lnTo>
                          <a:lnTo>
                            <a:pt x="1591" y="1805"/>
                          </a:lnTo>
                          <a:lnTo>
                            <a:pt x="1591" y="1822"/>
                          </a:lnTo>
                          <a:close/>
                          <a:moveTo>
                            <a:pt x="1591" y="1879"/>
                          </a:moveTo>
                          <a:lnTo>
                            <a:pt x="1591" y="1975"/>
                          </a:lnTo>
                          <a:lnTo>
                            <a:pt x="1591" y="1975"/>
                          </a:lnTo>
                          <a:lnTo>
                            <a:pt x="1583" y="1984"/>
                          </a:lnTo>
                          <a:lnTo>
                            <a:pt x="1574" y="1992"/>
                          </a:lnTo>
                          <a:lnTo>
                            <a:pt x="1569" y="1995"/>
                          </a:lnTo>
                          <a:lnTo>
                            <a:pt x="1563" y="1997"/>
                          </a:lnTo>
                          <a:lnTo>
                            <a:pt x="1555" y="1998"/>
                          </a:lnTo>
                          <a:lnTo>
                            <a:pt x="1548" y="2000"/>
                          </a:lnTo>
                          <a:lnTo>
                            <a:pt x="1548" y="2000"/>
                          </a:lnTo>
                          <a:lnTo>
                            <a:pt x="1540" y="1998"/>
                          </a:lnTo>
                          <a:lnTo>
                            <a:pt x="1532" y="1996"/>
                          </a:lnTo>
                          <a:lnTo>
                            <a:pt x="1524" y="1991"/>
                          </a:lnTo>
                          <a:lnTo>
                            <a:pt x="1518" y="1985"/>
                          </a:lnTo>
                          <a:lnTo>
                            <a:pt x="1512" y="1975"/>
                          </a:lnTo>
                          <a:lnTo>
                            <a:pt x="1507" y="1962"/>
                          </a:lnTo>
                          <a:lnTo>
                            <a:pt x="1503" y="1945"/>
                          </a:lnTo>
                          <a:lnTo>
                            <a:pt x="1502" y="1923"/>
                          </a:lnTo>
                          <a:lnTo>
                            <a:pt x="1502" y="1923"/>
                          </a:lnTo>
                          <a:lnTo>
                            <a:pt x="1503" y="1904"/>
                          </a:lnTo>
                          <a:lnTo>
                            <a:pt x="1507" y="1889"/>
                          </a:lnTo>
                          <a:lnTo>
                            <a:pt x="1512" y="1877"/>
                          </a:lnTo>
                          <a:lnTo>
                            <a:pt x="1518" y="1868"/>
                          </a:lnTo>
                          <a:lnTo>
                            <a:pt x="1524" y="1861"/>
                          </a:lnTo>
                          <a:lnTo>
                            <a:pt x="1532" y="1857"/>
                          </a:lnTo>
                          <a:lnTo>
                            <a:pt x="1540" y="1855"/>
                          </a:lnTo>
                          <a:lnTo>
                            <a:pt x="1548" y="1855"/>
                          </a:lnTo>
                          <a:lnTo>
                            <a:pt x="1548" y="1855"/>
                          </a:lnTo>
                          <a:lnTo>
                            <a:pt x="1555" y="1855"/>
                          </a:lnTo>
                          <a:lnTo>
                            <a:pt x="1563" y="1857"/>
                          </a:lnTo>
                          <a:lnTo>
                            <a:pt x="1570" y="1860"/>
                          </a:lnTo>
                          <a:lnTo>
                            <a:pt x="1575" y="1862"/>
                          </a:lnTo>
                          <a:lnTo>
                            <a:pt x="1580" y="1867"/>
                          </a:lnTo>
                          <a:lnTo>
                            <a:pt x="1585" y="1871"/>
                          </a:lnTo>
                          <a:lnTo>
                            <a:pt x="1591" y="1879"/>
                          </a:lnTo>
                          <a:lnTo>
                            <a:pt x="1591" y="1879"/>
                          </a:lnTo>
                          <a:close/>
                          <a:moveTo>
                            <a:pt x="1840" y="1865"/>
                          </a:moveTo>
                          <a:lnTo>
                            <a:pt x="1840" y="1865"/>
                          </a:lnTo>
                          <a:lnTo>
                            <a:pt x="1854" y="1857"/>
                          </a:lnTo>
                          <a:lnTo>
                            <a:pt x="1869" y="1852"/>
                          </a:lnTo>
                          <a:lnTo>
                            <a:pt x="1885" y="1849"/>
                          </a:lnTo>
                          <a:lnTo>
                            <a:pt x="1902" y="1848"/>
                          </a:lnTo>
                          <a:lnTo>
                            <a:pt x="1902" y="1848"/>
                          </a:lnTo>
                          <a:lnTo>
                            <a:pt x="1913" y="1849"/>
                          </a:lnTo>
                          <a:lnTo>
                            <a:pt x="1921" y="1850"/>
                          </a:lnTo>
                          <a:lnTo>
                            <a:pt x="1928" y="1852"/>
                          </a:lnTo>
                          <a:lnTo>
                            <a:pt x="1935" y="1857"/>
                          </a:lnTo>
                          <a:lnTo>
                            <a:pt x="1939" y="1862"/>
                          </a:lnTo>
                          <a:lnTo>
                            <a:pt x="1943" y="1868"/>
                          </a:lnTo>
                          <a:lnTo>
                            <a:pt x="1945" y="1874"/>
                          </a:lnTo>
                          <a:lnTo>
                            <a:pt x="1945" y="1883"/>
                          </a:lnTo>
                          <a:lnTo>
                            <a:pt x="1945" y="1900"/>
                          </a:lnTo>
                          <a:lnTo>
                            <a:pt x="1945" y="1900"/>
                          </a:lnTo>
                          <a:lnTo>
                            <a:pt x="1935" y="1895"/>
                          </a:lnTo>
                          <a:lnTo>
                            <a:pt x="1921" y="1891"/>
                          </a:lnTo>
                          <a:lnTo>
                            <a:pt x="1908" y="1889"/>
                          </a:lnTo>
                          <a:lnTo>
                            <a:pt x="1893" y="1888"/>
                          </a:lnTo>
                          <a:lnTo>
                            <a:pt x="1893" y="1888"/>
                          </a:lnTo>
                          <a:lnTo>
                            <a:pt x="1876" y="1889"/>
                          </a:lnTo>
                          <a:lnTo>
                            <a:pt x="1859" y="1893"/>
                          </a:lnTo>
                          <a:lnTo>
                            <a:pt x="1843" y="1897"/>
                          </a:lnTo>
                          <a:lnTo>
                            <a:pt x="1835" y="1901"/>
                          </a:lnTo>
                          <a:lnTo>
                            <a:pt x="1828" y="1906"/>
                          </a:lnTo>
                          <a:lnTo>
                            <a:pt x="1822" y="1911"/>
                          </a:lnTo>
                          <a:lnTo>
                            <a:pt x="1815" y="1917"/>
                          </a:lnTo>
                          <a:lnTo>
                            <a:pt x="1809" y="1923"/>
                          </a:lnTo>
                          <a:lnTo>
                            <a:pt x="1805" y="1930"/>
                          </a:lnTo>
                          <a:lnTo>
                            <a:pt x="1801" y="1939"/>
                          </a:lnTo>
                          <a:lnTo>
                            <a:pt x="1798" y="1948"/>
                          </a:lnTo>
                          <a:lnTo>
                            <a:pt x="1797" y="1958"/>
                          </a:lnTo>
                          <a:lnTo>
                            <a:pt x="1796" y="1968"/>
                          </a:lnTo>
                          <a:lnTo>
                            <a:pt x="1796" y="1968"/>
                          </a:lnTo>
                          <a:lnTo>
                            <a:pt x="1797" y="1980"/>
                          </a:lnTo>
                          <a:lnTo>
                            <a:pt x="1798" y="1991"/>
                          </a:lnTo>
                          <a:lnTo>
                            <a:pt x="1801" y="2000"/>
                          </a:lnTo>
                          <a:lnTo>
                            <a:pt x="1805" y="2009"/>
                          </a:lnTo>
                          <a:lnTo>
                            <a:pt x="1808" y="2017"/>
                          </a:lnTo>
                          <a:lnTo>
                            <a:pt x="1814" y="2024"/>
                          </a:lnTo>
                          <a:lnTo>
                            <a:pt x="1819" y="2030"/>
                          </a:lnTo>
                          <a:lnTo>
                            <a:pt x="1826" y="2036"/>
                          </a:lnTo>
                          <a:lnTo>
                            <a:pt x="1832" y="2041"/>
                          </a:lnTo>
                          <a:lnTo>
                            <a:pt x="1840" y="2045"/>
                          </a:lnTo>
                          <a:lnTo>
                            <a:pt x="1856" y="2051"/>
                          </a:lnTo>
                          <a:lnTo>
                            <a:pt x="1871" y="2054"/>
                          </a:lnTo>
                          <a:lnTo>
                            <a:pt x="1887" y="2055"/>
                          </a:lnTo>
                          <a:lnTo>
                            <a:pt x="1887" y="2055"/>
                          </a:lnTo>
                          <a:lnTo>
                            <a:pt x="1901" y="2053"/>
                          </a:lnTo>
                          <a:lnTo>
                            <a:pt x="1909" y="2052"/>
                          </a:lnTo>
                          <a:lnTo>
                            <a:pt x="1916" y="2049"/>
                          </a:lnTo>
                          <a:lnTo>
                            <a:pt x="1925" y="2046"/>
                          </a:lnTo>
                          <a:lnTo>
                            <a:pt x="1932" y="2041"/>
                          </a:lnTo>
                          <a:lnTo>
                            <a:pt x="1939" y="2036"/>
                          </a:lnTo>
                          <a:lnTo>
                            <a:pt x="1945" y="2030"/>
                          </a:lnTo>
                          <a:lnTo>
                            <a:pt x="1945" y="2049"/>
                          </a:lnTo>
                          <a:lnTo>
                            <a:pt x="2006" y="2049"/>
                          </a:lnTo>
                          <a:lnTo>
                            <a:pt x="2006" y="1884"/>
                          </a:lnTo>
                          <a:lnTo>
                            <a:pt x="2006" y="1884"/>
                          </a:lnTo>
                          <a:lnTo>
                            <a:pt x="2006" y="1874"/>
                          </a:lnTo>
                          <a:lnTo>
                            <a:pt x="2005" y="1866"/>
                          </a:lnTo>
                          <a:lnTo>
                            <a:pt x="2003" y="1857"/>
                          </a:lnTo>
                          <a:lnTo>
                            <a:pt x="2000" y="1849"/>
                          </a:lnTo>
                          <a:lnTo>
                            <a:pt x="1995" y="1842"/>
                          </a:lnTo>
                          <a:lnTo>
                            <a:pt x="1992" y="1834"/>
                          </a:lnTo>
                          <a:lnTo>
                            <a:pt x="1986" y="1828"/>
                          </a:lnTo>
                          <a:lnTo>
                            <a:pt x="1979" y="1822"/>
                          </a:lnTo>
                          <a:lnTo>
                            <a:pt x="1973" y="1817"/>
                          </a:lnTo>
                          <a:lnTo>
                            <a:pt x="1966" y="1812"/>
                          </a:lnTo>
                          <a:lnTo>
                            <a:pt x="1958" y="1809"/>
                          </a:lnTo>
                          <a:lnTo>
                            <a:pt x="1949" y="1805"/>
                          </a:lnTo>
                          <a:lnTo>
                            <a:pt x="1939" y="1803"/>
                          </a:lnTo>
                          <a:lnTo>
                            <a:pt x="1930" y="1801"/>
                          </a:lnTo>
                          <a:lnTo>
                            <a:pt x="1919" y="1800"/>
                          </a:lnTo>
                          <a:lnTo>
                            <a:pt x="1908" y="1799"/>
                          </a:lnTo>
                          <a:lnTo>
                            <a:pt x="1908" y="1799"/>
                          </a:lnTo>
                          <a:lnTo>
                            <a:pt x="1894" y="1800"/>
                          </a:lnTo>
                          <a:lnTo>
                            <a:pt x="1883" y="1800"/>
                          </a:lnTo>
                          <a:lnTo>
                            <a:pt x="1871" y="1803"/>
                          </a:lnTo>
                          <a:lnTo>
                            <a:pt x="1859" y="1805"/>
                          </a:lnTo>
                          <a:lnTo>
                            <a:pt x="1848" y="1809"/>
                          </a:lnTo>
                          <a:lnTo>
                            <a:pt x="1837" y="1812"/>
                          </a:lnTo>
                          <a:lnTo>
                            <a:pt x="1826" y="1817"/>
                          </a:lnTo>
                          <a:lnTo>
                            <a:pt x="1815" y="1823"/>
                          </a:lnTo>
                          <a:lnTo>
                            <a:pt x="1840" y="1865"/>
                          </a:lnTo>
                          <a:close/>
                          <a:moveTo>
                            <a:pt x="1857" y="1968"/>
                          </a:moveTo>
                          <a:lnTo>
                            <a:pt x="1857" y="1968"/>
                          </a:lnTo>
                          <a:lnTo>
                            <a:pt x="1857" y="1961"/>
                          </a:lnTo>
                          <a:lnTo>
                            <a:pt x="1859" y="1953"/>
                          </a:lnTo>
                          <a:lnTo>
                            <a:pt x="1863" y="1947"/>
                          </a:lnTo>
                          <a:lnTo>
                            <a:pt x="1868" y="1942"/>
                          </a:lnTo>
                          <a:lnTo>
                            <a:pt x="1874" y="1939"/>
                          </a:lnTo>
                          <a:lnTo>
                            <a:pt x="1881" y="1936"/>
                          </a:lnTo>
                          <a:lnTo>
                            <a:pt x="1890" y="1934"/>
                          </a:lnTo>
                          <a:lnTo>
                            <a:pt x="1898" y="1934"/>
                          </a:lnTo>
                          <a:lnTo>
                            <a:pt x="1898" y="1934"/>
                          </a:lnTo>
                          <a:lnTo>
                            <a:pt x="1911" y="1934"/>
                          </a:lnTo>
                          <a:lnTo>
                            <a:pt x="1924" y="1936"/>
                          </a:lnTo>
                          <a:lnTo>
                            <a:pt x="1935" y="1940"/>
                          </a:lnTo>
                          <a:lnTo>
                            <a:pt x="1945" y="1946"/>
                          </a:lnTo>
                          <a:lnTo>
                            <a:pt x="1945" y="1979"/>
                          </a:lnTo>
                          <a:lnTo>
                            <a:pt x="1945" y="1979"/>
                          </a:lnTo>
                          <a:lnTo>
                            <a:pt x="1943" y="1984"/>
                          </a:lnTo>
                          <a:lnTo>
                            <a:pt x="1938" y="1989"/>
                          </a:lnTo>
                          <a:lnTo>
                            <a:pt x="1933" y="1993"/>
                          </a:lnTo>
                          <a:lnTo>
                            <a:pt x="1927" y="1997"/>
                          </a:lnTo>
                          <a:lnTo>
                            <a:pt x="1921" y="2001"/>
                          </a:lnTo>
                          <a:lnTo>
                            <a:pt x="1914" y="2003"/>
                          </a:lnTo>
                          <a:lnTo>
                            <a:pt x="1907" y="2004"/>
                          </a:lnTo>
                          <a:lnTo>
                            <a:pt x="1898" y="2006"/>
                          </a:lnTo>
                          <a:lnTo>
                            <a:pt x="1898" y="2006"/>
                          </a:lnTo>
                          <a:lnTo>
                            <a:pt x="1890" y="2004"/>
                          </a:lnTo>
                          <a:lnTo>
                            <a:pt x="1881" y="2002"/>
                          </a:lnTo>
                          <a:lnTo>
                            <a:pt x="1874" y="2000"/>
                          </a:lnTo>
                          <a:lnTo>
                            <a:pt x="1868" y="1995"/>
                          </a:lnTo>
                          <a:lnTo>
                            <a:pt x="1863" y="1990"/>
                          </a:lnTo>
                          <a:lnTo>
                            <a:pt x="1859" y="1984"/>
                          </a:lnTo>
                          <a:lnTo>
                            <a:pt x="1858" y="1976"/>
                          </a:lnTo>
                          <a:lnTo>
                            <a:pt x="1857" y="1968"/>
                          </a:lnTo>
                          <a:lnTo>
                            <a:pt x="1857" y="1968"/>
                          </a:lnTo>
                          <a:close/>
                          <a:moveTo>
                            <a:pt x="2569" y="1979"/>
                          </a:moveTo>
                          <a:lnTo>
                            <a:pt x="2569" y="1979"/>
                          </a:lnTo>
                          <a:lnTo>
                            <a:pt x="2560" y="1986"/>
                          </a:lnTo>
                          <a:lnTo>
                            <a:pt x="2549" y="1992"/>
                          </a:lnTo>
                          <a:lnTo>
                            <a:pt x="2543" y="1995"/>
                          </a:lnTo>
                          <a:lnTo>
                            <a:pt x="2536" y="1997"/>
                          </a:lnTo>
                          <a:lnTo>
                            <a:pt x="2529" y="1998"/>
                          </a:lnTo>
                          <a:lnTo>
                            <a:pt x="2521" y="2000"/>
                          </a:lnTo>
                          <a:lnTo>
                            <a:pt x="2521" y="2000"/>
                          </a:lnTo>
                          <a:lnTo>
                            <a:pt x="2515" y="1998"/>
                          </a:lnTo>
                          <a:lnTo>
                            <a:pt x="2508" y="1998"/>
                          </a:lnTo>
                          <a:lnTo>
                            <a:pt x="2500" y="1996"/>
                          </a:lnTo>
                          <a:lnTo>
                            <a:pt x="2490" y="1991"/>
                          </a:lnTo>
                          <a:lnTo>
                            <a:pt x="2481" y="1985"/>
                          </a:lnTo>
                          <a:lnTo>
                            <a:pt x="2478" y="1980"/>
                          </a:lnTo>
                          <a:lnTo>
                            <a:pt x="2474" y="1975"/>
                          </a:lnTo>
                          <a:lnTo>
                            <a:pt x="2472" y="1969"/>
                          </a:lnTo>
                          <a:lnTo>
                            <a:pt x="2469" y="1962"/>
                          </a:lnTo>
                          <a:lnTo>
                            <a:pt x="2468" y="1955"/>
                          </a:lnTo>
                          <a:lnTo>
                            <a:pt x="2467" y="1946"/>
                          </a:lnTo>
                          <a:lnTo>
                            <a:pt x="2616" y="1946"/>
                          </a:lnTo>
                          <a:lnTo>
                            <a:pt x="2616" y="1946"/>
                          </a:lnTo>
                          <a:lnTo>
                            <a:pt x="2617" y="1928"/>
                          </a:lnTo>
                          <a:lnTo>
                            <a:pt x="2617" y="1928"/>
                          </a:lnTo>
                          <a:lnTo>
                            <a:pt x="2617" y="1913"/>
                          </a:lnTo>
                          <a:lnTo>
                            <a:pt x="2615" y="1900"/>
                          </a:lnTo>
                          <a:lnTo>
                            <a:pt x="2614" y="1886"/>
                          </a:lnTo>
                          <a:lnTo>
                            <a:pt x="2610" y="1874"/>
                          </a:lnTo>
                          <a:lnTo>
                            <a:pt x="2607" y="1863"/>
                          </a:lnTo>
                          <a:lnTo>
                            <a:pt x="2602" y="1852"/>
                          </a:lnTo>
                          <a:lnTo>
                            <a:pt x="2596" y="1843"/>
                          </a:lnTo>
                          <a:lnTo>
                            <a:pt x="2589" y="1834"/>
                          </a:lnTo>
                          <a:lnTo>
                            <a:pt x="2582" y="1826"/>
                          </a:lnTo>
                          <a:lnTo>
                            <a:pt x="2575" y="1820"/>
                          </a:lnTo>
                          <a:lnTo>
                            <a:pt x="2566" y="1814"/>
                          </a:lnTo>
                          <a:lnTo>
                            <a:pt x="2557" y="1809"/>
                          </a:lnTo>
                          <a:lnTo>
                            <a:pt x="2547" y="1805"/>
                          </a:lnTo>
                          <a:lnTo>
                            <a:pt x="2537" y="1801"/>
                          </a:lnTo>
                          <a:lnTo>
                            <a:pt x="2526" y="1800"/>
                          </a:lnTo>
                          <a:lnTo>
                            <a:pt x="2514" y="1799"/>
                          </a:lnTo>
                          <a:lnTo>
                            <a:pt x="2514" y="1799"/>
                          </a:lnTo>
                          <a:lnTo>
                            <a:pt x="2503" y="1800"/>
                          </a:lnTo>
                          <a:lnTo>
                            <a:pt x="2492" y="1801"/>
                          </a:lnTo>
                          <a:lnTo>
                            <a:pt x="2481" y="1805"/>
                          </a:lnTo>
                          <a:lnTo>
                            <a:pt x="2470" y="1809"/>
                          </a:lnTo>
                          <a:lnTo>
                            <a:pt x="2461" y="1814"/>
                          </a:lnTo>
                          <a:lnTo>
                            <a:pt x="2452" y="1821"/>
                          </a:lnTo>
                          <a:lnTo>
                            <a:pt x="2444" y="1827"/>
                          </a:lnTo>
                          <a:lnTo>
                            <a:pt x="2436" y="1835"/>
                          </a:lnTo>
                          <a:lnTo>
                            <a:pt x="2429" y="1844"/>
                          </a:lnTo>
                          <a:lnTo>
                            <a:pt x="2423" y="1854"/>
                          </a:lnTo>
                          <a:lnTo>
                            <a:pt x="2418" y="1865"/>
                          </a:lnTo>
                          <a:lnTo>
                            <a:pt x="2413" y="1876"/>
                          </a:lnTo>
                          <a:lnTo>
                            <a:pt x="2410" y="1888"/>
                          </a:lnTo>
                          <a:lnTo>
                            <a:pt x="2407" y="1901"/>
                          </a:lnTo>
                          <a:lnTo>
                            <a:pt x="2406" y="1913"/>
                          </a:lnTo>
                          <a:lnTo>
                            <a:pt x="2405" y="1928"/>
                          </a:lnTo>
                          <a:lnTo>
                            <a:pt x="2405" y="1928"/>
                          </a:lnTo>
                          <a:lnTo>
                            <a:pt x="2406" y="1941"/>
                          </a:lnTo>
                          <a:lnTo>
                            <a:pt x="2407" y="1955"/>
                          </a:lnTo>
                          <a:lnTo>
                            <a:pt x="2410" y="1968"/>
                          </a:lnTo>
                          <a:lnTo>
                            <a:pt x="2413" y="1980"/>
                          </a:lnTo>
                          <a:lnTo>
                            <a:pt x="2418" y="1991"/>
                          </a:lnTo>
                          <a:lnTo>
                            <a:pt x="2423" y="2002"/>
                          </a:lnTo>
                          <a:lnTo>
                            <a:pt x="2429" y="2012"/>
                          </a:lnTo>
                          <a:lnTo>
                            <a:pt x="2436" y="2020"/>
                          </a:lnTo>
                          <a:lnTo>
                            <a:pt x="2445" y="2028"/>
                          </a:lnTo>
                          <a:lnTo>
                            <a:pt x="2453" y="2035"/>
                          </a:lnTo>
                          <a:lnTo>
                            <a:pt x="2463" y="2041"/>
                          </a:lnTo>
                          <a:lnTo>
                            <a:pt x="2473" y="2046"/>
                          </a:lnTo>
                          <a:lnTo>
                            <a:pt x="2484" y="2049"/>
                          </a:lnTo>
                          <a:lnTo>
                            <a:pt x="2496" y="2053"/>
                          </a:lnTo>
                          <a:lnTo>
                            <a:pt x="2508" y="2054"/>
                          </a:lnTo>
                          <a:lnTo>
                            <a:pt x="2521" y="2055"/>
                          </a:lnTo>
                          <a:lnTo>
                            <a:pt x="2521" y="2055"/>
                          </a:lnTo>
                          <a:lnTo>
                            <a:pt x="2534" y="2054"/>
                          </a:lnTo>
                          <a:lnTo>
                            <a:pt x="2545" y="2053"/>
                          </a:lnTo>
                          <a:lnTo>
                            <a:pt x="2557" y="2049"/>
                          </a:lnTo>
                          <a:lnTo>
                            <a:pt x="2568" y="2046"/>
                          </a:lnTo>
                          <a:lnTo>
                            <a:pt x="2579" y="2040"/>
                          </a:lnTo>
                          <a:lnTo>
                            <a:pt x="2588" y="2034"/>
                          </a:lnTo>
                          <a:lnTo>
                            <a:pt x="2598" y="2025"/>
                          </a:lnTo>
                          <a:lnTo>
                            <a:pt x="2608" y="2017"/>
                          </a:lnTo>
                          <a:lnTo>
                            <a:pt x="2569" y="1979"/>
                          </a:lnTo>
                          <a:close/>
                          <a:moveTo>
                            <a:pt x="2468" y="1901"/>
                          </a:moveTo>
                          <a:lnTo>
                            <a:pt x="2468" y="1901"/>
                          </a:lnTo>
                          <a:lnTo>
                            <a:pt x="2469" y="1890"/>
                          </a:lnTo>
                          <a:lnTo>
                            <a:pt x="2472" y="1880"/>
                          </a:lnTo>
                          <a:lnTo>
                            <a:pt x="2475" y="1872"/>
                          </a:lnTo>
                          <a:lnTo>
                            <a:pt x="2481" y="1865"/>
                          </a:lnTo>
                          <a:lnTo>
                            <a:pt x="2487" y="1859"/>
                          </a:lnTo>
                          <a:lnTo>
                            <a:pt x="2495" y="1855"/>
                          </a:lnTo>
                          <a:lnTo>
                            <a:pt x="2503" y="1851"/>
                          </a:lnTo>
                          <a:lnTo>
                            <a:pt x="2513" y="1851"/>
                          </a:lnTo>
                          <a:lnTo>
                            <a:pt x="2513" y="1851"/>
                          </a:lnTo>
                          <a:lnTo>
                            <a:pt x="2524" y="1852"/>
                          </a:lnTo>
                          <a:lnTo>
                            <a:pt x="2534" y="1855"/>
                          </a:lnTo>
                          <a:lnTo>
                            <a:pt x="2541" y="1860"/>
                          </a:lnTo>
                          <a:lnTo>
                            <a:pt x="2547" y="1867"/>
                          </a:lnTo>
                          <a:lnTo>
                            <a:pt x="2552" y="1874"/>
                          </a:lnTo>
                          <a:lnTo>
                            <a:pt x="2555" y="1883"/>
                          </a:lnTo>
                          <a:lnTo>
                            <a:pt x="2558" y="1893"/>
                          </a:lnTo>
                          <a:lnTo>
                            <a:pt x="2559" y="1901"/>
                          </a:lnTo>
                          <a:lnTo>
                            <a:pt x="2468" y="1901"/>
                          </a:lnTo>
                          <a:close/>
                          <a:moveTo>
                            <a:pt x="3153" y="1979"/>
                          </a:moveTo>
                          <a:lnTo>
                            <a:pt x="3153" y="1979"/>
                          </a:lnTo>
                          <a:lnTo>
                            <a:pt x="3144" y="1986"/>
                          </a:lnTo>
                          <a:lnTo>
                            <a:pt x="3134" y="1992"/>
                          </a:lnTo>
                          <a:lnTo>
                            <a:pt x="3127" y="1995"/>
                          </a:lnTo>
                          <a:lnTo>
                            <a:pt x="3121" y="1997"/>
                          </a:lnTo>
                          <a:lnTo>
                            <a:pt x="3113" y="1998"/>
                          </a:lnTo>
                          <a:lnTo>
                            <a:pt x="3105" y="2000"/>
                          </a:lnTo>
                          <a:lnTo>
                            <a:pt x="3105" y="2000"/>
                          </a:lnTo>
                          <a:lnTo>
                            <a:pt x="3099" y="1998"/>
                          </a:lnTo>
                          <a:lnTo>
                            <a:pt x="3091" y="1998"/>
                          </a:lnTo>
                          <a:lnTo>
                            <a:pt x="3083" y="1996"/>
                          </a:lnTo>
                          <a:lnTo>
                            <a:pt x="3074" y="1991"/>
                          </a:lnTo>
                          <a:lnTo>
                            <a:pt x="3066" y="1985"/>
                          </a:lnTo>
                          <a:lnTo>
                            <a:pt x="3062" y="1980"/>
                          </a:lnTo>
                          <a:lnTo>
                            <a:pt x="3059" y="1975"/>
                          </a:lnTo>
                          <a:lnTo>
                            <a:pt x="3056" y="1969"/>
                          </a:lnTo>
                          <a:lnTo>
                            <a:pt x="3054" y="1962"/>
                          </a:lnTo>
                          <a:lnTo>
                            <a:pt x="3051" y="1955"/>
                          </a:lnTo>
                          <a:lnTo>
                            <a:pt x="3050" y="1946"/>
                          </a:lnTo>
                          <a:lnTo>
                            <a:pt x="3201" y="1946"/>
                          </a:lnTo>
                          <a:lnTo>
                            <a:pt x="3201" y="1946"/>
                          </a:lnTo>
                          <a:lnTo>
                            <a:pt x="3202" y="1928"/>
                          </a:lnTo>
                          <a:lnTo>
                            <a:pt x="3202" y="1928"/>
                          </a:lnTo>
                          <a:lnTo>
                            <a:pt x="3201" y="1913"/>
                          </a:lnTo>
                          <a:lnTo>
                            <a:pt x="3199" y="1900"/>
                          </a:lnTo>
                          <a:lnTo>
                            <a:pt x="3197" y="1886"/>
                          </a:lnTo>
                          <a:lnTo>
                            <a:pt x="3195" y="1874"/>
                          </a:lnTo>
                          <a:lnTo>
                            <a:pt x="3190" y="1863"/>
                          </a:lnTo>
                          <a:lnTo>
                            <a:pt x="3185" y="1852"/>
                          </a:lnTo>
                          <a:lnTo>
                            <a:pt x="3180" y="1843"/>
                          </a:lnTo>
                          <a:lnTo>
                            <a:pt x="3174" y="1834"/>
                          </a:lnTo>
                          <a:lnTo>
                            <a:pt x="3167" y="1826"/>
                          </a:lnTo>
                          <a:lnTo>
                            <a:pt x="3158" y="1820"/>
                          </a:lnTo>
                          <a:lnTo>
                            <a:pt x="3150" y="1814"/>
                          </a:lnTo>
                          <a:lnTo>
                            <a:pt x="3141" y="1809"/>
                          </a:lnTo>
                          <a:lnTo>
                            <a:pt x="3131" y="1805"/>
                          </a:lnTo>
                          <a:lnTo>
                            <a:pt x="3121" y="1801"/>
                          </a:lnTo>
                          <a:lnTo>
                            <a:pt x="3110" y="1800"/>
                          </a:lnTo>
                          <a:lnTo>
                            <a:pt x="3099" y="1799"/>
                          </a:lnTo>
                          <a:lnTo>
                            <a:pt x="3099" y="1799"/>
                          </a:lnTo>
                          <a:lnTo>
                            <a:pt x="3086" y="1800"/>
                          </a:lnTo>
                          <a:lnTo>
                            <a:pt x="3076" y="1801"/>
                          </a:lnTo>
                          <a:lnTo>
                            <a:pt x="3065" y="1805"/>
                          </a:lnTo>
                          <a:lnTo>
                            <a:pt x="3055" y="1809"/>
                          </a:lnTo>
                          <a:lnTo>
                            <a:pt x="3045" y="1814"/>
                          </a:lnTo>
                          <a:lnTo>
                            <a:pt x="3035" y="1821"/>
                          </a:lnTo>
                          <a:lnTo>
                            <a:pt x="3028" y="1827"/>
                          </a:lnTo>
                          <a:lnTo>
                            <a:pt x="3020" y="1835"/>
                          </a:lnTo>
                          <a:lnTo>
                            <a:pt x="3012" y="1844"/>
                          </a:lnTo>
                          <a:lnTo>
                            <a:pt x="3006" y="1854"/>
                          </a:lnTo>
                          <a:lnTo>
                            <a:pt x="3001" y="1865"/>
                          </a:lnTo>
                          <a:lnTo>
                            <a:pt x="2997" y="1876"/>
                          </a:lnTo>
                          <a:lnTo>
                            <a:pt x="2994" y="1888"/>
                          </a:lnTo>
                          <a:lnTo>
                            <a:pt x="2990" y="1901"/>
                          </a:lnTo>
                          <a:lnTo>
                            <a:pt x="2989" y="1913"/>
                          </a:lnTo>
                          <a:lnTo>
                            <a:pt x="2989" y="1928"/>
                          </a:lnTo>
                          <a:lnTo>
                            <a:pt x="2989" y="1928"/>
                          </a:lnTo>
                          <a:lnTo>
                            <a:pt x="2989" y="1941"/>
                          </a:lnTo>
                          <a:lnTo>
                            <a:pt x="2990" y="1955"/>
                          </a:lnTo>
                          <a:lnTo>
                            <a:pt x="2993" y="1968"/>
                          </a:lnTo>
                          <a:lnTo>
                            <a:pt x="2997" y="1980"/>
                          </a:lnTo>
                          <a:lnTo>
                            <a:pt x="3001" y="1991"/>
                          </a:lnTo>
                          <a:lnTo>
                            <a:pt x="3008" y="2002"/>
                          </a:lnTo>
                          <a:lnTo>
                            <a:pt x="3014" y="2012"/>
                          </a:lnTo>
                          <a:lnTo>
                            <a:pt x="3021" y="2020"/>
                          </a:lnTo>
                          <a:lnTo>
                            <a:pt x="3028" y="2028"/>
                          </a:lnTo>
                          <a:lnTo>
                            <a:pt x="3037" y="2035"/>
                          </a:lnTo>
                          <a:lnTo>
                            <a:pt x="3046" y="2041"/>
                          </a:lnTo>
                          <a:lnTo>
                            <a:pt x="3057" y="2046"/>
                          </a:lnTo>
                          <a:lnTo>
                            <a:pt x="3068" y="2049"/>
                          </a:lnTo>
                          <a:lnTo>
                            <a:pt x="3079" y="2053"/>
                          </a:lnTo>
                          <a:lnTo>
                            <a:pt x="3093" y="2054"/>
                          </a:lnTo>
                          <a:lnTo>
                            <a:pt x="3105" y="2055"/>
                          </a:lnTo>
                          <a:lnTo>
                            <a:pt x="3105" y="2055"/>
                          </a:lnTo>
                          <a:lnTo>
                            <a:pt x="3117" y="2054"/>
                          </a:lnTo>
                          <a:lnTo>
                            <a:pt x="3129" y="2053"/>
                          </a:lnTo>
                          <a:lnTo>
                            <a:pt x="3140" y="2049"/>
                          </a:lnTo>
                          <a:lnTo>
                            <a:pt x="3151" y="2046"/>
                          </a:lnTo>
                          <a:lnTo>
                            <a:pt x="3162" y="2040"/>
                          </a:lnTo>
                          <a:lnTo>
                            <a:pt x="3173" y="2034"/>
                          </a:lnTo>
                          <a:lnTo>
                            <a:pt x="3182" y="2025"/>
                          </a:lnTo>
                          <a:lnTo>
                            <a:pt x="3191" y="2017"/>
                          </a:lnTo>
                          <a:lnTo>
                            <a:pt x="3153" y="1979"/>
                          </a:lnTo>
                          <a:close/>
                          <a:moveTo>
                            <a:pt x="3051" y="1901"/>
                          </a:moveTo>
                          <a:lnTo>
                            <a:pt x="3051" y="1901"/>
                          </a:lnTo>
                          <a:lnTo>
                            <a:pt x="3052" y="1890"/>
                          </a:lnTo>
                          <a:lnTo>
                            <a:pt x="3056" y="1880"/>
                          </a:lnTo>
                          <a:lnTo>
                            <a:pt x="3060" y="1872"/>
                          </a:lnTo>
                          <a:lnTo>
                            <a:pt x="3065" y="1865"/>
                          </a:lnTo>
                          <a:lnTo>
                            <a:pt x="3072" y="1859"/>
                          </a:lnTo>
                          <a:lnTo>
                            <a:pt x="3079" y="1855"/>
                          </a:lnTo>
                          <a:lnTo>
                            <a:pt x="3088" y="1851"/>
                          </a:lnTo>
                          <a:lnTo>
                            <a:pt x="3097" y="1851"/>
                          </a:lnTo>
                          <a:lnTo>
                            <a:pt x="3097" y="1851"/>
                          </a:lnTo>
                          <a:lnTo>
                            <a:pt x="3108" y="1852"/>
                          </a:lnTo>
                          <a:lnTo>
                            <a:pt x="3117" y="1855"/>
                          </a:lnTo>
                          <a:lnTo>
                            <a:pt x="3125" y="1860"/>
                          </a:lnTo>
                          <a:lnTo>
                            <a:pt x="3131" y="1867"/>
                          </a:lnTo>
                          <a:lnTo>
                            <a:pt x="3136" y="1874"/>
                          </a:lnTo>
                          <a:lnTo>
                            <a:pt x="3140" y="1883"/>
                          </a:lnTo>
                          <a:lnTo>
                            <a:pt x="3142" y="1893"/>
                          </a:lnTo>
                          <a:lnTo>
                            <a:pt x="3144" y="1901"/>
                          </a:lnTo>
                          <a:lnTo>
                            <a:pt x="3051" y="1901"/>
                          </a:lnTo>
                          <a:close/>
                          <a:moveTo>
                            <a:pt x="2905" y="1964"/>
                          </a:moveTo>
                          <a:lnTo>
                            <a:pt x="2905" y="1964"/>
                          </a:lnTo>
                          <a:lnTo>
                            <a:pt x="2905" y="1973"/>
                          </a:lnTo>
                          <a:lnTo>
                            <a:pt x="2907" y="1979"/>
                          </a:lnTo>
                          <a:lnTo>
                            <a:pt x="2909" y="1985"/>
                          </a:lnTo>
                          <a:lnTo>
                            <a:pt x="2912" y="1990"/>
                          </a:lnTo>
                          <a:lnTo>
                            <a:pt x="2915" y="1993"/>
                          </a:lnTo>
                          <a:lnTo>
                            <a:pt x="2920" y="1996"/>
                          </a:lnTo>
                          <a:lnTo>
                            <a:pt x="2925" y="1997"/>
                          </a:lnTo>
                          <a:lnTo>
                            <a:pt x="2932" y="1997"/>
                          </a:lnTo>
                          <a:lnTo>
                            <a:pt x="2932" y="1997"/>
                          </a:lnTo>
                          <a:lnTo>
                            <a:pt x="2941" y="1997"/>
                          </a:lnTo>
                          <a:lnTo>
                            <a:pt x="2950" y="1995"/>
                          </a:lnTo>
                          <a:lnTo>
                            <a:pt x="2960" y="1991"/>
                          </a:lnTo>
                          <a:lnTo>
                            <a:pt x="2969" y="1986"/>
                          </a:lnTo>
                          <a:lnTo>
                            <a:pt x="2961" y="2043"/>
                          </a:lnTo>
                          <a:lnTo>
                            <a:pt x="2961" y="2043"/>
                          </a:lnTo>
                          <a:lnTo>
                            <a:pt x="2950" y="2048"/>
                          </a:lnTo>
                          <a:lnTo>
                            <a:pt x="2937" y="2052"/>
                          </a:lnTo>
                          <a:lnTo>
                            <a:pt x="2924" y="2054"/>
                          </a:lnTo>
                          <a:lnTo>
                            <a:pt x="2910" y="2055"/>
                          </a:lnTo>
                          <a:lnTo>
                            <a:pt x="2910" y="2055"/>
                          </a:lnTo>
                          <a:lnTo>
                            <a:pt x="2902" y="2054"/>
                          </a:lnTo>
                          <a:lnTo>
                            <a:pt x="2893" y="2053"/>
                          </a:lnTo>
                          <a:lnTo>
                            <a:pt x="2886" y="2051"/>
                          </a:lnTo>
                          <a:lnTo>
                            <a:pt x="2880" y="2048"/>
                          </a:lnTo>
                          <a:lnTo>
                            <a:pt x="2874" y="2045"/>
                          </a:lnTo>
                          <a:lnTo>
                            <a:pt x="2868" y="2041"/>
                          </a:lnTo>
                          <a:lnTo>
                            <a:pt x="2864" y="2036"/>
                          </a:lnTo>
                          <a:lnTo>
                            <a:pt x="2859" y="2030"/>
                          </a:lnTo>
                          <a:lnTo>
                            <a:pt x="2853" y="2019"/>
                          </a:lnTo>
                          <a:lnTo>
                            <a:pt x="2848" y="2006"/>
                          </a:lnTo>
                          <a:lnTo>
                            <a:pt x="2846" y="1993"/>
                          </a:lnTo>
                          <a:lnTo>
                            <a:pt x="2845" y="1980"/>
                          </a:lnTo>
                          <a:lnTo>
                            <a:pt x="2845" y="1861"/>
                          </a:lnTo>
                          <a:lnTo>
                            <a:pt x="2807" y="1861"/>
                          </a:lnTo>
                          <a:lnTo>
                            <a:pt x="2807" y="1805"/>
                          </a:lnTo>
                          <a:lnTo>
                            <a:pt x="2845" y="1805"/>
                          </a:lnTo>
                          <a:lnTo>
                            <a:pt x="2845" y="1742"/>
                          </a:lnTo>
                          <a:lnTo>
                            <a:pt x="2905" y="1711"/>
                          </a:lnTo>
                          <a:lnTo>
                            <a:pt x="2905" y="1805"/>
                          </a:lnTo>
                          <a:lnTo>
                            <a:pt x="2960" y="1805"/>
                          </a:lnTo>
                          <a:lnTo>
                            <a:pt x="2960" y="1861"/>
                          </a:lnTo>
                          <a:lnTo>
                            <a:pt x="2905" y="1861"/>
                          </a:lnTo>
                          <a:lnTo>
                            <a:pt x="2905" y="1964"/>
                          </a:lnTo>
                          <a:close/>
                          <a:moveTo>
                            <a:pt x="2788" y="2043"/>
                          </a:moveTo>
                          <a:lnTo>
                            <a:pt x="2788" y="2043"/>
                          </a:lnTo>
                          <a:lnTo>
                            <a:pt x="2777" y="2048"/>
                          </a:lnTo>
                          <a:lnTo>
                            <a:pt x="2764" y="2052"/>
                          </a:lnTo>
                          <a:lnTo>
                            <a:pt x="2751" y="2054"/>
                          </a:lnTo>
                          <a:lnTo>
                            <a:pt x="2738" y="2055"/>
                          </a:lnTo>
                          <a:lnTo>
                            <a:pt x="2738" y="2055"/>
                          </a:lnTo>
                          <a:lnTo>
                            <a:pt x="2728" y="2054"/>
                          </a:lnTo>
                          <a:lnTo>
                            <a:pt x="2721" y="2053"/>
                          </a:lnTo>
                          <a:lnTo>
                            <a:pt x="2713" y="2051"/>
                          </a:lnTo>
                          <a:lnTo>
                            <a:pt x="2706" y="2048"/>
                          </a:lnTo>
                          <a:lnTo>
                            <a:pt x="2701" y="2045"/>
                          </a:lnTo>
                          <a:lnTo>
                            <a:pt x="2695" y="2041"/>
                          </a:lnTo>
                          <a:lnTo>
                            <a:pt x="2690" y="2036"/>
                          </a:lnTo>
                          <a:lnTo>
                            <a:pt x="2687" y="2030"/>
                          </a:lnTo>
                          <a:lnTo>
                            <a:pt x="2679" y="2019"/>
                          </a:lnTo>
                          <a:lnTo>
                            <a:pt x="2676" y="2006"/>
                          </a:lnTo>
                          <a:lnTo>
                            <a:pt x="2672" y="1993"/>
                          </a:lnTo>
                          <a:lnTo>
                            <a:pt x="2672" y="1980"/>
                          </a:lnTo>
                          <a:lnTo>
                            <a:pt x="2672" y="1861"/>
                          </a:lnTo>
                          <a:lnTo>
                            <a:pt x="2634" y="1861"/>
                          </a:lnTo>
                          <a:lnTo>
                            <a:pt x="2634" y="1805"/>
                          </a:lnTo>
                          <a:lnTo>
                            <a:pt x="2672" y="1805"/>
                          </a:lnTo>
                          <a:lnTo>
                            <a:pt x="2672" y="1742"/>
                          </a:lnTo>
                          <a:lnTo>
                            <a:pt x="2733" y="1711"/>
                          </a:lnTo>
                          <a:lnTo>
                            <a:pt x="2733" y="1805"/>
                          </a:lnTo>
                          <a:lnTo>
                            <a:pt x="2784" y="1805"/>
                          </a:lnTo>
                          <a:lnTo>
                            <a:pt x="2784" y="1861"/>
                          </a:lnTo>
                          <a:lnTo>
                            <a:pt x="2733" y="1861"/>
                          </a:lnTo>
                          <a:lnTo>
                            <a:pt x="2733" y="1964"/>
                          </a:lnTo>
                          <a:lnTo>
                            <a:pt x="2733" y="1964"/>
                          </a:lnTo>
                          <a:lnTo>
                            <a:pt x="2733" y="1973"/>
                          </a:lnTo>
                          <a:lnTo>
                            <a:pt x="2734" y="1979"/>
                          </a:lnTo>
                          <a:lnTo>
                            <a:pt x="2737" y="1985"/>
                          </a:lnTo>
                          <a:lnTo>
                            <a:pt x="2739" y="1990"/>
                          </a:lnTo>
                          <a:lnTo>
                            <a:pt x="2743" y="1993"/>
                          </a:lnTo>
                          <a:lnTo>
                            <a:pt x="2747" y="1996"/>
                          </a:lnTo>
                          <a:lnTo>
                            <a:pt x="2752" y="1997"/>
                          </a:lnTo>
                          <a:lnTo>
                            <a:pt x="2758" y="1997"/>
                          </a:lnTo>
                          <a:lnTo>
                            <a:pt x="2758" y="1997"/>
                          </a:lnTo>
                          <a:lnTo>
                            <a:pt x="2768" y="1997"/>
                          </a:lnTo>
                          <a:lnTo>
                            <a:pt x="2778" y="1995"/>
                          </a:lnTo>
                          <a:lnTo>
                            <a:pt x="2786" y="1991"/>
                          </a:lnTo>
                          <a:lnTo>
                            <a:pt x="2795" y="1986"/>
                          </a:lnTo>
                          <a:lnTo>
                            <a:pt x="2788" y="2043"/>
                          </a:lnTo>
                          <a:close/>
                          <a:moveTo>
                            <a:pt x="3384" y="1873"/>
                          </a:moveTo>
                          <a:lnTo>
                            <a:pt x="3384" y="1873"/>
                          </a:lnTo>
                          <a:lnTo>
                            <a:pt x="3376" y="1867"/>
                          </a:lnTo>
                          <a:lnTo>
                            <a:pt x="3366" y="1863"/>
                          </a:lnTo>
                          <a:lnTo>
                            <a:pt x="3355" y="1861"/>
                          </a:lnTo>
                          <a:lnTo>
                            <a:pt x="3344" y="1860"/>
                          </a:lnTo>
                          <a:lnTo>
                            <a:pt x="3344" y="1860"/>
                          </a:lnTo>
                          <a:lnTo>
                            <a:pt x="3334" y="1861"/>
                          </a:lnTo>
                          <a:lnTo>
                            <a:pt x="3325" y="1863"/>
                          </a:lnTo>
                          <a:lnTo>
                            <a:pt x="3317" y="1868"/>
                          </a:lnTo>
                          <a:lnTo>
                            <a:pt x="3311" y="1874"/>
                          </a:lnTo>
                          <a:lnTo>
                            <a:pt x="3306" y="1882"/>
                          </a:lnTo>
                          <a:lnTo>
                            <a:pt x="3304" y="1891"/>
                          </a:lnTo>
                          <a:lnTo>
                            <a:pt x="3302" y="1904"/>
                          </a:lnTo>
                          <a:lnTo>
                            <a:pt x="3300" y="1917"/>
                          </a:lnTo>
                          <a:lnTo>
                            <a:pt x="3300" y="2049"/>
                          </a:lnTo>
                          <a:lnTo>
                            <a:pt x="3241" y="2049"/>
                          </a:lnTo>
                          <a:lnTo>
                            <a:pt x="3241" y="1805"/>
                          </a:lnTo>
                          <a:lnTo>
                            <a:pt x="3300" y="1805"/>
                          </a:lnTo>
                          <a:lnTo>
                            <a:pt x="3300" y="1826"/>
                          </a:lnTo>
                          <a:lnTo>
                            <a:pt x="3300" y="1826"/>
                          </a:lnTo>
                          <a:lnTo>
                            <a:pt x="3306" y="1820"/>
                          </a:lnTo>
                          <a:lnTo>
                            <a:pt x="3313" y="1814"/>
                          </a:lnTo>
                          <a:lnTo>
                            <a:pt x="3319" y="1810"/>
                          </a:lnTo>
                          <a:lnTo>
                            <a:pt x="3326" y="1806"/>
                          </a:lnTo>
                          <a:lnTo>
                            <a:pt x="3332" y="1803"/>
                          </a:lnTo>
                          <a:lnTo>
                            <a:pt x="3339" y="1801"/>
                          </a:lnTo>
                          <a:lnTo>
                            <a:pt x="3347" y="1800"/>
                          </a:lnTo>
                          <a:lnTo>
                            <a:pt x="3355" y="1799"/>
                          </a:lnTo>
                          <a:lnTo>
                            <a:pt x="3355" y="1799"/>
                          </a:lnTo>
                          <a:lnTo>
                            <a:pt x="3367" y="1800"/>
                          </a:lnTo>
                          <a:lnTo>
                            <a:pt x="3379" y="1804"/>
                          </a:lnTo>
                          <a:lnTo>
                            <a:pt x="3390" y="1807"/>
                          </a:lnTo>
                          <a:lnTo>
                            <a:pt x="3400" y="1814"/>
                          </a:lnTo>
                          <a:lnTo>
                            <a:pt x="3384" y="1873"/>
                          </a:lnTo>
                          <a:close/>
                          <a:moveTo>
                            <a:pt x="653" y="1747"/>
                          </a:moveTo>
                          <a:lnTo>
                            <a:pt x="653" y="1770"/>
                          </a:lnTo>
                          <a:lnTo>
                            <a:pt x="592" y="1770"/>
                          </a:lnTo>
                          <a:lnTo>
                            <a:pt x="592" y="1709"/>
                          </a:lnTo>
                          <a:lnTo>
                            <a:pt x="653" y="1709"/>
                          </a:lnTo>
                          <a:lnTo>
                            <a:pt x="653" y="1747"/>
                          </a:lnTo>
                          <a:close/>
                          <a:moveTo>
                            <a:pt x="1073" y="1805"/>
                          </a:moveTo>
                          <a:lnTo>
                            <a:pt x="1134" y="1805"/>
                          </a:lnTo>
                          <a:lnTo>
                            <a:pt x="1134" y="1930"/>
                          </a:lnTo>
                          <a:lnTo>
                            <a:pt x="1134" y="2049"/>
                          </a:lnTo>
                          <a:lnTo>
                            <a:pt x="1073" y="2049"/>
                          </a:lnTo>
                          <a:lnTo>
                            <a:pt x="1073" y="1805"/>
                          </a:lnTo>
                          <a:close/>
                          <a:moveTo>
                            <a:pt x="1134" y="1739"/>
                          </a:moveTo>
                          <a:lnTo>
                            <a:pt x="1134" y="1770"/>
                          </a:lnTo>
                          <a:lnTo>
                            <a:pt x="1073" y="1770"/>
                          </a:lnTo>
                          <a:lnTo>
                            <a:pt x="1073" y="1709"/>
                          </a:lnTo>
                          <a:lnTo>
                            <a:pt x="1134" y="1709"/>
                          </a:lnTo>
                          <a:lnTo>
                            <a:pt x="1134" y="1739"/>
                          </a:lnTo>
                          <a:close/>
                          <a:moveTo>
                            <a:pt x="2796" y="2250"/>
                          </a:moveTo>
                          <a:lnTo>
                            <a:pt x="2796" y="2250"/>
                          </a:lnTo>
                          <a:lnTo>
                            <a:pt x="2790" y="2245"/>
                          </a:lnTo>
                          <a:lnTo>
                            <a:pt x="2784" y="2240"/>
                          </a:lnTo>
                          <a:lnTo>
                            <a:pt x="2778" y="2237"/>
                          </a:lnTo>
                          <a:lnTo>
                            <a:pt x="2771" y="2233"/>
                          </a:lnTo>
                          <a:lnTo>
                            <a:pt x="2764" y="2231"/>
                          </a:lnTo>
                          <a:lnTo>
                            <a:pt x="2757" y="2229"/>
                          </a:lnTo>
                          <a:lnTo>
                            <a:pt x="2741" y="2227"/>
                          </a:lnTo>
                          <a:lnTo>
                            <a:pt x="2741" y="2227"/>
                          </a:lnTo>
                          <a:lnTo>
                            <a:pt x="2730" y="2228"/>
                          </a:lnTo>
                          <a:lnTo>
                            <a:pt x="2721" y="2229"/>
                          </a:lnTo>
                          <a:lnTo>
                            <a:pt x="2711" y="2233"/>
                          </a:lnTo>
                          <a:lnTo>
                            <a:pt x="2701" y="2237"/>
                          </a:lnTo>
                          <a:lnTo>
                            <a:pt x="2693" y="2241"/>
                          </a:lnTo>
                          <a:lnTo>
                            <a:pt x="2685" y="2246"/>
                          </a:lnTo>
                          <a:lnTo>
                            <a:pt x="2678" y="2254"/>
                          </a:lnTo>
                          <a:lnTo>
                            <a:pt x="2671" y="2261"/>
                          </a:lnTo>
                          <a:lnTo>
                            <a:pt x="2666" y="2269"/>
                          </a:lnTo>
                          <a:lnTo>
                            <a:pt x="2660" y="2279"/>
                          </a:lnTo>
                          <a:lnTo>
                            <a:pt x="2656" y="2289"/>
                          </a:lnTo>
                          <a:lnTo>
                            <a:pt x="2653" y="2301"/>
                          </a:lnTo>
                          <a:lnTo>
                            <a:pt x="2649" y="2312"/>
                          </a:lnTo>
                          <a:lnTo>
                            <a:pt x="2648" y="2325"/>
                          </a:lnTo>
                          <a:lnTo>
                            <a:pt x="2647" y="2339"/>
                          </a:lnTo>
                          <a:lnTo>
                            <a:pt x="2645" y="2353"/>
                          </a:lnTo>
                          <a:lnTo>
                            <a:pt x="2645" y="2353"/>
                          </a:lnTo>
                          <a:lnTo>
                            <a:pt x="2647" y="2368"/>
                          </a:lnTo>
                          <a:lnTo>
                            <a:pt x="2648" y="2381"/>
                          </a:lnTo>
                          <a:lnTo>
                            <a:pt x="2649" y="2395"/>
                          </a:lnTo>
                          <a:lnTo>
                            <a:pt x="2653" y="2408"/>
                          </a:lnTo>
                          <a:lnTo>
                            <a:pt x="2655" y="2419"/>
                          </a:lnTo>
                          <a:lnTo>
                            <a:pt x="2660" y="2430"/>
                          </a:lnTo>
                          <a:lnTo>
                            <a:pt x="2665" y="2440"/>
                          </a:lnTo>
                          <a:lnTo>
                            <a:pt x="2671" y="2448"/>
                          </a:lnTo>
                          <a:lnTo>
                            <a:pt x="2677" y="2457"/>
                          </a:lnTo>
                          <a:lnTo>
                            <a:pt x="2684" y="2463"/>
                          </a:lnTo>
                          <a:lnTo>
                            <a:pt x="2692" y="2469"/>
                          </a:lnTo>
                          <a:lnTo>
                            <a:pt x="2700" y="2474"/>
                          </a:lnTo>
                          <a:lnTo>
                            <a:pt x="2710" y="2479"/>
                          </a:lnTo>
                          <a:lnTo>
                            <a:pt x="2720" y="2481"/>
                          </a:lnTo>
                          <a:lnTo>
                            <a:pt x="2729" y="2482"/>
                          </a:lnTo>
                          <a:lnTo>
                            <a:pt x="2740" y="2483"/>
                          </a:lnTo>
                          <a:lnTo>
                            <a:pt x="2740" y="2483"/>
                          </a:lnTo>
                          <a:lnTo>
                            <a:pt x="2747" y="2482"/>
                          </a:lnTo>
                          <a:lnTo>
                            <a:pt x="2756" y="2481"/>
                          </a:lnTo>
                          <a:lnTo>
                            <a:pt x="2763" y="2480"/>
                          </a:lnTo>
                          <a:lnTo>
                            <a:pt x="2769" y="2477"/>
                          </a:lnTo>
                          <a:lnTo>
                            <a:pt x="2777" y="2474"/>
                          </a:lnTo>
                          <a:lnTo>
                            <a:pt x="2784" y="2470"/>
                          </a:lnTo>
                          <a:lnTo>
                            <a:pt x="2790" y="2465"/>
                          </a:lnTo>
                          <a:lnTo>
                            <a:pt x="2796" y="2459"/>
                          </a:lnTo>
                          <a:lnTo>
                            <a:pt x="2796" y="2477"/>
                          </a:lnTo>
                          <a:lnTo>
                            <a:pt x="2857" y="2477"/>
                          </a:lnTo>
                          <a:lnTo>
                            <a:pt x="2857" y="2131"/>
                          </a:lnTo>
                          <a:lnTo>
                            <a:pt x="2796" y="2161"/>
                          </a:lnTo>
                          <a:lnTo>
                            <a:pt x="2796" y="2250"/>
                          </a:lnTo>
                          <a:close/>
                          <a:moveTo>
                            <a:pt x="2754" y="2427"/>
                          </a:moveTo>
                          <a:lnTo>
                            <a:pt x="2754" y="2427"/>
                          </a:lnTo>
                          <a:lnTo>
                            <a:pt x="2745" y="2426"/>
                          </a:lnTo>
                          <a:lnTo>
                            <a:pt x="2738" y="2424"/>
                          </a:lnTo>
                          <a:lnTo>
                            <a:pt x="2729" y="2420"/>
                          </a:lnTo>
                          <a:lnTo>
                            <a:pt x="2722" y="2413"/>
                          </a:lnTo>
                          <a:lnTo>
                            <a:pt x="2716" y="2403"/>
                          </a:lnTo>
                          <a:lnTo>
                            <a:pt x="2711" y="2390"/>
                          </a:lnTo>
                          <a:lnTo>
                            <a:pt x="2709" y="2373"/>
                          </a:lnTo>
                          <a:lnTo>
                            <a:pt x="2707" y="2351"/>
                          </a:lnTo>
                          <a:lnTo>
                            <a:pt x="2707" y="2351"/>
                          </a:lnTo>
                          <a:lnTo>
                            <a:pt x="2709" y="2333"/>
                          </a:lnTo>
                          <a:lnTo>
                            <a:pt x="2711" y="2317"/>
                          </a:lnTo>
                          <a:lnTo>
                            <a:pt x="2716" y="2305"/>
                          </a:lnTo>
                          <a:lnTo>
                            <a:pt x="2722" y="2296"/>
                          </a:lnTo>
                          <a:lnTo>
                            <a:pt x="2729" y="2290"/>
                          </a:lnTo>
                          <a:lnTo>
                            <a:pt x="2737" y="2285"/>
                          </a:lnTo>
                          <a:lnTo>
                            <a:pt x="2745" y="2284"/>
                          </a:lnTo>
                          <a:lnTo>
                            <a:pt x="2752" y="2283"/>
                          </a:lnTo>
                          <a:lnTo>
                            <a:pt x="2752" y="2283"/>
                          </a:lnTo>
                          <a:lnTo>
                            <a:pt x="2761" y="2284"/>
                          </a:lnTo>
                          <a:lnTo>
                            <a:pt x="2768" y="2285"/>
                          </a:lnTo>
                          <a:lnTo>
                            <a:pt x="2774" y="2288"/>
                          </a:lnTo>
                          <a:lnTo>
                            <a:pt x="2780" y="2291"/>
                          </a:lnTo>
                          <a:lnTo>
                            <a:pt x="2785" y="2295"/>
                          </a:lnTo>
                          <a:lnTo>
                            <a:pt x="2790" y="2299"/>
                          </a:lnTo>
                          <a:lnTo>
                            <a:pt x="2796" y="2307"/>
                          </a:lnTo>
                          <a:lnTo>
                            <a:pt x="2796" y="2403"/>
                          </a:lnTo>
                          <a:lnTo>
                            <a:pt x="2796" y="2403"/>
                          </a:lnTo>
                          <a:lnTo>
                            <a:pt x="2789" y="2412"/>
                          </a:lnTo>
                          <a:lnTo>
                            <a:pt x="2780" y="2419"/>
                          </a:lnTo>
                          <a:lnTo>
                            <a:pt x="2774" y="2423"/>
                          </a:lnTo>
                          <a:lnTo>
                            <a:pt x="2768" y="2425"/>
                          </a:lnTo>
                          <a:lnTo>
                            <a:pt x="2761" y="2426"/>
                          </a:lnTo>
                          <a:lnTo>
                            <a:pt x="2754" y="2427"/>
                          </a:lnTo>
                          <a:lnTo>
                            <a:pt x="2754" y="2427"/>
                          </a:lnTo>
                          <a:close/>
                          <a:moveTo>
                            <a:pt x="740" y="2301"/>
                          </a:moveTo>
                          <a:lnTo>
                            <a:pt x="740" y="2301"/>
                          </a:lnTo>
                          <a:lnTo>
                            <a:pt x="732" y="2296"/>
                          </a:lnTo>
                          <a:lnTo>
                            <a:pt x="722" y="2291"/>
                          </a:lnTo>
                          <a:lnTo>
                            <a:pt x="711" y="2289"/>
                          </a:lnTo>
                          <a:lnTo>
                            <a:pt x="700" y="2288"/>
                          </a:lnTo>
                          <a:lnTo>
                            <a:pt x="700" y="2288"/>
                          </a:lnTo>
                          <a:lnTo>
                            <a:pt x="690" y="2289"/>
                          </a:lnTo>
                          <a:lnTo>
                            <a:pt x="680" y="2291"/>
                          </a:lnTo>
                          <a:lnTo>
                            <a:pt x="673" y="2296"/>
                          </a:lnTo>
                          <a:lnTo>
                            <a:pt x="667" y="2302"/>
                          </a:lnTo>
                          <a:lnTo>
                            <a:pt x="662" y="2310"/>
                          </a:lnTo>
                          <a:lnTo>
                            <a:pt x="660" y="2319"/>
                          </a:lnTo>
                          <a:lnTo>
                            <a:pt x="657" y="2331"/>
                          </a:lnTo>
                          <a:lnTo>
                            <a:pt x="656" y="2345"/>
                          </a:lnTo>
                          <a:lnTo>
                            <a:pt x="656" y="2477"/>
                          </a:lnTo>
                          <a:lnTo>
                            <a:pt x="597" y="2477"/>
                          </a:lnTo>
                          <a:lnTo>
                            <a:pt x="597" y="2233"/>
                          </a:lnTo>
                          <a:lnTo>
                            <a:pt x="656" y="2233"/>
                          </a:lnTo>
                          <a:lnTo>
                            <a:pt x="656" y="2254"/>
                          </a:lnTo>
                          <a:lnTo>
                            <a:pt x="656" y="2254"/>
                          </a:lnTo>
                          <a:lnTo>
                            <a:pt x="662" y="2248"/>
                          </a:lnTo>
                          <a:lnTo>
                            <a:pt x="668" y="2241"/>
                          </a:lnTo>
                          <a:lnTo>
                            <a:pt x="674" y="2238"/>
                          </a:lnTo>
                          <a:lnTo>
                            <a:pt x="682" y="2234"/>
                          </a:lnTo>
                          <a:lnTo>
                            <a:pt x="688" y="2231"/>
                          </a:lnTo>
                          <a:lnTo>
                            <a:pt x="695" y="2229"/>
                          </a:lnTo>
                          <a:lnTo>
                            <a:pt x="704" y="2228"/>
                          </a:lnTo>
                          <a:lnTo>
                            <a:pt x="711" y="2227"/>
                          </a:lnTo>
                          <a:lnTo>
                            <a:pt x="711" y="2227"/>
                          </a:lnTo>
                          <a:lnTo>
                            <a:pt x="723" y="2228"/>
                          </a:lnTo>
                          <a:lnTo>
                            <a:pt x="735" y="2232"/>
                          </a:lnTo>
                          <a:lnTo>
                            <a:pt x="747" y="2237"/>
                          </a:lnTo>
                          <a:lnTo>
                            <a:pt x="757" y="2243"/>
                          </a:lnTo>
                          <a:lnTo>
                            <a:pt x="740" y="2301"/>
                          </a:lnTo>
                          <a:close/>
                          <a:moveTo>
                            <a:pt x="265" y="2233"/>
                          </a:moveTo>
                          <a:lnTo>
                            <a:pt x="324" y="2233"/>
                          </a:lnTo>
                          <a:lnTo>
                            <a:pt x="255" y="2477"/>
                          </a:lnTo>
                          <a:lnTo>
                            <a:pt x="203" y="2477"/>
                          </a:lnTo>
                          <a:lnTo>
                            <a:pt x="176" y="2376"/>
                          </a:lnTo>
                          <a:lnTo>
                            <a:pt x="176" y="2376"/>
                          </a:lnTo>
                          <a:lnTo>
                            <a:pt x="163" y="2323"/>
                          </a:lnTo>
                          <a:lnTo>
                            <a:pt x="163" y="2323"/>
                          </a:lnTo>
                          <a:lnTo>
                            <a:pt x="157" y="2348"/>
                          </a:lnTo>
                          <a:lnTo>
                            <a:pt x="149" y="2378"/>
                          </a:lnTo>
                          <a:lnTo>
                            <a:pt x="122" y="2477"/>
                          </a:lnTo>
                          <a:lnTo>
                            <a:pt x="69" y="2477"/>
                          </a:lnTo>
                          <a:lnTo>
                            <a:pt x="69" y="2476"/>
                          </a:lnTo>
                          <a:lnTo>
                            <a:pt x="0" y="2233"/>
                          </a:lnTo>
                          <a:lnTo>
                            <a:pt x="63" y="2233"/>
                          </a:lnTo>
                          <a:lnTo>
                            <a:pt x="85" y="2324"/>
                          </a:lnTo>
                          <a:lnTo>
                            <a:pt x="85" y="2324"/>
                          </a:lnTo>
                          <a:lnTo>
                            <a:pt x="91" y="2353"/>
                          </a:lnTo>
                          <a:lnTo>
                            <a:pt x="97" y="2384"/>
                          </a:lnTo>
                          <a:lnTo>
                            <a:pt x="97" y="2384"/>
                          </a:lnTo>
                          <a:lnTo>
                            <a:pt x="105" y="2353"/>
                          </a:lnTo>
                          <a:lnTo>
                            <a:pt x="112" y="2323"/>
                          </a:lnTo>
                          <a:lnTo>
                            <a:pt x="137" y="2233"/>
                          </a:lnTo>
                          <a:lnTo>
                            <a:pt x="190" y="2233"/>
                          </a:lnTo>
                          <a:lnTo>
                            <a:pt x="215" y="2323"/>
                          </a:lnTo>
                          <a:lnTo>
                            <a:pt x="215" y="2323"/>
                          </a:lnTo>
                          <a:lnTo>
                            <a:pt x="222" y="2352"/>
                          </a:lnTo>
                          <a:lnTo>
                            <a:pt x="230" y="2385"/>
                          </a:lnTo>
                          <a:lnTo>
                            <a:pt x="230" y="2385"/>
                          </a:lnTo>
                          <a:lnTo>
                            <a:pt x="235" y="2357"/>
                          </a:lnTo>
                          <a:lnTo>
                            <a:pt x="242" y="2323"/>
                          </a:lnTo>
                          <a:lnTo>
                            <a:pt x="265" y="2233"/>
                          </a:lnTo>
                          <a:close/>
                          <a:moveTo>
                            <a:pt x="447" y="2227"/>
                          </a:moveTo>
                          <a:lnTo>
                            <a:pt x="447" y="2227"/>
                          </a:lnTo>
                          <a:lnTo>
                            <a:pt x="436" y="2228"/>
                          </a:lnTo>
                          <a:lnTo>
                            <a:pt x="424" y="2229"/>
                          </a:lnTo>
                          <a:lnTo>
                            <a:pt x="413" y="2233"/>
                          </a:lnTo>
                          <a:lnTo>
                            <a:pt x="403" y="2237"/>
                          </a:lnTo>
                          <a:lnTo>
                            <a:pt x="394" y="2241"/>
                          </a:lnTo>
                          <a:lnTo>
                            <a:pt x="384" y="2248"/>
                          </a:lnTo>
                          <a:lnTo>
                            <a:pt x="375" y="2255"/>
                          </a:lnTo>
                          <a:lnTo>
                            <a:pt x="368" y="2263"/>
                          </a:lnTo>
                          <a:lnTo>
                            <a:pt x="361" y="2272"/>
                          </a:lnTo>
                          <a:lnTo>
                            <a:pt x="355" y="2282"/>
                          </a:lnTo>
                          <a:lnTo>
                            <a:pt x="349" y="2293"/>
                          </a:lnTo>
                          <a:lnTo>
                            <a:pt x="345" y="2303"/>
                          </a:lnTo>
                          <a:lnTo>
                            <a:pt x="341" y="2316"/>
                          </a:lnTo>
                          <a:lnTo>
                            <a:pt x="339" y="2328"/>
                          </a:lnTo>
                          <a:lnTo>
                            <a:pt x="337" y="2341"/>
                          </a:lnTo>
                          <a:lnTo>
                            <a:pt x="337" y="2356"/>
                          </a:lnTo>
                          <a:lnTo>
                            <a:pt x="337" y="2356"/>
                          </a:lnTo>
                          <a:lnTo>
                            <a:pt x="337" y="2369"/>
                          </a:lnTo>
                          <a:lnTo>
                            <a:pt x="339" y="2382"/>
                          </a:lnTo>
                          <a:lnTo>
                            <a:pt x="341" y="2395"/>
                          </a:lnTo>
                          <a:lnTo>
                            <a:pt x="345" y="2407"/>
                          </a:lnTo>
                          <a:lnTo>
                            <a:pt x="349" y="2418"/>
                          </a:lnTo>
                          <a:lnTo>
                            <a:pt x="355" y="2429"/>
                          </a:lnTo>
                          <a:lnTo>
                            <a:pt x="361" y="2438"/>
                          </a:lnTo>
                          <a:lnTo>
                            <a:pt x="368" y="2447"/>
                          </a:lnTo>
                          <a:lnTo>
                            <a:pt x="375" y="2455"/>
                          </a:lnTo>
                          <a:lnTo>
                            <a:pt x="384" y="2463"/>
                          </a:lnTo>
                          <a:lnTo>
                            <a:pt x="394" y="2469"/>
                          </a:lnTo>
                          <a:lnTo>
                            <a:pt x="403" y="2474"/>
                          </a:lnTo>
                          <a:lnTo>
                            <a:pt x="413" y="2477"/>
                          </a:lnTo>
                          <a:lnTo>
                            <a:pt x="424" y="2481"/>
                          </a:lnTo>
                          <a:lnTo>
                            <a:pt x="436" y="2482"/>
                          </a:lnTo>
                          <a:lnTo>
                            <a:pt x="447" y="2483"/>
                          </a:lnTo>
                          <a:lnTo>
                            <a:pt x="447" y="2483"/>
                          </a:lnTo>
                          <a:lnTo>
                            <a:pt x="459" y="2482"/>
                          </a:lnTo>
                          <a:lnTo>
                            <a:pt x="471" y="2481"/>
                          </a:lnTo>
                          <a:lnTo>
                            <a:pt x="482" y="2477"/>
                          </a:lnTo>
                          <a:lnTo>
                            <a:pt x="492" y="2474"/>
                          </a:lnTo>
                          <a:lnTo>
                            <a:pt x="502" y="2469"/>
                          </a:lnTo>
                          <a:lnTo>
                            <a:pt x="512" y="2463"/>
                          </a:lnTo>
                          <a:lnTo>
                            <a:pt x="520" y="2455"/>
                          </a:lnTo>
                          <a:lnTo>
                            <a:pt x="527" y="2447"/>
                          </a:lnTo>
                          <a:lnTo>
                            <a:pt x="535" y="2438"/>
                          </a:lnTo>
                          <a:lnTo>
                            <a:pt x="541" y="2429"/>
                          </a:lnTo>
                          <a:lnTo>
                            <a:pt x="546" y="2418"/>
                          </a:lnTo>
                          <a:lnTo>
                            <a:pt x="550" y="2407"/>
                          </a:lnTo>
                          <a:lnTo>
                            <a:pt x="554" y="2395"/>
                          </a:lnTo>
                          <a:lnTo>
                            <a:pt x="557" y="2382"/>
                          </a:lnTo>
                          <a:lnTo>
                            <a:pt x="559" y="2369"/>
                          </a:lnTo>
                          <a:lnTo>
                            <a:pt x="559" y="2356"/>
                          </a:lnTo>
                          <a:lnTo>
                            <a:pt x="559" y="2356"/>
                          </a:lnTo>
                          <a:lnTo>
                            <a:pt x="559" y="2341"/>
                          </a:lnTo>
                          <a:lnTo>
                            <a:pt x="557" y="2328"/>
                          </a:lnTo>
                          <a:lnTo>
                            <a:pt x="554" y="2316"/>
                          </a:lnTo>
                          <a:lnTo>
                            <a:pt x="550" y="2303"/>
                          </a:lnTo>
                          <a:lnTo>
                            <a:pt x="546" y="2293"/>
                          </a:lnTo>
                          <a:lnTo>
                            <a:pt x="541" y="2282"/>
                          </a:lnTo>
                          <a:lnTo>
                            <a:pt x="535" y="2272"/>
                          </a:lnTo>
                          <a:lnTo>
                            <a:pt x="527" y="2263"/>
                          </a:lnTo>
                          <a:lnTo>
                            <a:pt x="520" y="2255"/>
                          </a:lnTo>
                          <a:lnTo>
                            <a:pt x="512" y="2248"/>
                          </a:lnTo>
                          <a:lnTo>
                            <a:pt x="502" y="2241"/>
                          </a:lnTo>
                          <a:lnTo>
                            <a:pt x="492" y="2237"/>
                          </a:lnTo>
                          <a:lnTo>
                            <a:pt x="482" y="2233"/>
                          </a:lnTo>
                          <a:lnTo>
                            <a:pt x="471" y="2229"/>
                          </a:lnTo>
                          <a:lnTo>
                            <a:pt x="459" y="2228"/>
                          </a:lnTo>
                          <a:lnTo>
                            <a:pt x="447" y="2227"/>
                          </a:lnTo>
                          <a:lnTo>
                            <a:pt x="447" y="2227"/>
                          </a:lnTo>
                          <a:close/>
                          <a:moveTo>
                            <a:pt x="447" y="2426"/>
                          </a:moveTo>
                          <a:lnTo>
                            <a:pt x="447" y="2426"/>
                          </a:lnTo>
                          <a:lnTo>
                            <a:pt x="436" y="2425"/>
                          </a:lnTo>
                          <a:lnTo>
                            <a:pt x="427" y="2421"/>
                          </a:lnTo>
                          <a:lnTo>
                            <a:pt x="419" y="2415"/>
                          </a:lnTo>
                          <a:lnTo>
                            <a:pt x="412" y="2407"/>
                          </a:lnTo>
                          <a:lnTo>
                            <a:pt x="406" y="2397"/>
                          </a:lnTo>
                          <a:lnTo>
                            <a:pt x="401" y="2385"/>
                          </a:lnTo>
                          <a:lnTo>
                            <a:pt x="399" y="2370"/>
                          </a:lnTo>
                          <a:lnTo>
                            <a:pt x="399" y="2356"/>
                          </a:lnTo>
                          <a:lnTo>
                            <a:pt x="399" y="2356"/>
                          </a:lnTo>
                          <a:lnTo>
                            <a:pt x="399" y="2340"/>
                          </a:lnTo>
                          <a:lnTo>
                            <a:pt x="401" y="2325"/>
                          </a:lnTo>
                          <a:lnTo>
                            <a:pt x="406" y="2314"/>
                          </a:lnTo>
                          <a:lnTo>
                            <a:pt x="412" y="2303"/>
                          </a:lnTo>
                          <a:lnTo>
                            <a:pt x="419" y="2295"/>
                          </a:lnTo>
                          <a:lnTo>
                            <a:pt x="427" y="2289"/>
                          </a:lnTo>
                          <a:lnTo>
                            <a:pt x="436" y="2285"/>
                          </a:lnTo>
                          <a:lnTo>
                            <a:pt x="447" y="2284"/>
                          </a:lnTo>
                          <a:lnTo>
                            <a:pt x="447" y="2284"/>
                          </a:lnTo>
                          <a:lnTo>
                            <a:pt x="458" y="2285"/>
                          </a:lnTo>
                          <a:lnTo>
                            <a:pt x="468" y="2289"/>
                          </a:lnTo>
                          <a:lnTo>
                            <a:pt x="476" y="2295"/>
                          </a:lnTo>
                          <a:lnTo>
                            <a:pt x="484" y="2303"/>
                          </a:lnTo>
                          <a:lnTo>
                            <a:pt x="490" y="2314"/>
                          </a:lnTo>
                          <a:lnTo>
                            <a:pt x="493" y="2325"/>
                          </a:lnTo>
                          <a:lnTo>
                            <a:pt x="496" y="2340"/>
                          </a:lnTo>
                          <a:lnTo>
                            <a:pt x="497" y="2356"/>
                          </a:lnTo>
                          <a:lnTo>
                            <a:pt x="497" y="2356"/>
                          </a:lnTo>
                          <a:lnTo>
                            <a:pt x="496" y="2370"/>
                          </a:lnTo>
                          <a:lnTo>
                            <a:pt x="493" y="2385"/>
                          </a:lnTo>
                          <a:lnTo>
                            <a:pt x="490" y="2397"/>
                          </a:lnTo>
                          <a:lnTo>
                            <a:pt x="484" y="2407"/>
                          </a:lnTo>
                          <a:lnTo>
                            <a:pt x="476" y="2415"/>
                          </a:lnTo>
                          <a:lnTo>
                            <a:pt x="468" y="2421"/>
                          </a:lnTo>
                          <a:lnTo>
                            <a:pt x="458" y="2425"/>
                          </a:lnTo>
                          <a:lnTo>
                            <a:pt x="447" y="2426"/>
                          </a:lnTo>
                          <a:lnTo>
                            <a:pt x="447" y="2426"/>
                          </a:lnTo>
                          <a:close/>
                          <a:moveTo>
                            <a:pt x="2498" y="2301"/>
                          </a:moveTo>
                          <a:lnTo>
                            <a:pt x="2498" y="2301"/>
                          </a:lnTo>
                          <a:lnTo>
                            <a:pt x="2489" y="2296"/>
                          </a:lnTo>
                          <a:lnTo>
                            <a:pt x="2479" y="2291"/>
                          </a:lnTo>
                          <a:lnTo>
                            <a:pt x="2468" y="2289"/>
                          </a:lnTo>
                          <a:lnTo>
                            <a:pt x="2458" y="2288"/>
                          </a:lnTo>
                          <a:lnTo>
                            <a:pt x="2458" y="2288"/>
                          </a:lnTo>
                          <a:lnTo>
                            <a:pt x="2447" y="2289"/>
                          </a:lnTo>
                          <a:lnTo>
                            <a:pt x="2439" y="2291"/>
                          </a:lnTo>
                          <a:lnTo>
                            <a:pt x="2432" y="2296"/>
                          </a:lnTo>
                          <a:lnTo>
                            <a:pt x="2425" y="2302"/>
                          </a:lnTo>
                          <a:lnTo>
                            <a:pt x="2421" y="2310"/>
                          </a:lnTo>
                          <a:lnTo>
                            <a:pt x="2417" y="2319"/>
                          </a:lnTo>
                          <a:lnTo>
                            <a:pt x="2415" y="2331"/>
                          </a:lnTo>
                          <a:lnTo>
                            <a:pt x="2415" y="2345"/>
                          </a:lnTo>
                          <a:lnTo>
                            <a:pt x="2415" y="2477"/>
                          </a:lnTo>
                          <a:lnTo>
                            <a:pt x="2354" y="2477"/>
                          </a:lnTo>
                          <a:lnTo>
                            <a:pt x="2354" y="2233"/>
                          </a:lnTo>
                          <a:lnTo>
                            <a:pt x="2415" y="2233"/>
                          </a:lnTo>
                          <a:lnTo>
                            <a:pt x="2415" y="2254"/>
                          </a:lnTo>
                          <a:lnTo>
                            <a:pt x="2415" y="2254"/>
                          </a:lnTo>
                          <a:lnTo>
                            <a:pt x="2419" y="2248"/>
                          </a:lnTo>
                          <a:lnTo>
                            <a:pt x="2425" y="2241"/>
                          </a:lnTo>
                          <a:lnTo>
                            <a:pt x="2432" y="2238"/>
                          </a:lnTo>
                          <a:lnTo>
                            <a:pt x="2439" y="2234"/>
                          </a:lnTo>
                          <a:lnTo>
                            <a:pt x="2446" y="2231"/>
                          </a:lnTo>
                          <a:lnTo>
                            <a:pt x="2453" y="2229"/>
                          </a:lnTo>
                          <a:lnTo>
                            <a:pt x="2461" y="2228"/>
                          </a:lnTo>
                          <a:lnTo>
                            <a:pt x="2468" y="2227"/>
                          </a:lnTo>
                          <a:lnTo>
                            <a:pt x="2468" y="2227"/>
                          </a:lnTo>
                          <a:lnTo>
                            <a:pt x="2480" y="2228"/>
                          </a:lnTo>
                          <a:lnTo>
                            <a:pt x="2492" y="2232"/>
                          </a:lnTo>
                          <a:lnTo>
                            <a:pt x="2504" y="2237"/>
                          </a:lnTo>
                          <a:lnTo>
                            <a:pt x="2514" y="2243"/>
                          </a:lnTo>
                          <a:lnTo>
                            <a:pt x="2498" y="2301"/>
                          </a:lnTo>
                          <a:close/>
                          <a:moveTo>
                            <a:pt x="2022" y="2233"/>
                          </a:moveTo>
                          <a:lnTo>
                            <a:pt x="2082" y="2233"/>
                          </a:lnTo>
                          <a:lnTo>
                            <a:pt x="2012" y="2477"/>
                          </a:lnTo>
                          <a:lnTo>
                            <a:pt x="1960" y="2477"/>
                          </a:lnTo>
                          <a:lnTo>
                            <a:pt x="1933" y="2376"/>
                          </a:lnTo>
                          <a:lnTo>
                            <a:pt x="1933" y="2376"/>
                          </a:lnTo>
                          <a:lnTo>
                            <a:pt x="1920" y="2323"/>
                          </a:lnTo>
                          <a:lnTo>
                            <a:pt x="1920" y="2323"/>
                          </a:lnTo>
                          <a:lnTo>
                            <a:pt x="1914" y="2348"/>
                          </a:lnTo>
                          <a:lnTo>
                            <a:pt x="1907" y="2378"/>
                          </a:lnTo>
                          <a:lnTo>
                            <a:pt x="1880" y="2477"/>
                          </a:lnTo>
                          <a:lnTo>
                            <a:pt x="1828" y="2477"/>
                          </a:lnTo>
                          <a:lnTo>
                            <a:pt x="1826" y="2476"/>
                          </a:lnTo>
                          <a:lnTo>
                            <a:pt x="1758" y="2233"/>
                          </a:lnTo>
                          <a:lnTo>
                            <a:pt x="1820" y="2233"/>
                          </a:lnTo>
                          <a:lnTo>
                            <a:pt x="1843" y="2324"/>
                          </a:lnTo>
                          <a:lnTo>
                            <a:pt x="1843" y="2324"/>
                          </a:lnTo>
                          <a:lnTo>
                            <a:pt x="1849" y="2353"/>
                          </a:lnTo>
                          <a:lnTo>
                            <a:pt x="1856" y="2384"/>
                          </a:lnTo>
                          <a:lnTo>
                            <a:pt x="1856" y="2384"/>
                          </a:lnTo>
                          <a:lnTo>
                            <a:pt x="1862" y="2353"/>
                          </a:lnTo>
                          <a:lnTo>
                            <a:pt x="1870" y="2323"/>
                          </a:lnTo>
                          <a:lnTo>
                            <a:pt x="1896" y="2233"/>
                          </a:lnTo>
                          <a:lnTo>
                            <a:pt x="1947" y="2233"/>
                          </a:lnTo>
                          <a:lnTo>
                            <a:pt x="1972" y="2323"/>
                          </a:lnTo>
                          <a:lnTo>
                            <a:pt x="1972" y="2323"/>
                          </a:lnTo>
                          <a:lnTo>
                            <a:pt x="1979" y="2352"/>
                          </a:lnTo>
                          <a:lnTo>
                            <a:pt x="1987" y="2385"/>
                          </a:lnTo>
                          <a:lnTo>
                            <a:pt x="1987" y="2385"/>
                          </a:lnTo>
                          <a:lnTo>
                            <a:pt x="1993" y="2357"/>
                          </a:lnTo>
                          <a:lnTo>
                            <a:pt x="2000" y="2323"/>
                          </a:lnTo>
                          <a:lnTo>
                            <a:pt x="2022" y="2233"/>
                          </a:lnTo>
                          <a:close/>
                          <a:moveTo>
                            <a:pt x="2204" y="2227"/>
                          </a:moveTo>
                          <a:lnTo>
                            <a:pt x="2204" y="2227"/>
                          </a:lnTo>
                          <a:lnTo>
                            <a:pt x="2193" y="2228"/>
                          </a:lnTo>
                          <a:lnTo>
                            <a:pt x="2181" y="2229"/>
                          </a:lnTo>
                          <a:lnTo>
                            <a:pt x="2170" y="2233"/>
                          </a:lnTo>
                          <a:lnTo>
                            <a:pt x="2161" y="2237"/>
                          </a:lnTo>
                          <a:lnTo>
                            <a:pt x="2151" y="2241"/>
                          </a:lnTo>
                          <a:lnTo>
                            <a:pt x="2141" y="2249"/>
                          </a:lnTo>
                          <a:lnTo>
                            <a:pt x="2133" y="2255"/>
                          </a:lnTo>
                          <a:lnTo>
                            <a:pt x="2125" y="2263"/>
                          </a:lnTo>
                          <a:lnTo>
                            <a:pt x="2118" y="2272"/>
                          </a:lnTo>
                          <a:lnTo>
                            <a:pt x="2112" y="2282"/>
                          </a:lnTo>
                          <a:lnTo>
                            <a:pt x="2106" y="2293"/>
                          </a:lnTo>
                          <a:lnTo>
                            <a:pt x="2102" y="2303"/>
                          </a:lnTo>
                          <a:lnTo>
                            <a:pt x="2099" y="2316"/>
                          </a:lnTo>
                          <a:lnTo>
                            <a:pt x="2095" y="2329"/>
                          </a:lnTo>
                          <a:lnTo>
                            <a:pt x="2094" y="2341"/>
                          </a:lnTo>
                          <a:lnTo>
                            <a:pt x="2094" y="2356"/>
                          </a:lnTo>
                          <a:lnTo>
                            <a:pt x="2094" y="2356"/>
                          </a:lnTo>
                          <a:lnTo>
                            <a:pt x="2094" y="2369"/>
                          </a:lnTo>
                          <a:lnTo>
                            <a:pt x="2095" y="2382"/>
                          </a:lnTo>
                          <a:lnTo>
                            <a:pt x="2099" y="2395"/>
                          </a:lnTo>
                          <a:lnTo>
                            <a:pt x="2102" y="2407"/>
                          </a:lnTo>
                          <a:lnTo>
                            <a:pt x="2106" y="2418"/>
                          </a:lnTo>
                          <a:lnTo>
                            <a:pt x="2112" y="2429"/>
                          </a:lnTo>
                          <a:lnTo>
                            <a:pt x="2118" y="2438"/>
                          </a:lnTo>
                          <a:lnTo>
                            <a:pt x="2125" y="2447"/>
                          </a:lnTo>
                          <a:lnTo>
                            <a:pt x="2133" y="2455"/>
                          </a:lnTo>
                          <a:lnTo>
                            <a:pt x="2141" y="2463"/>
                          </a:lnTo>
                          <a:lnTo>
                            <a:pt x="2151" y="2469"/>
                          </a:lnTo>
                          <a:lnTo>
                            <a:pt x="2161" y="2474"/>
                          </a:lnTo>
                          <a:lnTo>
                            <a:pt x="2170" y="2477"/>
                          </a:lnTo>
                          <a:lnTo>
                            <a:pt x="2181" y="2481"/>
                          </a:lnTo>
                          <a:lnTo>
                            <a:pt x="2193" y="2482"/>
                          </a:lnTo>
                          <a:lnTo>
                            <a:pt x="2204" y="2483"/>
                          </a:lnTo>
                          <a:lnTo>
                            <a:pt x="2204" y="2483"/>
                          </a:lnTo>
                          <a:lnTo>
                            <a:pt x="2216" y="2482"/>
                          </a:lnTo>
                          <a:lnTo>
                            <a:pt x="2229" y="2481"/>
                          </a:lnTo>
                          <a:lnTo>
                            <a:pt x="2240" y="2477"/>
                          </a:lnTo>
                          <a:lnTo>
                            <a:pt x="2249" y="2474"/>
                          </a:lnTo>
                          <a:lnTo>
                            <a:pt x="2259" y="2469"/>
                          </a:lnTo>
                          <a:lnTo>
                            <a:pt x="2269" y="2463"/>
                          </a:lnTo>
                          <a:lnTo>
                            <a:pt x="2277" y="2455"/>
                          </a:lnTo>
                          <a:lnTo>
                            <a:pt x="2284" y="2447"/>
                          </a:lnTo>
                          <a:lnTo>
                            <a:pt x="2292" y="2438"/>
                          </a:lnTo>
                          <a:lnTo>
                            <a:pt x="2298" y="2429"/>
                          </a:lnTo>
                          <a:lnTo>
                            <a:pt x="2303" y="2418"/>
                          </a:lnTo>
                          <a:lnTo>
                            <a:pt x="2308" y="2407"/>
                          </a:lnTo>
                          <a:lnTo>
                            <a:pt x="2311" y="2395"/>
                          </a:lnTo>
                          <a:lnTo>
                            <a:pt x="2314" y="2382"/>
                          </a:lnTo>
                          <a:lnTo>
                            <a:pt x="2316" y="2369"/>
                          </a:lnTo>
                          <a:lnTo>
                            <a:pt x="2316" y="2356"/>
                          </a:lnTo>
                          <a:lnTo>
                            <a:pt x="2316" y="2356"/>
                          </a:lnTo>
                          <a:lnTo>
                            <a:pt x="2316" y="2341"/>
                          </a:lnTo>
                          <a:lnTo>
                            <a:pt x="2314" y="2329"/>
                          </a:lnTo>
                          <a:lnTo>
                            <a:pt x="2311" y="2316"/>
                          </a:lnTo>
                          <a:lnTo>
                            <a:pt x="2308" y="2303"/>
                          </a:lnTo>
                          <a:lnTo>
                            <a:pt x="2303" y="2293"/>
                          </a:lnTo>
                          <a:lnTo>
                            <a:pt x="2298" y="2282"/>
                          </a:lnTo>
                          <a:lnTo>
                            <a:pt x="2292" y="2272"/>
                          </a:lnTo>
                          <a:lnTo>
                            <a:pt x="2284" y="2263"/>
                          </a:lnTo>
                          <a:lnTo>
                            <a:pt x="2277" y="2255"/>
                          </a:lnTo>
                          <a:lnTo>
                            <a:pt x="2269" y="2249"/>
                          </a:lnTo>
                          <a:lnTo>
                            <a:pt x="2259" y="2241"/>
                          </a:lnTo>
                          <a:lnTo>
                            <a:pt x="2249" y="2237"/>
                          </a:lnTo>
                          <a:lnTo>
                            <a:pt x="2240" y="2233"/>
                          </a:lnTo>
                          <a:lnTo>
                            <a:pt x="2229" y="2229"/>
                          </a:lnTo>
                          <a:lnTo>
                            <a:pt x="2216" y="2228"/>
                          </a:lnTo>
                          <a:lnTo>
                            <a:pt x="2204" y="2227"/>
                          </a:lnTo>
                          <a:lnTo>
                            <a:pt x="2204" y="2227"/>
                          </a:lnTo>
                          <a:close/>
                          <a:moveTo>
                            <a:pt x="2204" y="2426"/>
                          </a:moveTo>
                          <a:lnTo>
                            <a:pt x="2204" y="2426"/>
                          </a:lnTo>
                          <a:lnTo>
                            <a:pt x="2193" y="2425"/>
                          </a:lnTo>
                          <a:lnTo>
                            <a:pt x="2185" y="2421"/>
                          </a:lnTo>
                          <a:lnTo>
                            <a:pt x="2176" y="2415"/>
                          </a:lnTo>
                          <a:lnTo>
                            <a:pt x="2169" y="2407"/>
                          </a:lnTo>
                          <a:lnTo>
                            <a:pt x="2163" y="2397"/>
                          </a:lnTo>
                          <a:lnTo>
                            <a:pt x="2158" y="2385"/>
                          </a:lnTo>
                          <a:lnTo>
                            <a:pt x="2156" y="2370"/>
                          </a:lnTo>
                          <a:lnTo>
                            <a:pt x="2156" y="2356"/>
                          </a:lnTo>
                          <a:lnTo>
                            <a:pt x="2156" y="2356"/>
                          </a:lnTo>
                          <a:lnTo>
                            <a:pt x="2156" y="2340"/>
                          </a:lnTo>
                          <a:lnTo>
                            <a:pt x="2158" y="2327"/>
                          </a:lnTo>
                          <a:lnTo>
                            <a:pt x="2163" y="2314"/>
                          </a:lnTo>
                          <a:lnTo>
                            <a:pt x="2169" y="2303"/>
                          </a:lnTo>
                          <a:lnTo>
                            <a:pt x="2176" y="2295"/>
                          </a:lnTo>
                          <a:lnTo>
                            <a:pt x="2185" y="2289"/>
                          </a:lnTo>
                          <a:lnTo>
                            <a:pt x="2193" y="2285"/>
                          </a:lnTo>
                          <a:lnTo>
                            <a:pt x="2204" y="2284"/>
                          </a:lnTo>
                          <a:lnTo>
                            <a:pt x="2204" y="2284"/>
                          </a:lnTo>
                          <a:lnTo>
                            <a:pt x="2215" y="2285"/>
                          </a:lnTo>
                          <a:lnTo>
                            <a:pt x="2225" y="2289"/>
                          </a:lnTo>
                          <a:lnTo>
                            <a:pt x="2233" y="2295"/>
                          </a:lnTo>
                          <a:lnTo>
                            <a:pt x="2241" y="2303"/>
                          </a:lnTo>
                          <a:lnTo>
                            <a:pt x="2247" y="2314"/>
                          </a:lnTo>
                          <a:lnTo>
                            <a:pt x="2250" y="2327"/>
                          </a:lnTo>
                          <a:lnTo>
                            <a:pt x="2253" y="2340"/>
                          </a:lnTo>
                          <a:lnTo>
                            <a:pt x="2254" y="2356"/>
                          </a:lnTo>
                          <a:lnTo>
                            <a:pt x="2254" y="2356"/>
                          </a:lnTo>
                          <a:lnTo>
                            <a:pt x="2253" y="2370"/>
                          </a:lnTo>
                          <a:lnTo>
                            <a:pt x="2250" y="2385"/>
                          </a:lnTo>
                          <a:lnTo>
                            <a:pt x="2247" y="2397"/>
                          </a:lnTo>
                          <a:lnTo>
                            <a:pt x="2241" y="2407"/>
                          </a:lnTo>
                          <a:lnTo>
                            <a:pt x="2233" y="2415"/>
                          </a:lnTo>
                          <a:lnTo>
                            <a:pt x="2225" y="2421"/>
                          </a:lnTo>
                          <a:lnTo>
                            <a:pt x="2215" y="2425"/>
                          </a:lnTo>
                          <a:lnTo>
                            <a:pt x="2204" y="2426"/>
                          </a:lnTo>
                          <a:lnTo>
                            <a:pt x="2204" y="2426"/>
                          </a:lnTo>
                          <a:close/>
                          <a:moveTo>
                            <a:pt x="921" y="2313"/>
                          </a:moveTo>
                          <a:lnTo>
                            <a:pt x="995" y="2477"/>
                          </a:lnTo>
                          <a:lnTo>
                            <a:pt x="928" y="2477"/>
                          </a:lnTo>
                          <a:lnTo>
                            <a:pt x="877" y="2364"/>
                          </a:lnTo>
                          <a:lnTo>
                            <a:pt x="845" y="2404"/>
                          </a:lnTo>
                          <a:lnTo>
                            <a:pt x="845" y="2477"/>
                          </a:lnTo>
                          <a:lnTo>
                            <a:pt x="785" y="2477"/>
                          </a:lnTo>
                          <a:lnTo>
                            <a:pt x="785" y="2161"/>
                          </a:lnTo>
                          <a:lnTo>
                            <a:pt x="845" y="2131"/>
                          </a:lnTo>
                          <a:lnTo>
                            <a:pt x="845" y="2327"/>
                          </a:lnTo>
                          <a:lnTo>
                            <a:pt x="845" y="2327"/>
                          </a:lnTo>
                          <a:lnTo>
                            <a:pt x="868" y="2295"/>
                          </a:lnTo>
                          <a:lnTo>
                            <a:pt x="916" y="2233"/>
                          </a:lnTo>
                          <a:lnTo>
                            <a:pt x="987" y="2233"/>
                          </a:lnTo>
                          <a:lnTo>
                            <a:pt x="921" y="2313"/>
                          </a:lnTo>
                          <a:close/>
                          <a:moveTo>
                            <a:pt x="1208" y="2477"/>
                          </a:moveTo>
                          <a:lnTo>
                            <a:pt x="1147" y="2477"/>
                          </a:lnTo>
                          <a:lnTo>
                            <a:pt x="1147" y="2233"/>
                          </a:lnTo>
                          <a:lnTo>
                            <a:pt x="1208" y="2233"/>
                          </a:lnTo>
                          <a:lnTo>
                            <a:pt x="1208" y="2254"/>
                          </a:lnTo>
                          <a:lnTo>
                            <a:pt x="1208" y="2254"/>
                          </a:lnTo>
                          <a:lnTo>
                            <a:pt x="1214" y="2248"/>
                          </a:lnTo>
                          <a:lnTo>
                            <a:pt x="1220" y="2243"/>
                          </a:lnTo>
                          <a:lnTo>
                            <a:pt x="1227" y="2238"/>
                          </a:lnTo>
                          <a:lnTo>
                            <a:pt x="1235" y="2234"/>
                          </a:lnTo>
                          <a:lnTo>
                            <a:pt x="1243" y="2232"/>
                          </a:lnTo>
                          <a:lnTo>
                            <a:pt x="1252" y="2229"/>
                          </a:lnTo>
                          <a:lnTo>
                            <a:pt x="1260" y="2228"/>
                          </a:lnTo>
                          <a:lnTo>
                            <a:pt x="1270" y="2227"/>
                          </a:lnTo>
                          <a:lnTo>
                            <a:pt x="1270" y="2227"/>
                          </a:lnTo>
                          <a:lnTo>
                            <a:pt x="1281" y="2228"/>
                          </a:lnTo>
                          <a:lnTo>
                            <a:pt x="1290" y="2229"/>
                          </a:lnTo>
                          <a:lnTo>
                            <a:pt x="1299" y="2232"/>
                          </a:lnTo>
                          <a:lnTo>
                            <a:pt x="1309" y="2234"/>
                          </a:lnTo>
                          <a:lnTo>
                            <a:pt x="1316" y="2239"/>
                          </a:lnTo>
                          <a:lnTo>
                            <a:pt x="1323" y="2244"/>
                          </a:lnTo>
                          <a:lnTo>
                            <a:pt x="1331" y="2249"/>
                          </a:lnTo>
                          <a:lnTo>
                            <a:pt x="1337" y="2256"/>
                          </a:lnTo>
                          <a:lnTo>
                            <a:pt x="1342" y="2263"/>
                          </a:lnTo>
                          <a:lnTo>
                            <a:pt x="1346" y="2272"/>
                          </a:lnTo>
                          <a:lnTo>
                            <a:pt x="1350" y="2280"/>
                          </a:lnTo>
                          <a:lnTo>
                            <a:pt x="1354" y="2291"/>
                          </a:lnTo>
                          <a:lnTo>
                            <a:pt x="1356" y="2302"/>
                          </a:lnTo>
                          <a:lnTo>
                            <a:pt x="1357" y="2313"/>
                          </a:lnTo>
                          <a:lnTo>
                            <a:pt x="1359" y="2325"/>
                          </a:lnTo>
                          <a:lnTo>
                            <a:pt x="1360" y="2339"/>
                          </a:lnTo>
                          <a:lnTo>
                            <a:pt x="1360" y="2477"/>
                          </a:lnTo>
                          <a:lnTo>
                            <a:pt x="1299" y="2477"/>
                          </a:lnTo>
                          <a:lnTo>
                            <a:pt x="1299" y="2342"/>
                          </a:lnTo>
                          <a:lnTo>
                            <a:pt x="1299" y="2342"/>
                          </a:lnTo>
                          <a:lnTo>
                            <a:pt x="1298" y="2329"/>
                          </a:lnTo>
                          <a:lnTo>
                            <a:pt x="1297" y="2316"/>
                          </a:lnTo>
                          <a:lnTo>
                            <a:pt x="1293" y="2306"/>
                          </a:lnTo>
                          <a:lnTo>
                            <a:pt x="1288" y="2297"/>
                          </a:lnTo>
                          <a:lnTo>
                            <a:pt x="1282" y="2291"/>
                          </a:lnTo>
                          <a:lnTo>
                            <a:pt x="1275" y="2286"/>
                          </a:lnTo>
                          <a:lnTo>
                            <a:pt x="1265" y="2284"/>
                          </a:lnTo>
                          <a:lnTo>
                            <a:pt x="1254" y="2283"/>
                          </a:lnTo>
                          <a:lnTo>
                            <a:pt x="1254" y="2283"/>
                          </a:lnTo>
                          <a:lnTo>
                            <a:pt x="1244" y="2284"/>
                          </a:lnTo>
                          <a:lnTo>
                            <a:pt x="1235" y="2286"/>
                          </a:lnTo>
                          <a:lnTo>
                            <a:pt x="1226" y="2291"/>
                          </a:lnTo>
                          <a:lnTo>
                            <a:pt x="1220" y="2299"/>
                          </a:lnTo>
                          <a:lnTo>
                            <a:pt x="1215" y="2306"/>
                          </a:lnTo>
                          <a:lnTo>
                            <a:pt x="1212" y="2317"/>
                          </a:lnTo>
                          <a:lnTo>
                            <a:pt x="1209" y="2329"/>
                          </a:lnTo>
                          <a:lnTo>
                            <a:pt x="1208" y="2342"/>
                          </a:lnTo>
                          <a:lnTo>
                            <a:pt x="1208" y="2477"/>
                          </a:lnTo>
                          <a:close/>
                          <a:moveTo>
                            <a:pt x="1551" y="2250"/>
                          </a:moveTo>
                          <a:lnTo>
                            <a:pt x="1551" y="2250"/>
                          </a:lnTo>
                          <a:lnTo>
                            <a:pt x="1544" y="2245"/>
                          </a:lnTo>
                          <a:lnTo>
                            <a:pt x="1538" y="2240"/>
                          </a:lnTo>
                          <a:lnTo>
                            <a:pt x="1532" y="2237"/>
                          </a:lnTo>
                          <a:lnTo>
                            <a:pt x="1525" y="2233"/>
                          </a:lnTo>
                          <a:lnTo>
                            <a:pt x="1518" y="2231"/>
                          </a:lnTo>
                          <a:lnTo>
                            <a:pt x="1510" y="2229"/>
                          </a:lnTo>
                          <a:lnTo>
                            <a:pt x="1503" y="2228"/>
                          </a:lnTo>
                          <a:lnTo>
                            <a:pt x="1496" y="2227"/>
                          </a:lnTo>
                          <a:lnTo>
                            <a:pt x="1496" y="2227"/>
                          </a:lnTo>
                          <a:lnTo>
                            <a:pt x="1485" y="2228"/>
                          </a:lnTo>
                          <a:lnTo>
                            <a:pt x="1475" y="2229"/>
                          </a:lnTo>
                          <a:lnTo>
                            <a:pt x="1465" y="2232"/>
                          </a:lnTo>
                          <a:lnTo>
                            <a:pt x="1456" y="2237"/>
                          </a:lnTo>
                          <a:lnTo>
                            <a:pt x="1447" y="2240"/>
                          </a:lnTo>
                          <a:lnTo>
                            <a:pt x="1440" y="2246"/>
                          </a:lnTo>
                          <a:lnTo>
                            <a:pt x="1433" y="2254"/>
                          </a:lnTo>
                          <a:lnTo>
                            <a:pt x="1425" y="2261"/>
                          </a:lnTo>
                          <a:lnTo>
                            <a:pt x="1419" y="2269"/>
                          </a:lnTo>
                          <a:lnTo>
                            <a:pt x="1414" y="2279"/>
                          </a:lnTo>
                          <a:lnTo>
                            <a:pt x="1410" y="2289"/>
                          </a:lnTo>
                          <a:lnTo>
                            <a:pt x="1406" y="2301"/>
                          </a:lnTo>
                          <a:lnTo>
                            <a:pt x="1404" y="2312"/>
                          </a:lnTo>
                          <a:lnTo>
                            <a:pt x="1401" y="2325"/>
                          </a:lnTo>
                          <a:lnTo>
                            <a:pt x="1400" y="2339"/>
                          </a:lnTo>
                          <a:lnTo>
                            <a:pt x="1400" y="2352"/>
                          </a:lnTo>
                          <a:lnTo>
                            <a:pt x="1400" y="2352"/>
                          </a:lnTo>
                          <a:lnTo>
                            <a:pt x="1400" y="2368"/>
                          </a:lnTo>
                          <a:lnTo>
                            <a:pt x="1401" y="2381"/>
                          </a:lnTo>
                          <a:lnTo>
                            <a:pt x="1404" y="2395"/>
                          </a:lnTo>
                          <a:lnTo>
                            <a:pt x="1406" y="2408"/>
                          </a:lnTo>
                          <a:lnTo>
                            <a:pt x="1410" y="2419"/>
                          </a:lnTo>
                          <a:lnTo>
                            <a:pt x="1414" y="2430"/>
                          </a:lnTo>
                          <a:lnTo>
                            <a:pt x="1419" y="2440"/>
                          </a:lnTo>
                          <a:lnTo>
                            <a:pt x="1425" y="2448"/>
                          </a:lnTo>
                          <a:lnTo>
                            <a:pt x="1431" y="2457"/>
                          </a:lnTo>
                          <a:lnTo>
                            <a:pt x="1439" y="2463"/>
                          </a:lnTo>
                          <a:lnTo>
                            <a:pt x="1446" y="2469"/>
                          </a:lnTo>
                          <a:lnTo>
                            <a:pt x="1455" y="2474"/>
                          </a:lnTo>
                          <a:lnTo>
                            <a:pt x="1464" y="2477"/>
                          </a:lnTo>
                          <a:lnTo>
                            <a:pt x="1474" y="2481"/>
                          </a:lnTo>
                          <a:lnTo>
                            <a:pt x="1484" y="2482"/>
                          </a:lnTo>
                          <a:lnTo>
                            <a:pt x="1495" y="2483"/>
                          </a:lnTo>
                          <a:lnTo>
                            <a:pt x="1495" y="2483"/>
                          </a:lnTo>
                          <a:lnTo>
                            <a:pt x="1502" y="2482"/>
                          </a:lnTo>
                          <a:lnTo>
                            <a:pt x="1510" y="2481"/>
                          </a:lnTo>
                          <a:lnTo>
                            <a:pt x="1518" y="2480"/>
                          </a:lnTo>
                          <a:lnTo>
                            <a:pt x="1525" y="2477"/>
                          </a:lnTo>
                          <a:lnTo>
                            <a:pt x="1531" y="2474"/>
                          </a:lnTo>
                          <a:lnTo>
                            <a:pt x="1538" y="2470"/>
                          </a:lnTo>
                          <a:lnTo>
                            <a:pt x="1544" y="2465"/>
                          </a:lnTo>
                          <a:lnTo>
                            <a:pt x="1551" y="2459"/>
                          </a:lnTo>
                          <a:lnTo>
                            <a:pt x="1551" y="2465"/>
                          </a:lnTo>
                          <a:lnTo>
                            <a:pt x="1551" y="2465"/>
                          </a:lnTo>
                          <a:lnTo>
                            <a:pt x="1551" y="2475"/>
                          </a:lnTo>
                          <a:lnTo>
                            <a:pt x="1549" y="2486"/>
                          </a:lnTo>
                          <a:lnTo>
                            <a:pt x="1546" y="2497"/>
                          </a:lnTo>
                          <a:lnTo>
                            <a:pt x="1543" y="2502"/>
                          </a:lnTo>
                          <a:lnTo>
                            <a:pt x="1541" y="2506"/>
                          </a:lnTo>
                          <a:lnTo>
                            <a:pt x="1536" y="2511"/>
                          </a:lnTo>
                          <a:lnTo>
                            <a:pt x="1531" y="2516"/>
                          </a:lnTo>
                          <a:lnTo>
                            <a:pt x="1525" y="2520"/>
                          </a:lnTo>
                          <a:lnTo>
                            <a:pt x="1518" y="2524"/>
                          </a:lnTo>
                          <a:lnTo>
                            <a:pt x="1508" y="2526"/>
                          </a:lnTo>
                          <a:lnTo>
                            <a:pt x="1498" y="2528"/>
                          </a:lnTo>
                          <a:lnTo>
                            <a:pt x="1486" y="2530"/>
                          </a:lnTo>
                          <a:lnTo>
                            <a:pt x="1472" y="2530"/>
                          </a:lnTo>
                          <a:lnTo>
                            <a:pt x="1469" y="2530"/>
                          </a:lnTo>
                          <a:lnTo>
                            <a:pt x="1491" y="2577"/>
                          </a:lnTo>
                          <a:lnTo>
                            <a:pt x="1492" y="2577"/>
                          </a:lnTo>
                          <a:lnTo>
                            <a:pt x="1492" y="2577"/>
                          </a:lnTo>
                          <a:lnTo>
                            <a:pt x="1507" y="2577"/>
                          </a:lnTo>
                          <a:lnTo>
                            <a:pt x="1520" y="2576"/>
                          </a:lnTo>
                          <a:lnTo>
                            <a:pt x="1532" y="2572"/>
                          </a:lnTo>
                          <a:lnTo>
                            <a:pt x="1544" y="2570"/>
                          </a:lnTo>
                          <a:lnTo>
                            <a:pt x="1555" y="2565"/>
                          </a:lnTo>
                          <a:lnTo>
                            <a:pt x="1565" y="2560"/>
                          </a:lnTo>
                          <a:lnTo>
                            <a:pt x="1574" y="2554"/>
                          </a:lnTo>
                          <a:lnTo>
                            <a:pt x="1581" y="2547"/>
                          </a:lnTo>
                          <a:lnTo>
                            <a:pt x="1588" y="2538"/>
                          </a:lnTo>
                          <a:lnTo>
                            <a:pt x="1594" y="2530"/>
                          </a:lnTo>
                          <a:lnTo>
                            <a:pt x="1599" y="2519"/>
                          </a:lnTo>
                          <a:lnTo>
                            <a:pt x="1603" y="2508"/>
                          </a:lnTo>
                          <a:lnTo>
                            <a:pt x="1606" y="2497"/>
                          </a:lnTo>
                          <a:lnTo>
                            <a:pt x="1609" y="2483"/>
                          </a:lnTo>
                          <a:lnTo>
                            <a:pt x="1610" y="2470"/>
                          </a:lnTo>
                          <a:lnTo>
                            <a:pt x="1610" y="2455"/>
                          </a:lnTo>
                          <a:lnTo>
                            <a:pt x="1610" y="2233"/>
                          </a:lnTo>
                          <a:lnTo>
                            <a:pt x="1551" y="2233"/>
                          </a:lnTo>
                          <a:lnTo>
                            <a:pt x="1551" y="2250"/>
                          </a:lnTo>
                          <a:close/>
                          <a:moveTo>
                            <a:pt x="1551" y="2307"/>
                          </a:moveTo>
                          <a:lnTo>
                            <a:pt x="1551" y="2403"/>
                          </a:lnTo>
                          <a:lnTo>
                            <a:pt x="1551" y="2403"/>
                          </a:lnTo>
                          <a:lnTo>
                            <a:pt x="1542" y="2412"/>
                          </a:lnTo>
                          <a:lnTo>
                            <a:pt x="1534" y="2420"/>
                          </a:lnTo>
                          <a:lnTo>
                            <a:pt x="1527" y="2423"/>
                          </a:lnTo>
                          <a:lnTo>
                            <a:pt x="1521" y="2425"/>
                          </a:lnTo>
                          <a:lnTo>
                            <a:pt x="1515" y="2426"/>
                          </a:lnTo>
                          <a:lnTo>
                            <a:pt x="1507" y="2427"/>
                          </a:lnTo>
                          <a:lnTo>
                            <a:pt x="1507" y="2427"/>
                          </a:lnTo>
                          <a:lnTo>
                            <a:pt x="1499" y="2426"/>
                          </a:lnTo>
                          <a:lnTo>
                            <a:pt x="1491" y="2424"/>
                          </a:lnTo>
                          <a:lnTo>
                            <a:pt x="1484" y="2420"/>
                          </a:lnTo>
                          <a:lnTo>
                            <a:pt x="1476" y="2413"/>
                          </a:lnTo>
                          <a:lnTo>
                            <a:pt x="1470" y="2403"/>
                          </a:lnTo>
                          <a:lnTo>
                            <a:pt x="1465" y="2390"/>
                          </a:lnTo>
                          <a:lnTo>
                            <a:pt x="1463" y="2373"/>
                          </a:lnTo>
                          <a:lnTo>
                            <a:pt x="1462" y="2351"/>
                          </a:lnTo>
                          <a:lnTo>
                            <a:pt x="1462" y="2351"/>
                          </a:lnTo>
                          <a:lnTo>
                            <a:pt x="1463" y="2333"/>
                          </a:lnTo>
                          <a:lnTo>
                            <a:pt x="1465" y="2317"/>
                          </a:lnTo>
                          <a:lnTo>
                            <a:pt x="1470" y="2305"/>
                          </a:lnTo>
                          <a:lnTo>
                            <a:pt x="1476" y="2296"/>
                          </a:lnTo>
                          <a:lnTo>
                            <a:pt x="1484" y="2290"/>
                          </a:lnTo>
                          <a:lnTo>
                            <a:pt x="1491" y="2285"/>
                          </a:lnTo>
                          <a:lnTo>
                            <a:pt x="1499" y="2284"/>
                          </a:lnTo>
                          <a:lnTo>
                            <a:pt x="1507" y="2283"/>
                          </a:lnTo>
                          <a:lnTo>
                            <a:pt x="1507" y="2283"/>
                          </a:lnTo>
                          <a:lnTo>
                            <a:pt x="1515" y="2284"/>
                          </a:lnTo>
                          <a:lnTo>
                            <a:pt x="1523" y="2285"/>
                          </a:lnTo>
                          <a:lnTo>
                            <a:pt x="1529" y="2288"/>
                          </a:lnTo>
                          <a:lnTo>
                            <a:pt x="1535" y="2291"/>
                          </a:lnTo>
                          <a:lnTo>
                            <a:pt x="1540" y="2295"/>
                          </a:lnTo>
                          <a:lnTo>
                            <a:pt x="1543" y="2299"/>
                          </a:lnTo>
                          <a:lnTo>
                            <a:pt x="1551" y="2307"/>
                          </a:lnTo>
                          <a:lnTo>
                            <a:pt x="1551" y="2307"/>
                          </a:lnTo>
                          <a:close/>
                          <a:moveTo>
                            <a:pt x="1033" y="2233"/>
                          </a:moveTo>
                          <a:lnTo>
                            <a:pt x="1094" y="2233"/>
                          </a:lnTo>
                          <a:lnTo>
                            <a:pt x="1094" y="2341"/>
                          </a:lnTo>
                          <a:lnTo>
                            <a:pt x="1094" y="2477"/>
                          </a:lnTo>
                          <a:lnTo>
                            <a:pt x="1033" y="2477"/>
                          </a:lnTo>
                          <a:lnTo>
                            <a:pt x="1033" y="2233"/>
                          </a:lnTo>
                          <a:close/>
                          <a:moveTo>
                            <a:pt x="1094" y="2167"/>
                          </a:moveTo>
                          <a:lnTo>
                            <a:pt x="1094" y="2198"/>
                          </a:lnTo>
                          <a:lnTo>
                            <a:pt x="1033" y="2198"/>
                          </a:lnTo>
                          <a:lnTo>
                            <a:pt x="1033" y="2137"/>
                          </a:lnTo>
                          <a:lnTo>
                            <a:pt x="1094" y="2137"/>
                          </a:lnTo>
                          <a:lnTo>
                            <a:pt x="1094" y="2167"/>
                          </a:lnTo>
                          <a:close/>
                          <a:moveTo>
                            <a:pt x="2542" y="2161"/>
                          </a:moveTo>
                          <a:lnTo>
                            <a:pt x="2603" y="2131"/>
                          </a:lnTo>
                          <a:lnTo>
                            <a:pt x="2603" y="2352"/>
                          </a:lnTo>
                          <a:lnTo>
                            <a:pt x="2603" y="2477"/>
                          </a:lnTo>
                          <a:lnTo>
                            <a:pt x="2542" y="2477"/>
                          </a:lnTo>
                          <a:lnTo>
                            <a:pt x="2542" y="2161"/>
                          </a:lnTo>
                          <a:close/>
                          <a:moveTo>
                            <a:pt x="437" y="834"/>
                          </a:moveTo>
                          <a:lnTo>
                            <a:pt x="936" y="834"/>
                          </a:lnTo>
                          <a:lnTo>
                            <a:pt x="936" y="544"/>
                          </a:lnTo>
                          <a:lnTo>
                            <a:pt x="437" y="544"/>
                          </a:lnTo>
                          <a:lnTo>
                            <a:pt x="437" y="317"/>
                          </a:lnTo>
                          <a:lnTo>
                            <a:pt x="989" y="317"/>
                          </a:lnTo>
                          <a:lnTo>
                            <a:pt x="806" y="0"/>
                          </a:lnTo>
                          <a:lnTo>
                            <a:pt x="24" y="0"/>
                          </a:lnTo>
                          <a:lnTo>
                            <a:pt x="24" y="1378"/>
                          </a:lnTo>
                          <a:lnTo>
                            <a:pt x="1126" y="1378"/>
                          </a:lnTo>
                          <a:lnTo>
                            <a:pt x="1126" y="1061"/>
                          </a:lnTo>
                          <a:lnTo>
                            <a:pt x="437" y="1061"/>
                          </a:lnTo>
                          <a:lnTo>
                            <a:pt x="437" y="834"/>
                          </a:lnTo>
                          <a:close/>
                          <a:moveTo>
                            <a:pt x="1860" y="0"/>
                          </a:moveTo>
                          <a:lnTo>
                            <a:pt x="1626" y="450"/>
                          </a:lnTo>
                          <a:lnTo>
                            <a:pt x="1393" y="0"/>
                          </a:lnTo>
                          <a:lnTo>
                            <a:pt x="936" y="0"/>
                          </a:lnTo>
                          <a:lnTo>
                            <a:pt x="1417" y="834"/>
                          </a:lnTo>
                          <a:lnTo>
                            <a:pt x="1417" y="1378"/>
                          </a:lnTo>
                          <a:lnTo>
                            <a:pt x="1829" y="1378"/>
                          </a:lnTo>
                          <a:lnTo>
                            <a:pt x="1829" y="834"/>
                          </a:lnTo>
                          <a:lnTo>
                            <a:pt x="2311" y="0"/>
                          </a:lnTo>
                          <a:lnTo>
                            <a:pt x="186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</p:grpSp>
              <p:sp>
                <p:nvSpPr>
                  <p:cNvPr id="56" name="Content Placeholder 5">
                    <a:extLst>
                      <a:ext uri="{FF2B5EF4-FFF2-40B4-BE49-F238E27FC236}">
                        <a16:creationId xmlns:a16="http://schemas.microsoft.com/office/drawing/2014/main" id="{76FD0A82-08D0-4B15-8815-06FC24CFAE7C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4368" y="75105"/>
                    <a:ext cx="1458345" cy="152383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b="1" kern="0">
                        <a:solidFill>
                          <a:srgbClr val="FFE600"/>
                        </a:solidFill>
                        <a:latin typeface="EYInterstate Bold" panose="02000803030000020004" pitchFamily="2" charset="0"/>
                        <a:ea typeface="+mn-ea"/>
                        <a:cs typeface="+mn-cs"/>
                      </a:rPr>
                      <a:t>Context, Scope and Objectives</a:t>
                    </a:r>
                  </a:p>
                </p:txBody>
              </p:sp>
              <p:sp>
                <p:nvSpPr>
                  <p:cNvPr id="57" name="Content Placeholder 5">
                    <a:extLst>
                      <a:ext uri="{FF2B5EF4-FFF2-40B4-BE49-F238E27FC236}">
                        <a16:creationId xmlns:a16="http://schemas.microsoft.com/office/drawing/2014/main" id="{4CC987F7-98C1-4F3A-A54E-504A2C5F0A43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11986" y="51130"/>
                    <a:ext cx="1206296" cy="200331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+mj-lt"/>
                      <a:buNone/>
                      <a:tabLst>
                        <a:tab pos="4876815" algn="r"/>
                      </a:tabLst>
                    </a:pPr>
                    <a:r>
                      <a:rPr lang="en-US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Key Success Factors &amp; Challenges </a:t>
                    </a:r>
                  </a:p>
                </p:txBody>
              </p:sp>
              <p:sp>
                <p:nvSpPr>
                  <p:cNvPr id="58" name="Content Placeholder 5">
                    <a:extLst>
                      <a:ext uri="{FF2B5EF4-FFF2-40B4-BE49-F238E27FC236}">
                        <a16:creationId xmlns:a16="http://schemas.microsoft.com/office/drawing/2014/main" id="{638E734B-C256-40EC-BC30-4375723D7F8F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11169709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Appendices</a:t>
                    </a:r>
                  </a:p>
                </p:txBody>
              </p:sp>
              <p:sp>
                <p:nvSpPr>
                  <p:cNvPr id="59" name="Content Placeholder 5">
                    <a:extLst>
                      <a:ext uri="{FF2B5EF4-FFF2-40B4-BE49-F238E27FC236}">
                        <a16:creationId xmlns:a16="http://schemas.microsoft.com/office/drawing/2014/main" id="{696E86C3-81B8-48B5-AD76-9E0C8E8CA73D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5947426" y="83518"/>
                    <a:ext cx="1023162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Proposed</a:t>
                    </a: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 Approach</a:t>
                    </a:r>
                  </a:p>
                </p:txBody>
              </p:sp>
              <p:sp>
                <p:nvSpPr>
                  <p:cNvPr id="60" name="Content Placeholder 5">
                    <a:extLst>
                      <a:ext uri="{FF2B5EF4-FFF2-40B4-BE49-F238E27FC236}">
                        <a16:creationId xmlns:a16="http://schemas.microsoft.com/office/drawing/2014/main" id="{80F54FE1-7BE6-415B-A29F-F78679A66F97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7262461" y="75105"/>
                    <a:ext cx="1138227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Team &amp; </a:t>
                    </a: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Goverance</a:t>
                    </a:r>
                    <a:endParaRPr lang="fr-FR" sz="800" kern="0">
                      <a:solidFill>
                        <a:schemeClr val="bg2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Content Placeholder 5">
                    <a:extLst>
                      <a:ext uri="{FF2B5EF4-FFF2-40B4-BE49-F238E27FC236}">
                        <a16:creationId xmlns:a16="http://schemas.microsoft.com/office/drawing/2014/main" id="{73848AC0-0B69-4616-BD86-9936B0831808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4484077" y="75105"/>
                    <a:ext cx="1097554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Scope &amp; Assumptions</a:t>
                    </a:r>
                  </a:p>
                </p:txBody>
              </p:sp>
              <p:sp>
                <p:nvSpPr>
                  <p:cNvPr id="62" name="Content Placeholder 5">
                    <a:extLst>
                      <a:ext uri="{FF2B5EF4-FFF2-40B4-BE49-F238E27FC236}">
                        <a16:creationId xmlns:a16="http://schemas.microsoft.com/office/drawing/2014/main" id="{14A4A39E-20BE-4E75-A26E-57480542C5CA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8757114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Teams Profiles</a:t>
                    </a:r>
                  </a:p>
                </p:txBody>
              </p:sp>
              <p:sp>
                <p:nvSpPr>
                  <p:cNvPr id="63" name="Content Placeholder 5">
                    <a:extLst>
                      <a:ext uri="{FF2B5EF4-FFF2-40B4-BE49-F238E27FC236}">
                        <a16:creationId xmlns:a16="http://schemas.microsoft.com/office/drawing/2014/main" id="{15BC967D-2097-4ED4-B82A-D85DF409926B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9963409" y="75105"/>
                    <a:ext cx="866515" cy="176356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Key Credentials</a:t>
                    </a:r>
                  </a:p>
                </p:txBody>
              </p:sp>
            </p:grpSp>
          </p:grpSp>
          <p:sp>
            <p:nvSpPr>
              <p:cNvPr id="52" name="Content Placeholder 5">
                <a:extLst>
                  <a:ext uri="{FF2B5EF4-FFF2-40B4-BE49-F238E27FC236}">
                    <a16:creationId xmlns:a16="http://schemas.microsoft.com/office/drawing/2014/main" id="{63E792A2-3E52-4F4A-A2AD-B6E1C28F4C5C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1608265" y="75105"/>
                <a:ext cx="1097554" cy="135989"/>
              </a:xfrm>
              <a:prstGeom prst="rect">
                <a:avLst/>
              </a:prstGeom>
            </p:spPr>
            <p:txBody>
              <a:bodyPr anchor="ctr"/>
              <a:lstStyle>
                <a:lvl1pPr algn="l" defTabSz="995363" rtl="0" fontAlgn="base">
                  <a:lnSpc>
                    <a:spcPts val="2100"/>
                  </a:lnSpc>
                  <a:spcBef>
                    <a:spcPct val="0"/>
                  </a:spcBef>
                  <a:spcAft>
                    <a:spcPct val="40000"/>
                  </a:spcAft>
                  <a:defRPr sz="1400" b="0">
                    <a:solidFill>
                      <a:srgbClr val="646464"/>
                    </a:solidFill>
                    <a:latin typeface="+mj-lt"/>
                    <a:ea typeface="+mn-ea"/>
                    <a:cs typeface="+mn-cs"/>
                  </a:defRPr>
                </a:lvl1pPr>
                <a:lvl2pPr marL="1588" algn="l" defTabSz="995363" rtl="0"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lang="en-US" sz="1200" b="1" dirty="0" smtClean="0">
                    <a:solidFill>
                      <a:srgbClr val="646464"/>
                    </a:solidFill>
                    <a:latin typeface="+mn-lt"/>
                  </a:defRPr>
                </a:lvl2pPr>
                <a:lvl3pPr marL="3175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sz="1000">
                    <a:solidFill>
                      <a:srgbClr val="000000"/>
                    </a:solidFill>
                    <a:latin typeface="+mn-lt"/>
                  </a:defRPr>
                </a:lvl3pPr>
                <a:lvl4pPr marL="152400" indent="-147638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FFD200"/>
                  </a:buClr>
                  <a:buSzPct val="75000"/>
                  <a:buFont typeface="Arial" charset="0"/>
                  <a:buChar char="►"/>
                  <a:defRPr sz="1000">
                    <a:solidFill>
                      <a:srgbClr val="000000"/>
                    </a:solidFill>
                    <a:latin typeface="+mn-lt"/>
                  </a:defRPr>
                </a:lvl4pPr>
                <a:lvl5pPr marL="2968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5pPr>
                <a:lvl6pPr marL="7540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6pPr>
                <a:lvl7pPr marL="12112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7pPr>
                <a:lvl8pPr marL="16684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8pPr>
                <a:lvl9pPr marL="21256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lvl="2" indent="0" algn="ctr" defTabSz="8293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140000"/>
                  <a:buFont typeface="Arial" charset="0"/>
                  <a:buNone/>
                  <a:tabLst>
                    <a:tab pos="4876815" algn="r"/>
                  </a:tabLst>
                </a:pPr>
                <a:r>
                  <a:rPr lang="fr-FR" sz="800" kern="0">
                    <a:solidFill>
                      <a:schemeClr val="bg2"/>
                    </a:solidFill>
                    <a:latin typeface="EYInterstate Light" panose="02000506000000020004" pitchFamily="2" charset="0"/>
                    <a:ea typeface="+mn-ea"/>
                    <a:cs typeface="+mn-cs"/>
                  </a:rPr>
                  <a:t>Scope &amp; Assumptions</a:t>
                </a:r>
              </a:p>
            </p:txBody>
          </p:sp>
        </p:grp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1C34547-4154-4B10-B325-9BCCD1909144}"/>
                </a:ext>
              </a:extLst>
            </p:cNvPr>
            <p:cNvSpPr/>
            <p:nvPr userDrawn="1"/>
          </p:nvSpPr>
          <p:spPr>
            <a:xfrm>
              <a:off x="0" y="0"/>
              <a:ext cx="12192000" cy="350540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>
                <a:solidFill>
                  <a:schemeClr val="tx1"/>
                </a:solidFill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48BB249-0302-41D9-A400-78C9E9F1065B}"/>
                </a:ext>
              </a:extLst>
            </p:cNvPr>
            <p:cNvGrpSpPr/>
            <p:nvPr userDrawn="1"/>
          </p:nvGrpSpPr>
          <p:grpSpPr>
            <a:xfrm>
              <a:off x="81557" y="51129"/>
              <a:ext cx="167539" cy="200331"/>
              <a:chOff x="784680" y="68072"/>
              <a:chExt cx="167539" cy="200331"/>
            </a:xfrm>
          </p:grpSpPr>
          <p:sp>
            <p:nvSpPr>
              <p:cNvPr id="48" name="Freeform 6">
                <a:extLst>
                  <a:ext uri="{FF2B5EF4-FFF2-40B4-BE49-F238E27FC236}">
                    <a16:creationId xmlns:a16="http://schemas.microsoft.com/office/drawing/2014/main" id="{76366279-A917-4E90-BE85-22957DDBB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680" y="68072"/>
                <a:ext cx="134278" cy="50020"/>
              </a:xfrm>
              <a:custGeom>
                <a:avLst/>
                <a:gdLst>
                  <a:gd name="T0" fmla="*/ 2723 w 2723"/>
                  <a:gd name="T1" fmla="*/ 0 h 994"/>
                  <a:gd name="T2" fmla="*/ 0 w 2723"/>
                  <a:gd name="T3" fmla="*/ 994 h 994"/>
                  <a:gd name="T4" fmla="*/ 2723 w 2723"/>
                  <a:gd name="T5" fmla="*/ 513 h 994"/>
                  <a:gd name="T6" fmla="*/ 2723 w 2723"/>
                  <a:gd name="T7" fmla="*/ 0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23" h="994">
                    <a:moveTo>
                      <a:pt x="2723" y="0"/>
                    </a:moveTo>
                    <a:lnTo>
                      <a:pt x="0" y="994"/>
                    </a:lnTo>
                    <a:lnTo>
                      <a:pt x="2723" y="513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rgbClr val="F7D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sp>
            <p:nvSpPr>
              <p:cNvPr id="49" name="Freeform 7">
                <a:extLst>
                  <a:ext uri="{FF2B5EF4-FFF2-40B4-BE49-F238E27FC236}">
                    <a16:creationId xmlns:a16="http://schemas.microsoft.com/office/drawing/2014/main" id="{60C41441-A1B4-4564-8B7F-A6EDB18662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680" y="138954"/>
                <a:ext cx="167539" cy="129449"/>
              </a:xfrm>
              <a:custGeom>
                <a:avLst/>
                <a:gdLst>
                  <a:gd name="T0" fmla="*/ 256 w 3400"/>
                  <a:gd name="T1" fmla="*/ 1749 h 2577"/>
                  <a:gd name="T2" fmla="*/ 278 w 3400"/>
                  <a:gd name="T3" fmla="*/ 1978 h 2577"/>
                  <a:gd name="T4" fmla="*/ 166 w 3400"/>
                  <a:gd name="T5" fmla="*/ 1993 h 2577"/>
                  <a:gd name="T6" fmla="*/ 386 w 3400"/>
                  <a:gd name="T7" fmla="*/ 1940 h 2577"/>
                  <a:gd name="T8" fmla="*/ 458 w 3400"/>
                  <a:gd name="T9" fmla="*/ 2046 h 2577"/>
                  <a:gd name="T10" fmla="*/ 1255 w 3400"/>
                  <a:gd name="T11" fmla="*/ 1820 h 2577"/>
                  <a:gd name="T12" fmla="*/ 1339 w 3400"/>
                  <a:gd name="T13" fmla="*/ 1914 h 2577"/>
                  <a:gd name="T14" fmla="*/ 767 w 3400"/>
                  <a:gd name="T15" fmla="*/ 1703 h 2577"/>
                  <a:gd name="T16" fmla="*/ 813 w 3400"/>
                  <a:gd name="T17" fmla="*/ 1884 h 2577"/>
                  <a:gd name="T18" fmla="*/ 947 w 3400"/>
                  <a:gd name="T19" fmla="*/ 2042 h 2577"/>
                  <a:gd name="T20" fmla="*/ 916 w 3400"/>
                  <a:gd name="T21" fmla="*/ 1855 h 2577"/>
                  <a:gd name="T22" fmla="*/ 2225 w 3400"/>
                  <a:gd name="T23" fmla="*/ 2049 h 2577"/>
                  <a:gd name="T24" fmla="*/ 2376 w 3400"/>
                  <a:gd name="T25" fmla="*/ 1924 h 2577"/>
                  <a:gd name="T26" fmla="*/ 2312 w 3400"/>
                  <a:gd name="T27" fmla="*/ 1906 h 2577"/>
                  <a:gd name="T28" fmla="*/ 2267 w 3400"/>
                  <a:gd name="T29" fmla="*/ 1855 h 2577"/>
                  <a:gd name="T30" fmla="*/ 1441 w 3400"/>
                  <a:gd name="T31" fmla="*/ 1911 h 2577"/>
                  <a:gd name="T32" fmla="*/ 1591 w 3400"/>
                  <a:gd name="T33" fmla="*/ 2031 h 2577"/>
                  <a:gd name="T34" fmla="*/ 1622 w 3400"/>
                  <a:gd name="T35" fmla="*/ 2119 h 2577"/>
                  <a:gd name="T36" fmla="*/ 1507 w 3400"/>
                  <a:gd name="T37" fmla="*/ 1962 h 2577"/>
                  <a:gd name="T38" fmla="*/ 1902 w 3400"/>
                  <a:gd name="T39" fmla="*/ 1848 h 2577"/>
                  <a:gd name="T40" fmla="*/ 1797 w 3400"/>
                  <a:gd name="T41" fmla="*/ 1958 h 2577"/>
                  <a:gd name="T42" fmla="*/ 2006 w 3400"/>
                  <a:gd name="T43" fmla="*/ 1884 h 2577"/>
                  <a:gd name="T44" fmla="*/ 1857 w 3400"/>
                  <a:gd name="T45" fmla="*/ 1968 h 2577"/>
                  <a:gd name="T46" fmla="*/ 1881 w 3400"/>
                  <a:gd name="T47" fmla="*/ 2002 h 2577"/>
                  <a:gd name="T48" fmla="*/ 2467 w 3400"/>
                  <a:gd name="T49" fmla="*/ 1946 h 2577"/>
                  <a:gd name="T50" fmla="*/ 2452 w 3400"/>
                  <a:gd name="T51" fmla="*/ 1821 h 2577"/>
                  <a:gd name="T52" fmla="*/ 2521 w 3400"/>
                  <a:gd name="T53" fmla="*/ 2055 h 2577"/>
                  <a:gd name="T54" fmla="*/ 2555 w 3400"/>
                  <a:gd name="T55" fmla="*/ 1883 h 2577"/>
                  <a:gd name="T56" fmla="*/ 3202 w 3400"/>
                  <a:gd name="T57" fmla="*/ 1928 h 2577"/>
                  <a:gd name="T58" fmla="*/ 3006 w 3400"/>
                  <a:gd name="T59" fmla="*/ 1854 h 2577"/>
                  <a:gd name="T60" fmla="*/ 3140 w 3400"/>
                  <a:gd name="T61" fmla="*/ 2049 h 2577"/>
                  <a:gd name="T62" fmla="*/ 2905 w 3400"/>
                  <a:gd name="T63" fmla="*/ 1964 h 2577"/>
                  <a:gd name="T64" fmla="*/ 2868 w 3400"/>
                  <a:gd name="T65" fmla="*/ 2041 h 2577"/>
                  <a:gd name="T66" fmla="*/ 2713 w 3400"/>
                  <a:gd name="T67" fmla="*/ 2051 h 2577"/>
                  <a:gd name="T68" fmla="*/ 2747 w 3400"/>
                  <a:gd name="T69" fmla="*/ 1996 h 2577"/>
                  <a:gd name="T70" fmla="*/ 3300 w 3400"/>
                  <a:gd name="T71" fmla="*/ 1805 h 2577"/>
                  <a:gd name="T72" fmla="*/ 1073 w 3400"/>
                  <a:gd name="T73" fmla="*/ 2049 h 2577"/>
                  <a:gd name="T74" fmla="*/ 2660 w 3400"/>
                  <a:gd name="T75" fmla="*/ 2279 h 2577"/>
                  <a:gd name="T76" fmla="*/ 2763 w 3400"/>
                  <a:gd name="T77" fmla="*/ 2480 h 2577"/>
                  <a:gd name="T78" fmla="*/ 2737 w 3400"/>
                  <a:gd name="T79" fmla="*/ 2285 h 2577"/>
                  <a:gd name="T80" fmla="*/ 690 w 3400"/>
                  <a:gd name="T81" fmla="*/ 2289 h 2577"/>
                  <a:gd name="T82" fmla="*/ 740 w 3400"/>
                  <a:gd name="T83" fmla="*/ 2301 h 2577"/>
                  <a:gd name="T84" fmla="*/ 222 w 3400"/>
                  <a:gd name="T85" fmla="*/ 2352 h 2577"/>
                  <a:gd name="T86" fmla="*/ 341 w 3400"/>
                  <a:gd name="T87" fmla="*/ 2395 h 2577"/>
                  <a:gd name="T88" fmla="*/ 554 w 3400"/>
                  <a:gd name="T89" fmla="*/ 2395 h 2577"/>
                  <a:gd name="T90" fmla="*/ 412 w 3400"/>
                  <a:gd name="T91" fmla="*/ 2407 h 2577"/>
                  <a:gd name="T92" fmla="*/ 484 w 3400"/>
                  <a:gd name="T93" fmla="*/ 2407 h 2577"/>
                  <a:gd name="T94" fmla="*/ 2419 w 3400"/>
                  <a:gd name="T95" fmla="*/ 2248 h 2577"/>
                  <a:gd name="T96" fmla="*/ 1758 w 3400"/>
                  <a:gd name="T97" fmla="*/ 2233 h 2577"/>
                  <a:gd name="T98" fmla="*/ 2133 w 3400"/>
                  <a:gd name="T99" fmla="*/ 2255 h 2577"/>
                  <a:gd name="T100" fmla="*/ 2204 w 3400"/>
                  <a:gd name="T101" fmla="*/ 2483 h 2577"/>
                  <a:gd name="T102" fmla="*/ 2269 w 3400"/>
                  <a:gd name="T103" fmla="*/ 2249 h 2577"/>
                  <a:gd name="T104" fmla="*/ 2204 w 3400"/>
                  <a:gd name="T105" fmla="*/ 2284 h 2577"/>
                  <a:gd name="T106" fmla="*/ 845 w 3400"/>
                  <a:gd name="T107" fmla="*/ 2131 h 2577"/>
                  <a:gd name="T108" fmla="*/ 1323 w 3400"/>
                  <a:gd name="T109" fmla="*/ 2244 h 2577"/>
                  <a:gd name="T110" fmla="*/ 1220 w 3400"/>
                  <a:gd name="T111" fmla="*/ 2299 h 2577"/>
                  <a:gd name="T112" fmla="*/ 1410 w 3400"/>
                  <a:gd name="T113" fmla="*/ 2289 h 2577"/>
                  <a:gd name="T114" fmla="*/ 1525 w 3400"/>
                  <a:gd name="T115" fmla="*/ 2477 h 2577"/>
                  <a:gd name="T116" fmla="*/ 1544 w 3400"/>
                  <a:gd name="T117" fmla="*/ 2570 h 2577"/>
                  <a:gd name="T118" fmla="*/ 1491 w 3400"/>
                  <a:gd name="T119" fmla="*/ 2424 h 2577"/>
                  <a:gd name="T120" fmla="*/ 1094 w 3400"/>
                  <a:gd name="T121" fmla="*/ 2341 h 2577"/>
                  <a:gd name="T122" fmla="*/ 437 w 3400"/>
                  <a:gd name="T123" fmla="*/ 1061 h 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00" h="2577">
                    <a:moveTo>
                      <a:pt x="283" y="1942"/>
                    </a:moveTo>
                    <a:lnTo>
                      <a:pt x="283" y="1942"/>
                    </a:lnTo>
                    <a:lnTo>
                      <a:pt x="283" y="1934"/>
                    </a:lnTo>
                    <a:lnTo>
                      <a:pt x="282" y="1927"/>
                    </a:lnTo>
                    <a:lnTo>
                      <a:pt x="278" y="1912"/>
                    </a:lnTo>
                    <a:lnTo>
                      <a:pt x="272" y="1900"/>
                    </a:lnTo>
                    <a:lnTo>
                      <a:pt x="265" y="1890"/>
                    </a:lnTo>
                    <a:lnTo>
                      <a:pt x="256" y="1883"/>
                    </a:lnTo>
                    <a:lnTo>
                      <a:pt x="248" y="1877"/>
                    </a:lnTo>
                    <a:lnTo>
                      <a:pt x="241" y="1872"/>
                    </a:lnTo>
                    <a:lnTo>
                      <a:pt x="233" y="1868"/>
                    </a:lnTo>
                    <a:lnTo>
                      <a:pt x="233" y="1868"/>
                    </a:lnTo>
                    <a:lnTo>
                      <a:pt x="242" y="1862"/>
                    </a:lnTo>
                    <a:lnTo>
                      <a:pt x="249" y="1856"/>
                    </a:lnTo>
                    <a:lnTo>
                      <a:pt x="255" y="1849"/>
                    </a:lnTo>
                    <a:lnTo>
                      <a:pt x="261" y="1840"/>
                    </a:lnTo>
                    <a:lnTo>
                      <a:pt x="266" y="1832"/>
                    </a:lnTo>
                    <a:lnTo>
                      <a:pt x="269" y="1822"/>
                    </a:lnTo>
                    <a:lnTo>
                      <a:pt x="271" y="1812"/>
                    </a:lnTo>
                    <a:lnTo>
                      <a:pt x="271" y="1801"/>
                    </a:lnTo>
                    <a:lnTo>
                      <a:pt x="271" y="1801"/>
                    </a:lnTo>
                    <a:lnTo>
                      <a:pt x="271" y="1792"/>
                    </a:lnTo>
                    <a:lnTo>
                      <a:pt x="270" y="1782"/>
                    </a:lnTo>
                    <a:lnTo>
                      <a:pt x="267" y="1773"/>
                    </a:lnTo>
                    <a:lnTo>
                      <a:pt x="265" y="1765"/>
                    </a:lnTo>
                    <a:lnTo>
                      <a:pt x="261" y="1756"/>
                    </a:lnTo>
                    <a:lnTo>
                      <a:pt x="256" y="1749"/>
                    </a:lnTo>
                    <a:lnTo>
                      <a:pt x="250" y="1743"/>
                    </a:lnTo>
                    <a:lnTo>
                      <a:pt x="244" y="1737"/>
                    </a:lnTo>
                    <a:lnTo>
                      <a:pt x="237" y="1732"/>
                    </a:lnTo>
                    <a:lnTo>
                      <a:pt x="230" y="1727"/>
                    </a:lnTo>
                    <a:lnTo>
                      <a:pt x="221" y="1724"/>
                    </a:lnTo>
                    <a:lnTo>
                      <a:pt x="211" y="1720"/>
                    </a:lnTo>
                    <a:lnTo>
                      <a:pt x="202" y="1718"/>
                    </a:lnTo>
                    <a:lnTo>
                      <a:pt x="191" y="1715"/>
                    </a:lnTo>
                    <a:lnTo>
                      <a:pt x="180" y="1715"/>
                    </a:lnTo>
                    <a:lnTo>
                      <a:pt x="168" y="1714"/>
                    </a:lnTo>
                    <a:lnTo>
                      <a:pt x="24" y="1714"/>
                    </a:lnTo>
                    <a:lnTo>
                      <a:pt x="24" y="2049"/>
                    </a:lnTo>
                    <a:lnTo>
                      <a:pt x="166" y="2049"/>
                    </a:lnTo>
                    <a:lnTo>
                      <a:pt x="166" y="2049"/>
                    </a:lnTo>
                    <a:lnTo>
                      <a:pt x="180" y="2049"/>
                    </a:lnTo>
                    <a:lnTo>
                      <a:pt x="192" y="2048"/>
                    </a:lnTo>
                    <a:lnTo>
                      <a:pt x="204" y="2046"/>
                    </a:lnTo>
                    <a:lnTo>
                      <a:pt x="215" y="2042"/>
                    </a:lnTo>
                    <a:lnTo>
                      <a:pt x="226" y="2038"/>
                    </a:lnTo>
                    <a:lnTo>
                      <a:pt x="236" y="2034"/>
                    </a:lnTo>
                    <a:lnTo>
                      <a:pt x="244" y="2028"/>
                    </a:lnTo>
                    <a:lnTo>
                      <a:pt x="252" y="2021"/>
                    </a:lnTo>
                    <a:lnTo>
                      <a:pt x="259" y="2014"/>
                    </a:lnTo>
                    <a:lnTo>
                      <a:pt x="265" y="2006"/>
                    </a:lnTo>
                    <a:lnTo>
                      <a:pt x="271" y="1997"/>
                    </a:lnTo>
                    <a:lnTo>
                      <a:pt x="275" y="1987"/>
                    </a:lnTo>
                    <a:lnTo>
                      <a:pt x="278" y="1978"/>
                    </a:lnTo>
                    <a:lnTo>
                      <a:pt x="281" y="1967"/>
                    </a:lnTo>
                    <a:lnTo>
                      <a:pt x="282" y="1955"/>
                    </a:lnTo>
                    <a:lnTo>
                      <a:pt x="283" y="1942"/>
                    </a:lnTo>
                    <a:lnTo>
                      <a:pt x="283" y="1942"/>
                    </a:lnTo>
                    <a:close/>
                    <a:moveTo>
                      <a:pt x="166" y="1993"/>
                    </a:moveTo>
                    <a:lnTo>
                      <a:pt x="86" y="1993"/>
                    </a:lnTo>
                    <a:lnTo>
                      <a:pt x="86" y="1897"/>
                    </a:lnTo>
                    <a:lnTo>
                      <a:pt x="166" y="1897"/>
                    </a:lnTo>
                    <a:lnTo>
                      <a:pt x="166" y="1897"/>
                    </a:lnTo>
                    <a:lnTo>
                      <a:pt x="179" y="1899"/>
                    </a:lnTo>
                    <a:lnTo>
                      <a:pt x="188" y="1900"/>
                    </a:lnTo>
                    <a:lnTo>
                      <a:pt x="197" y="1904"/>
                    </a:lnTo>
                    <a:lnTo>
                      <a:pt x="204" y="1910"/>
                    </a:lnTo>
                    <a:lnTo>
                      <a:pt x="210" y="1916"/>
                    </a:lnTo>
                    <a:lnTo>
                      <a:pt x="214" y="1924"/>
                    </a:lnTo>
                    <a:lnTo>
                      <a:pt x="216" y="1934"/>
                    </a:lnTo>
                    <a:lnTo>
                      <a:pt x="218" y="1945"/>
                    </a:lnTo>
                    <a:lnTo>
                      <a:pt x="218" y="1945"/>
                    </a:lnTo>
                    <a:lnTo>
                      <a:pt x="216" y="1956"/>
                    </a:lnTo>
                    <a:lnTo>
                      <a:pt x="214" y="1966"/>
                    </a:lnTo>
                    <a:lnTo>
                      <a:pt x="209" y="1974"/>
                    </a:lnTo>
                    <a:lnTo>
                      <a:pt x="204" y="1980"/>
                    </a:lnTo>
                    <a:lnTo>
                      <a:pt x="197" y="1986"/>
                    </a:lnTo>
                    <a:lnTo>
                      <a:pt x="188" y="1990"/>
                    </a:lnTo>
                    <a:lnTo>
                      <a:pt x="177" y="1992"/>
                    </a:lnTo>
                    <a:lnTo>
                      <a:pt x="166" y="1993"/>
                    </a:lnTo>
                    <a:lnTo>
                      <a:pt x="166" y="1993"/>
                    </a:lnTo>
                    <a:close/>
                    <a:moveTo>
                      <a:pt x="165" y="1843"/>
                    </a:moveTo>
                    <a:lnTo>
                      <a:pt x="86" y="1843"/>
                    </a:lnTo>
                    <a:lnTo>
                      <a:pt x="86" y="1771"/>
                    </a:lnTo>
                    <a:lnTo>
                      <a:pt x="163" y="1771"/>
                    </a:lnTo>
                    <a:lnTo>
                      <a:pt x="163" y="1771"/>
                    </a:lnTo>
                    <a:lnTo>
                      <a:pt x="173" y="1772"/>
                    </a:lnTo>
                    <a:lnTo>
                      <a:pt x="182" y="1773"/>
                    </a:lnTo>
                    <a:lnTo>
                      <a:pt x="190" y="1776"/>
                    </a:lnTo>
                    <a:lnTo>
                      <a:pt x="196" y="1780"/>
                    </a:lnTo>
                    <a:lnTo>
                      <a:pt x="201" y="1786"/>
                    </a:lnTo>
                    <a:lnTo>
                      <a:pt x="204" y="1792"/>
                    </a:lnTo>
                    <a:lnTo>
                      <a:pt x="205" y="1799"/>
                    </a:lnTo>
                    <a:lnTo>
                      <a:pt x="207" y="1807"/>
                    </a:lnTo>
                    <a:lnTo>
                      <a:pt x="207" y="1807"/>
                    </a:lnTo>
                    <a:lnTo>
                      <a:pt x="207" y="1814"/>
                    </a:lnTo>
                    <a:lnTo>
                      <a:pt x="205" y="1820"/>
                    </a:lnTo>
                    <a:lnTo>
                      <a:pt x="203" y="1826"/>
                    </a:lnTo>
                    <a:lnTo>
                      <a:pt x="199" y="1831"/>
                    </a:lnTo>
                    <a:lnTo>
                      <a:pt x="193" y="1835"/>
                    </a:lnTo>
                    <a:lnTo>
                      <a:pt x="186" y="1839"/>
                    </a:lnTo>
                    <a:lnTo>
                      <a:pt x="177" y="1842"/>
                    </a:lnTo>
                    <a:lnTo>
                      <a:pt x="165" y="1843"/>
                    </a:lnTo>
                    <a:lnTo>
                      <a:pt x="165" y="1843"/>
                    </a:lnTo>
                    <a:close/>
                    <a:moveTo>
                      <a:pt x="326" y="1944"/>
                    </a:moveTo>
                    <a:lnTo>
                      <a:pt x="326" y="1805"/>
                    </a:lnTo>
                    <a:lnTo>
                      <a:pt x="386" y="1805"/>
                    </a:lnTo>
                    <a:lnTo>
                      <a:pt x="386" y="1940"/>
                    </a:lnTo>
                    <a:lnTo>
                      <a:pt x="386" y="1940"/>
                    </a:lnTo>
                    <a:lnTo>
                      <a:pt x="386" y="1953"/>
                    </a:lnTo>
                    <a:lnTo>
                      <a:pt x="389" y="1967"/>
                    </a:lnTo>
                    <a:lnTo>
                      <a:pt x="392" y="1976"/>
                    </a:lnTo>
                    <a:lnTo>
                      <a:pt x="397" y="1985"/>
                    </a:lnTo>
                    <a:lnTo>
                      <a:pt x="403" y="1991"/>
                    </a:lnTo>
                    <a:lnTo>
                      <a:pt x="411" y="1996"/>
                    </a:lnTo>
                    <a:lnTo>
                      <a:pt x="420" y="1998"/>
                    </a:lnTo>
                    <a:lnTo>
                      <a:pt x="431" y="2000"/>
                    </a:lnTo>
                    <a:lnTo>
                      <a:pt x="431" y="2000"/>
                    </a:lnTo>
                    <a:lnTo>
                      <a:pt x="442" y="1998"/>
                    </a:lnTo>
                    <a:lnTo>
                      <a:pt x="451" y="1996"/>
                    </a:lnTo>
                    <a:lnTo>
                      <a:pt x="459" y="1991"/>
                    </a:lnTo>
                    <a:lnTo>
                      <a:pt x="465" y="1985"/>
                    </a:lnTo>
                    <a:lnTo>
                      <a:pt x="470" y="1976"/>
                    </a:lnTo>
                    <a:lnTo>
                      <a:pt x="474" y="1966"/>
                    </a:lnTo>
                    <a:lnTo>
                      <a:pt x="476" y="1953"/>
                    </a:lnTo>
                    <a:lnTo>
                      <a:pt x="476" y="1940"/>
                    </a:lnTo>
                    <a:lnTo>
                      <a:pt x="476" y="1805"/>
                    </a:lnTo>
                    <a:lnTo>
                      <a:pt x="537" y="1805"/>
                    </a:lnTo>
                    <a:lnTo>
                      <a:pt x="537" y="2049"/>
                    </a:lnTo>
                    <a:lnTo>
                      <a:pt x="476" y="2049"/>
                    </a:lnTo>
                    <a:lnTo>
                      <a:pt x="476" y="2030"/>
                    </a:lnTo>
                    <a:lnTo>
                      <a:pt x="476" y="2030"/>
                    </a:lnTo>
                    <a:lnTo>
                      <a:pt x="471" y="2036"/>
                    </a:lnTo>
                    <a:lnTo>
                      <a:pt x="464" y="2041"/>
                    </a:lnTo>
                    <a:lnTo>
                      <a:pt x="458" y="2046"/>
                    </a:lnTo>
                    <a:lnTo>
                      <a:pt x="451" y="2048"/>
                    </a:lnTo>
                    <a:lnTo>
                      <a:pt x="444" y="2052"/>
                    </a:lnTo>
                    <a:lnTo>
                      <a:pt x="435" y="2053"/>
                    </a:lnTo>
                    <a:lnTo>
                      <a:pt x="427" y="2054"/>
                    </a:lnTo>
                    <a:lnTo>
                      <a:pt x="418" y="2055"/>
                    </a:lnTo>
                    <a:lnTo>
                      <a:pt x="418" y="2055"/>
                    </a:lnTo>
                    <a:lnTo>
                      <a:pt x="403" y="2054"/>
                    </a:lnTo>
                    <a:lnTo>
                      <a:pt x="391" y="2052"/>
                    </a:lnTo>
                    <a:lnTo>
                      <a:pt x="380" y="2048"/>
                    </a:lnTo>
                    <a:lnTo>
                      <a:pt x="369" y="2043"/>
                    </a:lnTo>
                    <a:lnTo>
                      <a:pt x="361" y="2037"/>
                    </a:lnTo>
                    <a:lnTo>
                      <a:pt x="354" y="2031"/>
                    </a:lnTo>
                    <a:lnTo>
                      <a:pt x="348" y="2023"/>
                    </a:lnTo>
                    <a:lnTo>
                      <a:pt x="341" y="2014"/>
                    </a:lnTo>
                    <a:lnTo>
                      <a:pt x="338" y="2006"/>
                    </a:lnTo>
                    <a:lnTo>
                      <a:pt x="334" y="1997"/>
                    </a:lnTo>
                    <a:lnTo>
                      <a:pt x="329" y="1978"/>
                    </a:lnTo>
                    <a:lnTo>
                      <a:pt x="327" y="1959"/>
                    </a:lnTo>
                    <a:lnTo>
                      <a:pt x="326" y="1944"/>
                    </a:lnTo>
                    <a:lnTo>
                      <a:pt x="326" y="1944"/>
                    </a:lnTo>
                    <a:close/>
                    <a:moveTo>
                      <a:pt x="1249" y="2049"/>
                    </a:moveTo>
                    <a:lnTo>
                      <a:pt x="1188" y="2049"/>
                    </a:lnTo>
                    <a:lnTo>
                      <a:pt x="1188" y="1805"/>
                    </a:lnTo>
                    <a:lnTo>
                      <a:pt x="1249" y="1805"/>
                    </a:lnTo>
                    <a:lnTo>
                      <a:pt x="1249" y="1826"/>
                    </a:lnTo>
                    <a:lnTo>
                      <a:pt x="1249" y="1826"/>
                    </a:lnTo>
                    <a:lnTo>
                      <a:pt x="1255" y="1820"/>
                    </a:lnTo>
                    <a:lnTo>
                      <a:pt x="1261" y="1814"/>
                    </a:lnTo>
                    <a:lnTo>
                      <a:pt x="1269" y="1810"/>
                    </a:lnTo>
                    <a:lnTo>
                      <a:pt x="1276" y="1806"/>
                    </a:lnTo>
                    <a:lnTo>
                      <a:pt x="1284" y="1803"/>
                    </a:lnTo>
                    <a:lnTo>
                      <a:pt x="1292" y="1801"/>
                    </a:lnTo>
                    <a:lnTo>
                      <a:pt x="1301" y="1800"/>
                    </a:lnTo>
                    <a:lnTo>
                      <a:pt x="1310" y="1799"/>
                    </a:lnTo>
                    <a:lnTo>
                      <a:pt x="1310" y="1799"/>
                    </a:lnTo>
                    <a:lnTo>
                      <a:pt x="1321" y="1800"/>
                    </a:lnTo>
                    <a:lnTo>
                      <a:pt x="1331" y="1801"/>
                    </a:lnTo>
                    <a:lnTo>
                      <a:pt x="1340" y="1804"/>
                    </a:lnTo>
                    <a:lnTo>
                      <a:pt x="1349" y="1806"/>
                    </a:lnTo>
                    <a:lnTo>
                      <a:pt x="1357" y="1810"/>
                    </a:lnTo>
                    <a:lnTo>
                      <a:pt x="1365" y="1816"/>
                    </a:lnTo>
                    <a:lnTo>
                      <a:pt x="1371" y="1821"/>
                    </a:lnTo>
                    <a:lnTo>
                      <a:pt x="1377" y="1828"/>
                    </a:lnTo>
                    <a:lnTo>
                      <a:pt x="1383" y="1835"/>
                    </a:lnTo>
                    <a:lnTo>
                      <a:pt x="1386" y="1844"/>
                    </a:lnTo>
                    <a:lnTo>
                      <a:pt x="1391" y="1852"/>
                    </a:lnTo>
                    <a:lnTo>
                      <a:pt x="1394" y="1862"/>
                    </a:lnTo>
                    <a:lnTo>
                      <a:pt x="1396" y="1873"/>
                    </a:lnTo>
                    <a:lnTo>
                      <a:pt x="1399" y="1885"/>
                    </a:lnTo>
                    <a:lnTo>
                      <a:pt x="1400" y="1897"/>
                    </a:lnTo>
                    <a:lnTo>
                      <a:pt x="1400" y="1911"/>
                    </a:lnTo>
                    <a:lnTo>
                      <a:pt x="1400" y="2049"/>
                    </a:lnTo>
                    <a:lnTo>
                      <a:pt x="1339" y="2049"/>
                    </a:lnTo>
                    <a:lnTo>
                      <a:pt x="1339" y="1914"/>
                    </a:lnTo>
                    <a:lnTo>
                      <a:pt x="1339" y="1914"/>
                    </a:lnTo>
                    <a:lnTo>
                      <a:pt x="1339" y="1900"/>
                    </a:lnTo>
                    <a:lnTo>
                      <a:pt x="1337" y="1888"/>
                    </a:lnTo>
                    <a:lnTo>
                      <a:pt x="1333" y="1878"/>
                    </a:lnTo>
                    <a:lnTo>
                      <a:pt x="1328" y="1869"/>
                    </a:lnTo>
                    <a:lnTo>
                      <a:pt x="1322" y="1863"/>
                    </a:lnTo>
                    <a:lnTo>
                      <a:pt x="1315" y="1859"/>
                    </a:lnTo>
                    <a:lnTo>
                      <a:pt x="1306" y="1856"/>
                    </a:lnTo>
                    <a:lnTo>
                      <a:pt x="1295" y="1855"/>
                    </a:lnTo>
                    <a:lnTo>
                      <a:pt x="1295" y="1855"/>
                    </a:lnTo>
                    <a:lnTo>
                      <a:pt x="1284" y="1856"/>
                    </a:lnTo>
                    <a:lnTo>
                      <a:pt x="1275" y="1859"/>
                    </a:lnTo>
                    <a:lnTo>
                      <a:pt x="1267" y="1863"/>
                    </a:lnTo>
                    <a:lnTo>
                      <a:pt x="1261" y="1869"/>
                    </a:lnTo>
                    <a:lnTo>
                      <a:pt x="1255" y="1878"/>
                    </a:lnTo>
                    <a:lnTo>
                      <a:pt x="1252" y="1889"/>
                    </a:lnTo>
                    <a:lnTo>
                      <a:pt x="1249" y="1901"/>
                    </a:lnTo>
                    <a:lnTo>
                      <a:pt x="1249" y="1914"/>
                    </a:lnTo>
                    <a:lnTo>
                      <a:pt x="1249" y="2049"/>
                    </a:lnTo>
                    <a:close/>
                    <a:moveTo>
                      <a:pt x="653" y="1927"/>
                    </a:moveTo>
                    <a:lnTo>
                      <a:pt x="653" y="2049"/>
                    </a:lnTo>
                    <a:lnTo>
                      <a:pt x="592" y="2049"/>
                    </a:lnTo>
                    <a:lnTo>
                      <a:pt x="592" y="1805"/>
                    </a:lnTo>
                    <a:lnTo>
                      <a:pt x="653" y="1805"/>
                    </a:lnTo>
                    <a:lnTo>
                      <a:pt x="653" y="1927"/>
                    </a:lnTo>
                    <a:close/>
                    <a:moveTo>
                      <a:pt x="706" y="1733"/>
                    </a:moveTo>
                    <a:lnTo>
                      <a:pt x="767" y="1703"/>
                    </a:lnTo>
                    <a:lnTo>
                      <a:pt x="767" y="1924"/>
                    </a:lnTo>
                    <a:lnTo>
                      <a:pt x="767" y="2049"/>
                    </a:lnTo>
                    <a:lnTo>
                      <a:pt x="706" y="2049"/>
                    </a:lnTo>
                    <a:lnTo>
                      <a:pt x="706" y="1733"/>
                    </a:lnTo>
                    <a:close/>
                    <a:moveTo>
                      <a:pt x="959" y="1822"/>
                    </a:moveTo>
                    <a:lnTo>
                      <a:pt x="959" y="1822"/>
                    </a:lnTo>
                    <a:lnTo>
                      <a:pt x="954" y="1816"/>
                    </a:lnTo>
                    <a:lnTo>
                      <a:pt x="948" y="1812"/>
                    </a:lnTo>
                    <a:lnTo>
                      <a:pt x="941" y="1807"/>
                    </a:lnTo>
                    <a:lnTo>
                      <a:pt x="934" y="1805"/>
                    </a:lnTo>
                    <a:lnTo>
                      <a:pt x="927" y="1803"/>
                    </a:lnTo>
                    <a:lnTo>
                      <a:pt x="920" y="1800"/>
                    </a:lnTo>
                    <a:lnTo>
                      <a:pt x="905" y="1799"/>
                    </a:lnTo>
                    <a:lnTo>
                      <a:pt x="905" y="1799"/>
                    </a:lnTo>
                    <a:lnTo>
                      <a:pt x="894" y="1800"/>
                    </a:lnTo>
                    <a:lnTo>
                      <a:pt x="883" y="1801"/>
                    </a:lnTo>
                    <a:lnTo>
                      <a:pt x="874" y="1804"/>
                    </a:lnTo>
                    <a:lnTo>
                      <a:pt x="865" y="1807"/>
                    </a:lnTo>
                    <a:lnTo>
                      <a:pt x="857" y="1812"/>
                    </a:lnTo>
                    <a:lnTo>
                      <a:pt x="848" y="1818"/>
                    </a:lnTo>
                    <a:lnTo>
                      <a:pt x="841" y="1826"/>
                    </a:lnTo>
                    <a:lnTo>
                      <a:pt x="835" y="1833"/>
                    </a:lnTo>
                    <a:lnTo>
                      <a:pt x="829" y="1842"/>
                    </a:lnTo>
                    <a:lnTo>
                      <a:pt x="824" y="1851"/>
                    </a:lnTo>
                    <a:lnTo>
                      <a:pt x="819" y="1861"/>
                    </a:lnTo>
                    <a:lnTo>
                      <a:pt x="815" y="1872"/>
                    </a:lnTo>
                    <a:lnTo>
                      <a:pt x="813" y="1884"/>
                    </a:lnTo>
                    <a:lnTo>
                      <a:pt x="811" y="1897"/>
                    </a:lnTo>
                    <a:lnTo>
                      <a:pt x="809" y="1911"/>
                    </a:lnTo>
                    <a:lnTo>
                      <a:pt x="809" y="1924"/>
                    </a:lnTo>
                    <a:lnTo>
                      <a:pt x="809" y="1924"/>
                    </a:lnTo>
                    <a:lnTo>
                      <a:pt x="809" y="1940"/>
                    </a:lnTo>
                    <a:lnTo>
                      <a:pt x="811" y="1953"/>
                    </a:lnTo>
                    <a:lnTo>
                      <a:pt x="813" y="1967"/>
                    </a:lnTo>
                    <a:lnTo>
                      <a:pt x="815" y="1979"/>
                    </a:lnTo>
                    <a:lnTo>
                      <a:pt x="819" y="1991"/>
                    </a:lnTo>
                    <a:lnTo>
                      <a:pt x="823" y="2002"/>
                    </a:lnTo>
                    <a:lnTo>
                      <a:pt x="828" y="2012"/>
                    </a:lnTo>
                    <a:lnTo>
                      <a:pt x="834" y="2020"/>
                    </a:lnTo>
                    <a:lnTo>
                      <a:pt x="841" y="2029"/>
                    </a:lnTo>
                    <a:lnTo>
                      <a:pt x="847" y="2035"/>
                    </a:lnTo>
                    <a:lnTo>
                      <a:pt x="855" y="2041"/>
                    </a:lnTo>
                    <a:lnTo>
                      <a:pt x="864" y="2046"/>
                    </a:lnTo>
                    <a:lnTo>
                      <a:pt x="872" y="2049"/>
                    </a:lnTo>
                    <a:lnTo>
                      <a:pt x="882" y="2053"/>
                    </a:lnTo>
                    <a:lnTo>
                      <a:pt x="893" y="2054"/>
                    </a:lnTo>
                    <a:lnTo>
                      <a:pt x="904" y="2055"/>
                    </a:lnTo>
                    <a:lnTo>
                      <a:pt x="904" y="2055"/>
                    </a:lnTo>
                    <a:lnTo>
                      <a:pt x="911" y="2054"/>
                    </a:lnTo>
                    <a:lnTo>
                      <a:pt x="919" y="2053"/>
                    </a:lnTo>
                    <a:lnTo>
                      <a:pt x="926" y="2052"/>
                    </a:lnTo>
                    <a:lnTo>
                      <a:pt x="933" y="2049"/>
                    </a:lnTo>
                    <a:lnTo>
                      <a:pt x="939" y="2046"/>
                    </a:lnTo>
                    <a:lnTo>
                      <a:pt x="947" y="2042"/>
                    </a:lnTo>
                    <a:lnTo>
                      <a:pt x="953" y="2037"/>
                    </a:lnTo>
                    <a:lnTo>
                      <a:pt x="959" y="2031"/>
                    </a:lnTo>
                    <a:lnTo>
                      <a:pt x="959" y="2049"/>
                    </a:lnTo>
                    <a:lnTo>
                      <a:pt x="1020" y="2049"/>
                    </a:lnTo>
                    <a:lnTo>
                      <a:pt x="1020" y="1703"/>
                    </a:lnTo>
                    <a:lnTo>
                      <a:pt x="959" y="1733"/>
                    </a:lnTo>
                    <a:lnTo>
                      <a:pt x="959" y="1822"/>
                    </a:lnTo>
                    <a:close/>
                    <a:moveTo>
                      <a:pt x="916" y="2000"/>
                    </a:moveTo>
                    <a:lnTo>
                      <a:pt x="916" y="2000"/>
                    </a:lnTo>
                    <a:lnTo>
                      <a:pt x="909" y="1998"/>
                    </a:lnTo>
                    <a:lnTo>
                      <a:pt x="900" y="1996"/>
                    </a:lnTo>
                    <a:lnTo>
                      <a:pt x="893" y="1992"/>
                    </a:lnTo>
                    <a:lnTo>
                      <a:pt x="886" y="1985"/>
                    </a:lnTo>
                    <a:lnTo>
                      <a:pt x="880" y="1975"/>
                    </a:lnTo>
                    <a:lnTo>
                      <a:pt x="875" y="1962"/>
                    </a:lnTo>
                    <a:lnTo>
                      <a:pt x="871" y="1945"/>
                    </a:lnTo>
                    <a:lnTo>
                      <a:pt x="870" y="1923"/>
                    </a:lnTo>
                    <a:lnTo>
                      <a:pt x="870" y="1923"/>
                    </a:lnTo>
                    <a:lnTo>
                      <a:pt x="871" y="1904"/>
                    </a:lnTo>
                    <a:lnTo>
                      <a:pt x="875" y="1889"/>
                    </a:lnTo>
                    <a:lnTo>
                      <a:pt x="880" y="1877"/>
                    </a:lnTo>
                    <a:lnTo>
                      <a:pt x="886" y="1868"/>
                    </a:lnTo>
                    <a:lnTo>
                      <a:pt x="892" y="1861"/>
                    </a:lnTo>
                    <a:lnTo>
                      <a:pt x="900" y="1857"/>
                    </a:lnTo>
                    <a:lnTo>
                      <a:pt x="908" y="1855"/>
                    </a:lnTo>
                    <a:lnTo>
                      <a:pt x="916" y="1855"/>
                    </a:lnTo>
                    <a:lnTo>
                      <a:pt x="916" y="1855"/>
                    </a:lnTo>
                    <a:lnTo>
                      <a:pt x="924" y="1855"/>
                    </a:lnTo>
                    <a:lnTo>
                      <a:pt x="931" y="1857"/>
                    </a:lnTo>
                    <a:lnTo>
                      <a:pt x="938" y="1860"/>
                    </a:lnTo>
                    <a:lnTo>
                      <a:pt x="943" y="1863"/>
                    </a:lnTo>
                    <a:lnTo>
                      <a:pt x="948" y="1867"/>
                    </a:lnTo>
                    <a:lnTo>
                      <a:pt x="953" y="1871"/>
                    </a:lnTo>
                    <a:lnTo>
                      <a:pt x="959" y="1879"/>
                    </a:lnTo>
                    <a:lnTo>
                      <a:pt x="959" y="1975"/>
                    </a:lnTo>
                    <a:lnTo>
                      <a:pt x="959" y="1975"/>
                    </a:lnTo>
                    <a:lnTo>
                      <a:pt x="951" y="1984"/>
                    </a:lnTo>
                    <a:lnTo>
                      <a:pt x="943" y="1991"/>
                    </a:lnTo>
                    <a:lnTo>
                      <a:pt x="938" y="1995"/>
                    </a:lnTo>
                    <a:lnTo>
                      <a:pt x="931" y="1997"/>
                    </a:lnTo>
                    <a:lnTo>
                      <a:pt x="925" y="1998"/>
                    </a:lnTo>
                    <a:lnTo>
                      <a:pt x="916" y="2000"/>
                    </a:lnTo>
                    <a:lnTo>
                      <a:pt x="916" y="2000"/>
                    </a:lnTo>
                    <a:close/>
                    <a:moveTo>
                      <a:pt x="2278" y="1799"/>
                    </a:moveTo>
                    <a:lnTo>
                      <a:pt x="2278" y="1799"/>
                    </a:lnTo>
                    <a:lnTo>
                      <a:pt x="2272" y="1800"/>
                    </a:lnTo>
                    <a:lnTo>
                      <a:pt x="2265" y="1801"/>
                    </a:lnTo>
                    <a:lnTo>
                      <a:pt x="2250" y="1805"/>
                    </a:lnTo>
                    <a:lnTo>
                      <a:pt x="2237" y="1812"/>
                    </a:lnTo>
                    <a:lnTo>
                      <a:pt x="2225" y="1822"/>
                    </a:lnTo>
                    <a:lnTo>
                      <a:pt x="2225" y="1709"/>
                    </a:lnTo>
                    <a:lnTo>
                      <a:pt x="2164" y="1739"/>
                    </a:lnTo>
                    <a:lnTo>
                      <a:pt x="2164" y="2049"/>
                    </a:lnTo>
                    <a:lnTo>
                      <a:pt x="2225" y="2049"/>
                    </a:lnTo>
                    <a:lnTo>
                      <a:pt x="2225" y="2031"/>
                    </a:lnTo>
                    <a:lnTo>
                      <a:pt x="2225" y="2031"/>
                    </a:lnTo>
                    <a:lnTo>
                      <a:pt x="2230" y="2037"/>
                    </a:lnTo>
                    <a:lnTo>
                      <a:pt x="2237" y="2042"/>
                    </a:lnTo>
                    <a:lnTo>
                      <a:pt x="2243" y="2046"/>
                    </a:lnTo>
                    <a:lnTo>
                      <a:pt x="2250" y="2049"/>
                    </a:lnTo>
                    <a:lnTo>
                      <a:pt x="2257" y="2052"/>
                    </a:lnTo>
                    <a:lnTo>
                      <a:pt x="2265" y="2053"/>
                    </a:lnTo>
                    <a:lnTo>
                      <a:pt x="2272" y="2054"/>
                    </a:lnTo>
                    <a:lnTo>
                      <a:pt x="2280" y="2055"/>
                    </a:lnTo>
                    <a:lnTo>
                      <a:pt x="2280" y="2055"/>
                    </a:lnTo>
                    <a:lnTo>
                      <a:pt x="2291" y="2054"/>
                    </a:lnTo>
                    <a:lnTo>
                      <a:pt x="2302" y="2053"/>
                    </a:lnTo>
                    <a:lnTo>
                      <a:pt x="2311" y="2051"/>
                    </a:lnTo>
                    <a:lnTo>
                      <a:pt x="2321" y="2046"/>
                    </a:lnTo>
                    <a:lnTo>
                      <a:pt x="2329" y="2041"/>
                    </a:lnTo>
                    <a:lnTo>
                      <a:pt x="2337" y="2036"/>
                    </a:lnTo>
                    <a:lnTo>
                      <a:pt x="2344" y="2029"/>
                    </a:lnTo>
                    <a:lnTo>
                      <a:pt x="2350" y="2021"/>
                    </a:lnTo>
                    <a:lnTo>
                      <a:pt x="2356" y="2012"/>
                    </a:lnTo>
                    <a:lnTo>
                      <a:pt x="2361" y="2002"/>
                    </a:lnTo>
                    <a:lnTo>
                      <a:pt x="2365" y="1991"/>
                    </a:lnTo>
                    <a:lnTo>
                      <a:pt x="2368" y="1980"/>
                    </a:lnTo>
                    <a:lnTo>
                      <a:pt x="2372" y="1968"/>
                    </a:lnTo>
                    <a:lnTo>
                      <a:pt x="2373" y="1955"/>
                    </a:lnTo>
                    <a:lnTo>
                      <a:pt x="2374" y="1940"/>
                    </a:lnTo>
                    <a:lnTo>
                      <a:pt x="2376" y="1924"/>
                    </a:lnTo>
                    <a:lnTo>
                      <a:pt x="2376" y="1924"/>
                    </a:lnTo>
                    <a:lnTo>
                      <a:pt x="2374" y="1911"/>
                    </a:lnTo>
                    <a:lnTo>
                      <a:pt x="2373" y="1897"/>
                    </a:lnTo>
                    <a:lnTo>
                      <a:pt x="2371" y="1884"/>
                    </a:lnTo>
                    <a:lnTo>
                      <a:pt x="2368" y="1872"/>
                    </a:lnTo>
                    <a:lnTo>
                      <a:pt x="2365" y="1861"/>
                    </a:lnTo>
                    <a:lnTo>
                      <a:pt x="2360" y="1851"/>
                    </a:lnTo>
                    <a:lnTo>
                      <a:pt x="2355" y="1842"/>
                    </a:lnTo>
                    <a:lnTo>
                      <a:pt x="2349" y="1833"/>
                    </a:lnTo>
                    <a:lnTo>
                      <a:pt x="2343" y="1826"/>
                    </a:lnTo>
                    <a:lnTo>
                      <a:pt x="2336" y="1818"/>
                    </a:lnTo>
                    <a:lnTo>
                      <a:pt x="2327" y="1812"/>
                    </a:lnTo>
                    <a:lnTo>
                      <a:pt x="2319" y="1807"/>
                    </a:lnTo>
                    <a:lnTo>
                      <a:pt x="2310" y="1804"/>
                    </a:lnTo>
                    <a:lnTo>
                      <a:pt x="2300" y="1801"/>
                    </a:lnTo>
                    <a:lnTo>
                      <a:pt x="2289" y="1800"/>
                    </a:lnTo>
                    <a:lnTo>
                      <a:pt x="2278" y="1799"/>
                    </a:lnTo>
                    <a:lnTo>
                      <a:pt x="2278" y="1799"/>
                    </a:lnTo>
                    <a:close/>
                    <a:moveTo>
                      <a:pt x="2267" y="1855"/>
                    </a:moveTo>
                    <a:lnTo>
                      <a:pt x="2267" y="1855"/>
                    </a:lnTo>
                    <a:lnTo>
                      <a:pt x="2276" y="1856"/>
                    </a:lnTo>
                    <a:lnTo>
                      <a:pt x="2284" y="1859"/>
                    </a:lnTo>
                    <a:lnTo>
                      <a:pt x="2292" y="1863"/>
                    </a:lnTo>
                    <a:lnTo>
                      <a:pt x="2299" y="1871"/>
                    </a:lnTo>
                    <a:lnTo>
                      <a:pt x="2305" y="1879"/>
                    </a:lnTo>
                    <a:lnTo>
                      <a:pt x="2309" y="1891"/>
                    </a:lnTo>
                    <a:lnTo>
                      <a:pt x="2312" y="1906"/>
                    </a:lnTo>
                    <a:lnTo>
                      <a:pt x="2314" y="1923"/>
                    </a:lnTo>
                    <a:lnTo>
                      <a:pt x="2314" y="1923"/>
                    </a:lnTo>
                    <a:lnTo>
                      <a:pt x="2312" y="1941"/>
                    </a:lnTo>
                    <a:lnTo>
                      <a:pt x="2310" y="1957"/>
                    </a:lnTo>
                    <a:lnTo>
                      <a:pt x="2308" y="1969"/>
                    </a:lnTo>
                    <a:lnTo>
                      <a:pt x="2303" y="1980"/>
                    </a:lnTo>
                    <a:lnTo>
                      <a:pt x="2295" y="1989"/>
                    </a:lnTo>
                    <a:lnTo>
                      <a:pt x="2288" y="1995"/>
                    </a:lnTo>
                    <a:lnTo>
                      <a:pt x="2280" y="1998"/>
                    </a:lnTo>
                    <a:lnTo>
                      <a:pt x="2269" y="2000"/>
                    </a:lnTo>
                    <a:lnTo>
                      <a:pt x="2269" y="2000"/>
                    </a:lnTo>
                    <a:lnTo>
                      <a:pt x="2260" y="1998"/>
                    </a:lnTo>
                    <a:lnTo>
                      <a:pt x="2253" y="1997"/>
                    </a:lnTo>
                    <a:lnTo>
                      <a:pt x="2247" y="1993"/>
                    </a:lnTo>
                    <a:lnTo>
                      <a:pt x="2241" y="1991"/>
                    </a:lnTo>
                    <a:lnTo>
                      <a:pt x="2231" y="1983"/>
                    </a:lnTo>
                    <a:lnTo>
                      <a:pt x="2225" y="1976"/>
                    </a:lnTo>
                    <a:lnTo>
                      <a:pt x="2225" y="1879"/>
                    </a:lnTo>
                    <a:lnTo>
                      <a:pt x="2225" y="1879"/>
                    </a:lnTo>
                    <a:lnTo>
                      <a:pt x="2229" y="1874"/>
                    </a:lnTo>
                    <a:lnTo>
                      <a:pt x="2233" y="1869"/>
                    </a:lnTo>
                    <a:lnTo>
                      <a:pt x="2238" y="1865"/>
                    </a:lnTo>
                    <a:lnTo>
                      <a:pt x="2243" y="1861"/>
                    </a:lnTo>
                    <a:lnTo>
                      <a:pt x="2249" y="1859"/>
                    </a:lnTo>
                    <a:lnTo>
                      <a:pt x="2255" y="1856"/>
                    </a:lnTo>
                    <a:lnTo>
                      <a:pt x="2261" y="1855"/>
                    </a:lnTo>
                    <a:lnTo>
                      <a:pt x="2267" y="1855"/>
                    </a:lnTo>
                    <a:lnTo>
                      <a:pt x="2267" y="1855"/>
                    </a:lnTo>
                    <a:close/>
                    <a:moveTo>
                      <a:pt x="1591" y="1822"/>
                    </a:moveTo>
                    <a:lnTo>
                      <a:pt x="1591" y="1822"/>
                    </a:lnTo>
                    <a:lnTo>
                      <a:pt x="1586" y="1817"/>
                    </a:lnTo>
                    <a:lnTo>
                      <a:pt x="1580" y="1812"/>
                    </a:lnTo>
                    <a:lnTo>
                      <a:pt x="1572" y="1809"/>
                    </a:lnTo>
                    <a:lnTo>
                      <a:pt x="1566" y="1805"/>
                    </a:lnTo>
                    <a:lnTo>
                      <a:pt x="1559" y="1803"/>
                    </a:lnTo>
                    <a:lnTo>
                      <a:pt x="1552" y="1800"/>
                    </a:lnTo>
                    <a:lnTo>
                      <a:pt x="1544" y="1800"/>
                    </a:lnTo>
                    <a:lnTo>
                      <a:pt x="1537" y="1799"/>
                    </a:lnTo>
                    <a:lnTo>
                      <a:pt x="1537" y="1799"/>
                    </a:lnTo>
                    <a:lnTo>
                      <a:pt x="1526" y="1800"/>
                    </a:lnTo>
                    <a:lnTo>
                      <a:pt x="1515" y="1801"/>
                    </a:lnTo>
                    <a:lnTo>
                      <a:pt x="1506" y="1804"/>
                    </a:lnTo>
                    <a:lnTo>
                      <a:pt x="1497" y="1807"/>
                    </a:lnTo>
                    <a:lnTo>
                      <a:pt x="1489" y="1812"/>
                    </a:lnTo>
                    <a:lnTo>
                      <a:pt x="1480" y="1818"/>
                    </a:lnTo>
                    <a:lnTo>
                      <a:pt x="1473" y="1826"/>
                    </a:lnTo>
                    <a:lnTo>
                      <a:pt x="1467" y="1833"/>
                    </a:lnTo>
                    <a:lnTo>
                      <a:pt x="1461" y="1842"/>
                    </a:lnTo>
                    <a:lnTo>
                      <a:pt x="1456" y="1851"/>
                    </a:lnTo>
                    <a:lnTo>
                      <a:pt x="1451" y="1861"/>
                    </a:lnTo>
                    <a:lnTo>
                      <a:pt x="1447" y="1872"/>
                    </a:lnTo>
                    <a:lnTo>
                      <a:pt x="1445" y="1884"/>
                    </a:lnTo>
                    <a:lnTo>
                      <a:pt x="1442" y="1897"/>
                    </a:lnTo>
                    <a:lnTo>
                      <a:pt x="1441" y="1911"/>
                    </a:lnTo>
                    <a:lnTo>
                      <a:pt x="1441" y="1924"/>
                    </a:lnTo>
                    <a:lnTo>
                      <a:pt x="1441" y="1924"/>
                    </a:lnTo>
                    <a:lnTo>
                      <a:pt x="1441" y="1940"/>
                    </a:lnTo>
                    <a:lnTo>
                      <a:pt x="1442" y="1953"/>
                    </a:lnTo>
                    <a:lnTo>
                      <a:pt x="1445" y="1967"/>
                    </a:lnTo>
                    <a:lnTo>
                      <a:pt x="1447" y="1979"/>
                    </a:lnTo>
                    <a:lnTo>
                      <a:pt x="1451" y="1991"/>
                    </a:lnTo>
                    <a:lnTo>
                      <a:pt x="1455" y="2002"/>
                    </a:lnTo>
                    <a:lnTo>
                      <a:pt x="1461" y="2012"/>
                    </a:lnTo>
                    <a:lnTo>
                      <a:pt x="1465" y="2020"/>
                    </a:lnTo>
                    <a:lnTo>
                      <a:pt x="1473" y="2029"/>
                    </a:lnTo>
                    <a:lnTo>
                      <a:pt x="1479" y="2035"/>
                    </a:lnTo>
                    <a:lnTo>
                      <a:pt x="1487" y="2041"/>
                    </a:lnTo>
                    <a:lnTo>
                      <a:pt x="1496" y="2046"/>
                    </a:lnTo>
                    <a:lnTo>
                      <a:pt x="1504" y="2049"/>
                    </a:lnTo>
                    <a:lnTo>
                      <a:pt x="1514" y="2053"/>
                    </a:lnTo>
                    <a:lnTo>
                      <a:pt x="1525" y="2054"/>
                    </a:lnTo>
                    <a:lnTo>
                      <a:pt x="1536" y="2054"/>
                    </a:lnTo>
                    <a:lnTo>
                      <a:pt x="1536" y="2054"/>
                    </a:lnTo>
                    <a:lnTo>
                      <a:pt x="1543" y="2054"/>
                    </a:lnTo>
                    <a:lnTo>
                      <a:pt x="1551" y="2053"/>
                    </a:lnTo>
                    <a:lnTo>
                      <a:pt x="1558" y="2052"/>
                    </a:lnTo>
                    <a:lnTo>
                      <a:pt x="1565" y="2049"/>
                    </a:lnTo>
                    <a:lnTo>
                      <a:pt x="1572" y="2046"/>
                    </a:lnTo>
                    <a:lnTo>
                      <a:pt x="1578" y="2041"/>
                    </a:lnTo>
                    <a:lnTo>
                      <a:pt x="1585" y="2037"/>
                    </a:lnTo>
                    <a:lnTo>
                      <a:pt x="1591" y="2031"/>
                    </a:lnTo>
                    <a:lnTo>
                      <a:pt x="1591" y="2037"/>
                    </a:lnTo>
                    <a:lnTo>
                      <a:pt x="1591" y="2037"/>
                    </a:lnTo>
                    <a:lnTo>
                      <a:pt x="1591" y="2047"/>
                    </a:lnTo>
                    <a:lnTo>
                      <a:pt x="1589" y="2058"/>
                    </a:lnTo>
                    <a:lnTo>
                      <a:pt x="1587" y="2069"/>
                    </a:lnTo>
                    <a:lnTo>
                      <a:pt x="1585" y="2074"/>
                    </a:lnTo>
                    <a:lnTo>
                      <a:pt x="1581" y="2079"/>
                    </a:lnTo>
                    <a:lnTo>
                      <a:pt x="1577" y="2083"/>
                    </a:lnTo>
                    <a:lnTo>
                      <a:pt x="1572" y="2088"/>
                    </a:lnTo>
                    <a:lnTo>
                      <a:pt x="1565" y="2092"/>
                    </a:lnTo>
                    <a:lnTo>
                      <a:pt x="1558" y="2094"/>
                    </a:lnTo>
                    <a:lnTo>
                      <a:pt x="1549" y="2098"/>
                    </a:lnTo>
                    <a:lnTo>
                      <a:pt x="1538" y="2099"/>
                    </a:lnTo>
                    <a:lnTo>
                      <a:pt x="1526" y="2102"/>
                    </a:lnTo>
                    <a:lnTo>
                      <a:pt x="1513" y="2102"/>
                    </a:lnTo>
                    <a:lnTo>
                      <a:pt x="1510" y="2102"/>
                    </a:lnTo>
                    <a:lnTo>
                      <a:pt x="1531" y="2149"/>
                    </a:lnTo>
                    <a:lnTo>
                      <a:pt x="1532" y="2149"/>
                    </a:lnTo>
                    <a:lnTo>
                      <a:pt x="1532" y="2149"/>
                    </a:lnTo>
                    <a:lnTo>
                      <a:pt x="1547" y="2149"/>
                    </a:lnTo>
                    <a:lnTo>
                      <a:pt x="1560" y="2147"/>
                    </a:lnTo>
                    <a:lnTo>
                      <a:pt x="1574" y="2144"/>
                    </a:lnTo>
                    <a:lnTo>
                      <a:pt x="1585" y="2141"/>
                    </a:lnTo>
                    <a:lnTo>
                      <a:pt x="1595" y="2137"/>
                    </a:lnTo>
                    <a:lnTo>
                      <a:pt x="1605" y="2132"/>
                    </a:lnTo>
                    <a:lnTo>
                      <a:pt x="1614" y="2125"/>
                    </a:lnTo>
                    <a:lnTo>
                      <a:pt x="1622" y="2119"/>
                    </a:lnTo>
                    <a:lnTo>
                      <a:pt x="1630" y="2110"/>
                    </a:lnTo>
                    <a:lnTo>
                      <a:pt x="1634" y="2100"/>
                    </a:lnTo>
                    <a:lnTo>
                      <a:pt x="1640" y="2091"/>
                    </a:lnTo>
                    <a:lnTo>
                      <a:pt x="1644" y="2080"/>
                    </a:lnTo>
                    <a:lnTo>
                      <a:pt x="1648" y="2068"/>
                    </a:lnTo>
                    <a:lnTo>
                      <a:pt x="1650" y="2055"/>
                    </a:lnTo>
                    <a:lnTo>
                      <a:pt x="1651" y="2042"/>
                    </a:lnTo>
                    <a:lnTo>
                      <a:pt x="1651" y="2026"/>
                    </a:lnTo>
                    <a:lnTo>
                      <a:pt x="1651" y="1805"/>
                    </a:lnTo>
                    <a:lnTo>
                      <a:pt x="1591" y="1805"/>
                    </a:lnTo>
                    <a:lnTo>
                      <a:pt x="1591" y="1822"/>
                    </a:lnTo>
                    <a:close/>
                    <a:moveTo>
                      <a:pt x="1591" y="1879"/>
                    </a:moveTo>
                    <a:lnTo>
                      <a:pt x="1591" y="1975"/>
                    </a:lnTo>
                    <a:lnTo>
                      <a:pt x="1591" y="1975"/>
                    </a:lnTo>
                    <a:lnTo>
                      <a:pt x="1583" y="1984"/>
                    </a:lnTo>
                    <a:lnTo>
                      <a:pt x="1574" y="1992"/>
                    </a:lnTo>
                    <a:lnTo>
                      <a:pt x="1569" y="1995"/>
                    </a:lnTo>
                    <a:lnTo>
                      <a:pt x="1563" y="1997"/>
                    </a:lnTo>
                    <a:lnTo>
                      <a:pt x="1555" y="1998"/>
                    </a:lnTo>
                    <a:lnTo>
                      <a:pt x="1548" y="2000"/>
                    </a:lnTo>
                    <a:lnTo>
                      <a:pt x="1548" y="2000"/>
                    </a:lnTo>
                    <a:lnTo>
                      <a:pt x="1540" y="1998"/>
                    </a:lnTo>
                    <a:lnTo>
                      <a:pt x="1532" y="1996"/>
                    </a:lnTo>
                    <a:lnTo>
                      <a:pt x="1524" y="1991"/>
                    </a:lnTo>
                    <a:lnTo>
                      <a:pt x="1518" y="1985"/>
                    </a:lnTo>
                    <a:lnTo>
                      <a:pt x="1512" y="1975"/>
                    </a:lnTo>
                    <a:lnTo>
                      <a:pt x="1507" y="1962"/>
                    </a:lnTo>
                    <a:lnTo>
                      <a:pt x="1503" y="1945"/>
                    </a:lnTo>
                    <a:lnTo>
                      <a:pt x="1502" y="1923"/>
                    </a:lnTo>
                    <a:lnTo>
                      <a:pt x="1502" y="1923"/>
                    </a:lnTo>
                    <a:lnTo>
                      <a:pt x="1503" y="1904"/>
                    </a:lnTo>
                    <a:lnTo>
                      <a:pt x="1507" y="1889"/>
                    </a:lnTo>
                    <a:lnTo>
                      <a:pt x="1512" y="1877"/>
                    </a:lnTo>
                    <a:lnTo>
                      <a:pt x="1518" y="1868"/>
                    </a:lnTo>
                    <a:lnTo>
                      <a:pt x="1524" y="1861"/>
                    </a:lnTo>
                    <a:lnTo>
                      <a:pt x="1532" y="1857"/>
                    </a:lnTo>
                    <a:lnTo>
                      <a:pt x="1540" y="1855"/>
                    </a:lnTo>
                    <a:lnTo>
                      <a:pt x="1548" y="1855"/>
                    </a:lnTo>
                    <a:lnTo>
                      <a:pt x="1548" y="1855"/>
                    </a:lnTo>
                    <a:lnTo>
                      <a:pt x="1555" y="1855"/>
                    </a:lnTo>
                    <a:lnTo>
                      <a:pt x="1563" y="1857"/>
                    </a:lnTo>
                    <a:lnTo>
                      <a:pt x="1570" y="1860"/>
                    </a:lnTo>
                    <a:lnTo>
                      <a:pt x="1575" y="1862"/>
                    </a:lnTo>
                    <a:lnTo>
                      <a:pt x="1580" y="1867"/>
                    </a:lnTo>
                    <a:lnTo>
                      <a:pt x="1585" y="1871"/>
                    </a:lnTo>
                    <a:lnTo>
                      <a:pt x="1591" y="1879"/>
                    </a:lnTo>
                    <a:lnTo>
                      <a:pt x="1591" y="1879"/>
                    </a:lnTo>
                    <a:close/>
                    <a:moveTo>
                      <a:pt x="1840" y="1865"/>
                    </a:moveTo>
                    <a:lnTo>
                      <a:pt x="1840" y="1865"/>
                    </a:lnTo>
                    <a:lnTo>
                      <a:pt x="1854" y="1857"/>
                    </a:lnTo>
                    <a:lnTo>
                      <a:pt x="1869" y="1852"/>
                    </a:lnTo>
                    <a:lnTo>
                      <a:pt x="1885" y="1849"/>
                    </a:lnTo>
                    <a:lnTo>
                      <a:pt x="1902" y="1848"/>
                    </a:lnTo>
                    <a:lnTo>
                      <a:pt x="1902" y="1848"/>
                    </a:lnTo>
                    <a:lnTo>
                      <a:pt x="1913" y="1849"/>
                    </a:lnTo>
                    <a:lnTo>
                      <a:pt x="1921" y="1850"/>
                    </a:lnTo>
                    <a:lnTo>
                      <a:pt x="1928" y="1852"/>
                    </a:lnTo>
                    <a:lnTo>
                      <a:pt x="1935" y="1857"/>
                    </a:lnTo>
                    <a:lnTo>
                      <a:pt x="1939" y="1862"/>
                    </a:lnTo>
                    <a:lnTo>
                      <a:pt x="1943" y="1868"/>
                    </a:lnTo>
                    <a:lnTo>
                      <a:pt x="1945" y="1874"/>
                    </a:lnTo>
                    <a:lnTo>
                      <a:pt x="1945" y="1883"/>
                    </a:lnTo>
                    <a:lnTo>
                      <a:pt x="1945" y="1900"/>
                    </a:lnTo>
                    <a:lnTo>
                      <a:pt x="1945" y="1900"/>
                    </a:lnTo>
                    <a:lnTo>
                      <a:pt x="1935" y="1895"/>
                    </a:lnTo>
                    <a:lnTo>
                      <a:pt x="1921" y="1891"/>
                    </a:lnTo>
                    <a:lnTo>
                      <a:pt x="1908" y="1889"/>
                    </a:lnTo>
                    <a:lnTo>
                      <a:pt x="1893" y="1888"/>
                    </a:lnTo>
                    <a:lnTo>
                      <a:pt x="1893" y="1888"/>
                    </a:lnTo>
                    <a:lnTo>
                      <a:pt x="1876" y="1889"/>
                    </a:lnTo>
                    <a:lnTo>
                      <a:pt x="1859" y="1893"/>
                    </a:lnTo>
                    <a:lnTo>
                      <a:pt x="1843" y="1897"/>
                    </a:lnTo>
                    <a:lnTo>
                      <a:pt x="1835" y="1901"/>
                    </a:lnTo>
                    <a:lnTo>
                      <a:pt x="1828" y="1906"/>
                    </a:lnTo>
                    <a:lnTo>
                      <a:pt x="1822" y="1911"/>
                    </a:lnTo>
                    <a:lnTo>
                      <a:pt x="1815" y="1917"/>
                    </a:lnTo>
                    <a:lnTo>
                      <a:pt x="1809" y="1923"/>
                    </a:lnTo>
                    <a:lnTo>
                      <a:pt x="1805" y="1930"/>
                    </a:lnTo>
                    <a:lnTo>
                      <a:pt x="1801" y="1939"/>
                    </a:lnTo>
                    <a:lnTo>
                      <a:pt x="1798" y="1948"/>
                    </a:lnTo>
                    <a:lnTo>
                      <a:pt x="1797" y="1958"/>
                    </a:lnTo>
                    <a:lnTo>
                      <a:pt x="1796" y="1968"/>
                    </a:lnTo>
                    <a:lnTo>
                      <a:pt x="1796" y="1968"/>
                    </a:lnTo>
                    <a:lnTo>
                      <a:pt x="1797" y="1980"/>
                    </a:lnTo>
                    <a:lnTo>
                      <a:pt x="1798" y="1991"/>
                    </a:lnTo>
                    <a:lnTo>
                      <a:pt x="1801" y="2000"/>
                    </a:lnTo>
                    <a:lnTo>
                      <a:pt x="1805" y="2009"/>
                    </a:lnTo>
                    <a:lnTo>
                      <a:pt x="1808" y="2017"/>
                    </a:lnTo>
                    <a:lnTo>
                      <a:pt x="1814" y="2024"/>
                    </a:lnTo>
                    <a:lnTo>
                      <a:pt x="1819" y="2030"/>
                    </a:lnTo>
                    <a:lnTo>
                      <a:pt x="1826" y="2036"/>
                    </a:lnTo>
                    <a:lnTo>
                      <a:pt x="1832" y="2041"/>
                    </a:lnTo>
                    <a:lnTo>
                      <a:pt x="1840" y="2045"/>
                    </a:lnTo>
                    <a:lnTo>
                      <a:pt x="1856" y="2051"/>
                    </a:lnTo>
                    <a:lnTo>
                      <a:pt x="1871" y="2054"/>
                    </a:lnTo>
                    <a:lnTo>
                      <a:pt x="1887" y="2055"/>
                    </a:lnTo>
                    <a:lnTo>
                      <a:pt x="1887" y="2055"/>
                    </a:lnTo>
                    <a:lnTo>
                      <a:pt x="1901" y="2053"/>
                    </a:lnTo>
                    <a:lnTo>
                      <a:pt x="1909" y="2052"/>
                    </a:lnTo>
                    <a:lnTo>
                      <a:pt x="1916" y="2049"/>
                    </a:lnTo>
                    <a:lnTo>
                      <a:pt x="1925" y="2046"/>
                    </a:lnTo>
                    <a:lnTo>
                      <a:pt x="1932" y="2041"/>
                    </a:lnTo>
                    <a:lnTo>
                      <a:pt x="1939" y="2036"/>
                    </a:lnTo>
                    <a:lnTo>
                      <a:pt x="1945" y="2030"/>
                    </a:lnTo>
                    <a:lnTo>
                      <a:pt x="1945" y="2049"/>
                    </a:lnTo>
                    <a:lnTo>
                      <a:pt x="2006" y="2049"/>
                    </a:lnTo>
                    <a:lnTo>
                      <a:pt x="2006" y="1884"/>
                    </a:lnTo>
                    <a:lnTo>
                      <a:pt x="2006" y="1884"/>
                    </a:lnTo>
                    <a:lnTo>
                      <a:pt x="2006" y="1874"/>
                    </a:lnTo>
                    <a:lnTo>
                      <a:pt x="2005" y="1866"/>
                    </a:lnTo>
                    <a:lnTo>
                      <a:pt x="2003" y="1857"/>
                    </a:lnTo>
                    <a:lnTo>
                      <a:pt x="2000" y="1849"/>
                    </a:lnTo>
                    <a:lnTo>
                      <a:pt x="1995" y="1842"/>
                    </a:lnTo>
                    <a:lnTo>
                      <a:pt x="1992" y="1834"/>
                    </a:lnTo>
                    <a:lnTo>
                      <a:pt x="1986" y="1828"/>
                    </a:lnTo>
                    <a:lnTo>
                      <a:pt x="1979" y="1822"/>
                    </a:lnTo>
                    <a:lnTo>
                      <a:pt x="1973" y="1817"/>
                    </a:lnTo>
                    <a:lnTo>
                      <a:pt x="1966" y="1812"/>
                    </a:lnTo>
                    <a:lnTo>
                      <a:pt x="1958" y="1809"/>
                    </a:lnTo>
                    <a:lnTo>
                      <a:pt x="1949" y="1805"/>
                    </a:lnTo>
                    <a:lnTo>
                      <a:pt x="1939" y="1803"/>
                    </a:lnTo>
                    <a:lnTo>
                      <a:pt x="1930" y="1801"/>
                    </a:lnTo>
                    <a:lnTo>
                      <a:pt x="1919" y="1800"/>
                    </a:lnTo>
                    <a:lnTo>
                      <a:pt x="1908" y="1799"/>
                    </a:lnTo>
                    <a:lnTo>
                      <a:pt x="1908" y="1799"/>
                    </a:lnTo>
                    <a:lnTo>
                      <a:pt x="1894" y="1800"/>
                    </a:lnTo>
                    <a:lnTo>
                      <a:pt x="1883" y="1800"/>
                    </a:lnTo>
                    <a:lnTo>
                      <a:pt x="1871" y="1803"/>
                    </a:lnTo>
                    <a:lnTo>
                      <a:pt x="1859" y="1805"/>
                    </a:lnTo>
                    <a:lnTo>
                      <a:pt x="1848" y="1809"/>
                    </a:lnTo>
                    <a:lnTo>
                      <a:pt x="1837" y="1812"/>
                    </a:lnTo>
                    <a:lnTo>
                      <a:pt x="1826" y="1817"/>
                    </a:lnTo>
                    <a:lnTo>
                      <a:pt x="1815" y="1823"/>
                    </a:lnTo>
                    <a:lnTo>
                      <a:pt x="1840" y="1865"/>
                    </a:lnTo>
                    <a:close/>
                    <a:moveTo>
                      <a:pt x="1857" y="1968"/>
                    </a:moveTo>
                    <a:lnTo>
                      <a:pt x="1857" y="1968"/>
                    </a:lnTo>
                    <a:lnTo>
                      <a:pt x="1857" y="1961"/>
                    </a:lnTo>
                    <a:lnTo>
                      <a:pt x="1859" y="1953"/>
                    </a:lnTo>
                    <a:lnTo>
                      <a:pt x="1863" y="1947"/>
                    </a:lnTo>
                    <a:lnTo>
                      <a:pt x="1868" y="1942"/>
                    </a:lnTo>
                    <a:lnTo>
                      <a:pt x="1874" y="1939"/>
                    </a:lnTo>
                    <a:lnTo>
                      <a:pt x="1881" y="1936"/>
                    </a:lnTo>
                    <a:lnTo>
                      <a:pt x="1890" y="1934"/>
                    </a:lnTo>
                    <a:lnTo>
                      <a:pt x="1898" y="1934"/>
                    </a:lnTo>
                    <a:lnTo>
                      <a:pt x="1898" y="1934"/>
                    </a:lnTo>
                    <a:lnTo>
                      <a:pt x="1911" y="1934"/>
                    </a:lnTo>
                    <a:lnTo>
                      <a:pt x="1924" y="1936"/>
                    </a:lnTo>
                    <a:lnTo>
                      <a:pt x="1935" y="1940"/>
                    </a:lnTo>
                    <a:lnTo>
                      <a:pt x="1945" y="1946"/>
                    </a:lnTo>
                    <a:lnTo>
                      <a:pt x="1945" y="1979"/>
                    </a:lnTo>
                    <a:lnTo>
                      <a:pt x="1945" y="1979"/>
                    </a:lnTo>
                    <a:lnTo>
                      <a:pt x="1943" y="1984"/>
                    </a:lnTo>
                    <a:lnTo>
                      <a:pt x="1938" y="1989"/>
                    </a:lnTo>
                    <a:lnTo>
                      <a:pt x="1933" y="1993"/>
                    </a:lnTo>
                    <a:lnTo>
                      <a:pt x="1927" y="1997"/>
                    </a:lnTo>
                    <a:lnTo>
                      <a:pt x="1921" y="2001"/>
                    </a:lnTo>
                    <a:lnTo>
                      <a:pt x="1914" y="2003"/>
                    </a:lnTo>
                    <a:lnTo>
                      <a:pt x="1907" y="2004"/>
                    </a:lnTo>
                    <a:lnTo>
                      <a:pt x="1898" y="2006"/>
                    </a:lnTo>
                    <a:lnTo>
                      <a:pt x="1898" y="2006"/>
                    </a:lnTo>
                    <a:lnTo>
                      <a:pt x="1890" y="2004"/>
                    </a:lnTo>
                    <a:lnTo>
                      <a:pt x="1881" y="2002"/>
                    </a:lnTo>
                    <a:lnTo>
                      <a:pt x="1874" y="2000"/>
                    </a:lnTo>
                    <a:lnTo>
                      <a:pt x="1868" y="1995"/>
                    </a:lnTo>
                    <a:lnTo>
                      <a:pt x="1863" y="1990"/>
                    </a:lnTo>
                    <a:lnTo>
                      <a:pt x="1859" y="1984"/>
                    </a:lnTo>
                    <a:lnTo>
                      <a:pt x="1858" y="1976"/>
                    </a:lnTo>
                    <a:lnTo>
                      <a:pt x="1857" y="1968"/>
                    </a:lnTo>
                    <a:lnTo>
                      <a:pt x="1857" y="1968"/>
                    </a:lnTo>
                    <a:close/>
                    <a:moveTo>
                      <a:pt x="2569" y="1979"/>
                    </a:moveTo>
                    <a:lnTo>
                      <a:pt x="2569" y="1979"/>
                    </a:lnTo>
                    <a:lnTo>
                      <a:pt x="2560" y="1986"/>
                    </a:lnTo>
                    <a:lnTo>
                      <a:pt x="2549" y="1992"/>
                    </a:lnTo>
                    <a:lnTo>
                      <a:pt x="2543" y="1995"/>
                    </a:lnTo>
                    <a:lnTo>
                      <a:pt x="2536" y="1997"/>
                    </a:lnTo>
                    <a:lnTo>
                      <a:pt x="2529" y="1998"/>
                    </a:lnTo>
                    <a:lnTo>
                      <a:pt x="2521" y="2000"/>
                    </a:lnTo>
                    <a:lnTo>
                      <a:pt x="2521" y="2000"/>
                    </a:lnTo>
                    <a:lnTo>
                      <a:pt x="2515" y="1998"/>
                    </a:lnTo>
                    <a:lnTo>
                      <a:pt x="2508" y="1998"/>
                    </a:lnTo>
                    <a:lnTo>
                      <a:pt x="2500" y="1996"/>
                    </a:lnTo>
                    <a:lnTo>
                      <a:pt x="2490" y="1991"/>
                    </a:lnTo>
                    <a:lnTo>
                      <a:pt x="2481" y="1985"/>
                    </a:lnTo>
                    <a:lnTo>
                      <a:pt x="2478" y="1980"/>
                    </a:lnTo>
                    <a:lnTo>
                      <a:pt x="2474" y="1975"/>
                    </a:lnTo>
                    <a:lnTo>
                      <a:pt x="2472" y="1969"/>
                    </a:lnTo>
                    <a:lnTo>
                      <a:pt x="2469" y="1962"/>
                    </a:lnTo>
                    <a:lnTo>
                      <a:pt x="2468" y="1955"/>
                    </a:lnTo>
                    <a:lnTo>
                      <a:pt x="2467" y="1946"/>
                    </a:lnTo>
                    <a:lnTo>
                      <a:pt x="2616" y="1946"/>
                    </a:lnTo>
                    <a:lnTo>
                      <a:pt x="2616" y="1946"/>
                    </a:lnTo>
                    <a:lnTo>
                      <a:pt x="2617" y="1928"/>
                    </a:lnTo>
                    <a:lnTo>
                      <a:pt x="2617" y="1928"/>
                    </a:lnTo>
                    <a:lnTo>
                      <a:pt x="2617" y="1913"/>
                    </a:lnTo>
                    <a:lnTo>
                      <a:pt x="2615" y="1900"/>
                    </a:lnTo>
                    <a:lnTo>
                      <a:pt x="2614" y="1886"/>
                    </a:lnTo>
                    <a:lnTo>
                      <a:pt x="2610" y="1874"/>
                    </a:lnTo>
                    <a:lnTo>
                      <a:pt x="2607" y="1863"/>
                    </a:lnTo>
                    <a:lnTo>
                      <a:pt x="2602" y="1852"/>
                    </a:lnTo>
                    <a:lnTo>
                      <a:pt x="2596" y="1843"/>
                    </a:lnTo>
                    <a:lnTo>
                      <a:pt x="2589" y="1834"/>
                    </a:lnTo>
                    <a:lnTo>
                      <a:pt x="2582" y="1826"/>
                    </a:lnTo>
                    <a:lnTo>
                      <a:pt x="2575" y="1820"/>
                    </a:lnTo>
                    <a:lnTo>
                      <a:pt x="2566" y="1814"/>
                    </a:lnTo>
                    <a:lnTo>
                      <a:pt x="2557" y="1809"/>
                    </a:lnTo>
                    <a:lnTo>
                      <a:pt x="2547" y="1805"/>
                    </a:lnTo>
                    <a:lnTo>
                      <a:pt x="2537" y="1801"/>
                    </a:lnTo>
                    <a:lnTo>
                      <a:pt x="2526" y="1800"/>
                    </a:lnTo>
                    <a:lnTo>
                      <a:pt x="2514" y="1799"/>
                    </a:lnTo>
                    <a:lnTo>
                      <a:pt x="2514" y="1799"/>
                    </a:lnTo>
                    <a:lnTo>
                      <a:pt x="2503" y="1800"/>
                    </a:lnTo>
                    <a:lnTo>
                      <a:pt x="2492" y="1801"/>
                    </a:lnTo>
                    <a:lnTo>
                      <a:pt x="2481" y="1805"/>
                    </a:lnTo>
                    <a:lnTo>
                      <a:pt x="2470" y="1809"/>
                    </a:lnTo>
                    <a:lnTo>
                      <a:pt x="2461" y="1814"/>
                    </a:lnTo>
                    <a:lnTo>
                      <a:pt x="2452" y="1821"/>
                    </a:lnTo>
                    <a:lnTo>
                      <a:pt x="2444" y="1827"/>
                    </a:lnTo>
                    <a:lnTo>
                      <a:pt x="2436" y="1835"/>
                    </a:lnTo>
                    <a:lnTo>
                      <a:pt x="2429" y="1844"/>
                    </a:lnTo>
                    <a:lnTo>
                      <a:pt x="2423" y="1854"/>
                    </a:lnTo>
                    <a:lnTo>
                      <a:pt x="2418" y="1865"/>
                    </a:lnTo>
                    <a:lnTo>
                      <a:pt x="2413" y="1876"/>
                    </a:lnTo>
                    <a:lnTo>
                      <a:pt x="2410" y="1888"/>
                    </a:lnTo>
                    <a:lnTo>
                      <a:pt x="2407" y="1901"/>
                    </a:lnTo>
                    <a:lnTo>
                      <a:pt x="2406" y="1913"/>
                    </a:lnTo>
                    <a:lnTo>
                      <a:pt x="2405" y="1928"/>
                    </a:lnTo>
                    <a:lnTo>
                      <a:pt x="2405" y="1928"/>
                    </a:lnTo>
                    <a:lnTo>
                      <a:pt x="2406" y="1941"/>
                    </a:lnTo>
                    <a:lnTo>
                      <a:pt x="2407" y="1955"/>
                    </a:lnTo>
                    <a:lnTo>
                      <a:pt x="2410" y="1968"/>
                    </a:lnTo>
                    <a:lnTo>
                      <a:pt x="2413" y="1980"/>
                    </a:lnTo>
                    <a:lnTo>
                      <a:pt x="2418" y="1991"/>
                    </a:lnTo>
                    <a:lnTo>
                      <a:pt x="2423" y="2002"/>
                    </a:lnTo>
                    <a:lnTo>
                      <a:pt x="2429" y="2012"/>
                    </a:lnTo>
                    <a:lnTo>
                      <a:pt x="2436" y="2020"/>
                    </a:lnTo>
                    <a:lnTo>
                      <a:pt x="2445" y="2028"/>
                    </a:lnTo>
                    <a:lnTo>
                      <a:pt x="2453" y="2035"/>
                    </a:lnTo>
                    <a:lnTo>
                      <a:pt x="2463" y="2041"/>
                    </a:lnTo>
                    <a:lnTo>
                      <a:pt x="2473" y="2046"/>
                    </a:lnTo>
                    <a:lnTo>
                      <a:pt x="2484" y="2049"/>
                    </a:lnTo>
                    <a:lnTo>
                      <a:pt x="2496" y="2053"/>
                    </a:lnTo>
                    <a:lnTo>
                      <a:pt x="2508" y="2054"/>
                    </a:lnTo>
                    <a:lnTo>
                      <a:pt x="2521" y="2055"/>
                    </a:lnTo>
                    <a:lnTo>
                      <a:pt x="2521" y="2055"/>
                    </a:lnTo>
                    <a:lnTo>
                      <a:pt x="2534" y="2054"/>
                    </a:lnTo>
                    <a:lnTo>
                      <a:pt x="2545" y="2053"/>
                    </a:lnTo>
                    <a:lnTo>
                      <a:pt x="2557" y="2049"/>
                    </a:lnTo>
                    <a:lnTo>
                      <a:pt x="2568" y="2046"/>
                    </a:lnTo>
                    <a:lnTo>
                      <a:pt x="2579" y="2040"/>
                    </a:lnTo>
                    <a:lnTo>
                      <a:pt x="2588" y="2034"/>
                    </a:lnTo>
                    <a:lnTo>
                      <a:pt x="2598" y="2025"/>
                    </a:lnTo>
                    <a:lnTo>
                      <a:pt x="2608" y="2017"/>
                    </a:lnTo>
                    <a:lnTo>
                      <a:pt x="2569" y="1979"/>
                    </a:lnTo>
                    <a:close/>
                    <a:moveTo>
                      <a:pt x="2468" y="1901"/>
                    </a:moveTo>
                    <a:lnTo>
                      <a:pt x="2468" y="1901"/>
                    </a:lnTo>
                    <a:lnTo>
                      <a:pt x="2469" y="1890"/>
                    </a:lnTo>
                    <a:lnTo>
                      <a:pt x="2472" y="1880"/>
                    </a:lnTo>
                    <a:lnTo>
                      <a:pt x="2475" y="1872"/>
                    </a:lnTo>
                    <a:lnTo>
                      <a:pt x="2481" y="1865"/>
                    </a:lnTo>
                    <a:lnTo>
                      <a:pt x="2487" y="1859"/>
                    </a:lnTo>
                    <a:lnTo>
                      <a:pt x="2495" y="1855"/>
                    </a:lnTo>
                    <a:lnTo>
                      <a:pt x="2503" y="1851"/>
                    </a:lnTo>
                    <a:lnTo>
                      <a:pt x="2513" y="1851"/>
                    </a:lnTo>
                    <a:lnTo>
                      <a:pt x="2513" y="1851"/>
                    </a:lnTo>
                    <a:lnTo>
                      <a:pt x="2524" y="1852"/>
                    </a:lnTo>
                    <a:lnTo>
                      <a:pt x="2534" y="1855"/>
                    </a:lnTo>
                    <a:lnTo>
                      <a:pt x="2541" y="1860"/>
                    </a:lnTo>
                    <a:lnTo>
                      <a:pt x="2547" y="1867"/>
                    </a:lnTo>
                    <a:lnTo>
                      <a:pt x="2552" y="1874"/>
                    </a:lnTo>
                    <a:lnTo>
                      <a:pt x="2555" y="1883"/>
                    </a:lnTo>
                    <a:lnTo>
                      <a:pt x="2558" y="1893"/>
                    </a:lnTo>
                    <a:lnTo>
                      <a:pt x="2559" y="1901"/>
                    </a:lnTo>
                    <a:lnTo>
                      <a:pt x="2468" y="1901"/>
                    </a:lnTo>
                    <a:close/>
                    <a:moveTo>
                      <a:pt x="3153" y="1979"/>
                    </a:moveTo>
                    <a:lnTo>
                      <a:pt x="3153" y="1979"/>
                    </a:lnTo>
                    <a:lnTo>
                      <a:pt x="3144" y="1986"/>
                    </a:lnTo>
                    <a:lnTo>
                      <a:pt x="3134" y="1992"/>
                    </a:lnTo>
                    <a:lnTo>
                      <a:pt x="3127" y="1995"/>
                    </a:lnTo>
                    <a:lnTo>
                      <a:pt x="3121" y="1997"/>
                    </a:lnTo>
                    <a:lnTo>
                      <a:pt x="3113" y="1998"/>
                    </a:lnTo>
                    <a:lnTo>
                      <a:pt x="3105" y="2000"/>
                    </a:lnTo>
                    <a:lnTo>
                      <a:pt x="3105" y="2000"/>
                    </a:lnTo>
                    <a:lnTo>
                      <a:pt x="3099" y="1998"/>
                    </a:lnTo>
                    <a:lnTo>
                      <a:pt x="3091" y="1998"/>
                    </a:lnTo>
                    <a:lnTo>
                      <a:pt x="3083" y="1996"/>
                    </a:lnTo>
                    <a:lnTo>
                      <a:pt x="3074" y="1991"/>
                    </a:lnTo>
                    <a:lnTo>
                      <a:pt x="3066" y="1985"/>
                    </a:lnTo>
                    <a:lnTo>
                      <a:pt x="3062" y="1980"/>
                    </a:lnTo>
                    <a:lnTo>
                      <a:pt x="3059" y="1975"/>
                    </a:lnTo>
                    <a:lnTo>
                      <a:pt x="3056" y="1969"/>
                    </a:lnTo>
                    <a:lnTo>
                      <a:pt x="3054" y="1962"/>
                    </a:lnTo>
                    <a:lnTo>
                      <a:pt x="3051" y="1955"/>
                    </a:lnTo>
                    <a:lnTo>
                      <a:pt x="3050" y="1946"/>
                    </a:lnTo>
                    <a:lnTo>
                      <a:pt x="3201" y="1946"/>
                    </a:lnTo>
                    <a:lnTo>
                      <a:pt x="3201" y="1946"/>
                    </a:lnTo>
                    <a:lnTo>
                      <a:pt x="3202" y="1928"/>
                    </a:lnTo>
                    <a:lnTo>
                      <a:pt x="3202" y="1928"/>
                    </a:lnTo>
                    <a:lnTo>
                      <a:pt x="3201" y="1913"/>
                    </a:lnTo>
                    <a:lnTo>
                      <a:pt x="3199" y="1900"/>
                    </a:lnTo>
                    <a:lnTo>
                      <a:pt x="3197" y="1886"/>
                    </a:lnTo>
                    <a:lnTo>
                      <a:pt x="3195" y="1874"/>
                    </a:lnTo>
                    <a:lnTo>
                      <a:pt x="3190" y="1863"/>
                    </a:lnTo>
                    <a:lnTo>
                      <a:pt x="3185" y="1852"/>
                    </a:lnTo>
                    <a:lnTo>
                      <a:pt x="3180" y="1843"/>
                    </a:lnTo>
                    <a:lnTo>
                      <a:pt x="3174" y="1834"/>
                    </a:lnTo>
                    <a:lnTo>
                      <a:pt x="3167" y="1826"/>
                    </a:lnTo>
                    <a:lnTo>
                      <a:pt x="3158" y="1820"/>
                    </a:lnTo>
                    <a:lnTo>
                      <a:pt x="3150" y="1814"/>
                    </a:lnTo>
                    <a:lnTo>
                      <a:pt x="3141" y="1809"/>
                    </a:lnTo>
                    <a:lnTo>
                      <a:pt x="3131" y="1805"/>
                    </a:lnTo>
                    <a:lnTo>
                      <a:pt x="3121" y="1801"/>
                    </a:lnTo>
                    <a:lnTo>
                      <a:pt x="3110" y="1800"/>
                    </a:lnTo>
                    <a:lnTo>
                      <a:pt x="3099" y="1799"/>
                    </a:lnTo>
                    <a:lnTo>
                      <a:pt x="3099" y="1799"/>
                    </a:lnTo>
                    <a:lnTo>
                      <a:pt x="3086" y="1800"/>
                    </a:lnTo>
                    <a:lnTo>
                      <a:pt x="3076" y="1801"/>
                    </a:lnTo>
                    <a:lnTo>
                      <a:pt x="3065" y="1805"/>
                    </a:lnTo>
                    <a:lnTo>
                      <a:pt x="3055" y="1809"/>
                    </a:lnTo>
                    <a:lnTo>
                      <a:pt x="3045" y="1814"/>
                    </a:lnTo>
                    <a:lnTo>
                      <a:pt x="3035" y="1821"/>
                    </a:lnTo>
                    <a:lnTo>
                      <a:pt x="3028" y="1827"/>
                    </a:lnTo>
                    <a:lnTo>
                      <a:pt x="3020" y="1835"/>
                    </a:lnTo>
                    <a:lnTo>
                      <a:pt x="3012" y="1844"/>
                    </a:lnTo>
                    <a:lnTo>
                      <a:pt x="3006" y="1854"/>
                    </a:lnTo>
                    <a:lnTo>
                      <a:pt x="3001" y="1865"/>
                    </a:lnTo>
                    <a:lnTo>
                      <a:pt x="2997" y="1876"/>
                    </a:lnTo>
                    <a:lnTo>
                      <a:pt x="2994" y="1888"/>
                    </a:lnTo>
                    <a:lnTo>
                      <a:pt x="2990" y="1901"/>
                    </a:lnTo>
                    <a:lnTo>
                      <a:pt x="2989" y="1913"/>
                    </a:lnTo>
                    <a:lnTo>
                      <a:pt x="2989" y="1928"/>
                    </a:lnTo>
                    <a:lnTo>
                      <a:pt x="2989" y="1928"/>
                    </a:lnTo>
                    <a:lnTo>
                      <a:pt x="2989" y="1941"/>
                    </a:lnTo>
                    <a:lnTo>
                      <a:pt x="2990" y="1955"/>
                    </a:lnTo>
                    <a:lnTo>
                      <a:pt x="2993" y="1968"/>
                    </a:lnTo>
                    <a:lnTo>
                      <a:pt x="2997" y="1980"/>
                    </a:lnTo>
                    <a:lnTo>
                      <a:pt x="3001" y="1991"/>
                    </a:lnTo>
                    <a:lnTo>
                      <a:pt x="3008" y="2002"/>
                    </a:lnTo>
                    <a:lnTo>
                      <a:pt x="3014" y="2012"/>
                    </a:lnTo>
                    <a:lnTo>
                      <a:pt x="3021" y="2020"/>
                    </a:lnTo>
                    <a:lnTo>
                      <a:pt x="3028" y="2028"/>
                    </a:lnTo>
                    <a:lnTo>
                      <a:pt x="3037" y="2035"/>
                    </a:lnTo>
                    <a:lnTo>
                      <a:pt x="3046" y="2041"/>
                    </a:lnTo>
                    <a:lnTo>
                      <a:pt x="3057" y="2046"/>
                    </a:lnTo>
                    <a:lnTo>
                      <a:pt x="3068" y="2049"/>
                    </a:lnTo>
                    <a:lnTo>
                      <a:pt x="3079" y="2053"/>
                    </a:lnTo>
                    <a:lnTo>
                      <a:pt x="3093" y="2054"/>
                    </a:lnTo>
                    <a:lnTo>
                      <a:pt x="3105" y="2055"/>
                    </a:lnTo>
                    <a:lnTo>
                      <a:pt x="3105" y="2055"/>
                    </a:lnTo>
                    <a:lnTo>
                      <a:pt x="3117" y="2054"/>
                    </a:lnTo>
                    <a:lnTo>
                      <a:pt x="3129" y="2053"/>
                    </a:lnTo>
                    <a:lnTo>
                      <a:pt x="3140" y="2049"/>
                    </a:lnTo>
                    <a:lnTo>
                      <a:pt x="3151" y="2046"/>
                    </a:lnTo>
                    <a:lnTo>
                      <a:pt x="3162" y="2040"/>
                    </a:lnTo>
                    <a:lnTo>
                      <a:pt x="3173" y="2034"/>
                    </a:lnTo>
                    <a:lnTo>
                      <a:pt x="3182" y="2025"/>
                    </a:lnTo>
                    <a:lnTo>
                      <a:pt x="3191" y="2017"/>
                    </a:lnTo>
                    <a:lnTo>
                      <a:pt x="3153" y="1979"/>
                    </a:lnTo>
                    <a:close/>
                    <a:moveTo>
                      <a:pt x="3051" y="1901"/>
                    </a:moveTo>
                    <a:lnTo>
                      <a:pt x="3051" y="1901"/>
                    </a:lnTo>
                    <a:lnTo>
                      <a:pt x="3052" y="1890"/>
                    </a:lnTo>
                    <a:lnTo>
                      <a:pt x="3056" y="1880"/>
                    </a:lnTo>
                    <a:lnTo>
                      <a:pt x="3060" y="1872"/>
                    </a:lnTo>
                    <a:lnTo>
                      <a:pt x="3065" y="1865"/>
                    </a:lnTo>
                    <a:lnTo>
                      <a:pt x="3072" y="1859"/>
                    </a:lnTo>
                    <a:lnTo>
                      <a:pt x="3079" y="1855"/>
                    </a:lnTo>
                    <a:lnTo>
                      <a:pt x="3088" y="1851"/>
                    </a:lnTo>
                    <a:lnTo>
                      <a:pt x="3097" y="1851"/>
                    </a:lnTo>
                    <a:lnTo>
                      <a:pt x="3097" y="1851"/>
                    </a:lnTo>
                    <a:lnTo>
                      <a:pt x="3108" y="1852"/>
                    </a:lnTo>
                    <a:lnTo>
                      <a:pt x="3117" y="1855"/>
                    </a:lnTo>
                    <a:lnTo>
                      <a:pt x="3125" y="1860"/>
                    </a:lnTo>
                    <a:lnTo>
                      <a:pt x="3131" y="1867"/>
                    </a:lnTo>
                    <a:lnTo>
                      <a:pt x="3136" y="1874"/>
                    </a:lnTo>
                    <a:lnTo>
                      <a:pt x="3140" y="1883"/>
                    </a:lnTo>
                    <a:lnTo>
                      <a:pt x="3142" y="1893"/>
                    </a:lnTo>
                    <a:lnTo>
                      <a:pt x="3144" y="1901"/>
                    </a:lnTo>
                    <a:lnTo>
                      <a:pt x="3051" y="1901"/>
                    </a:lnTo>
                    <a:close/>
                    <a:moveTo>
                      <a:pt x="2905" y="1964"/>
                    </a:moveTo>
                    <a:lnTo>
                      <a:pt x="2905" y="1964"/>
                    </a:lnTo>
                    <a:lnTo>
                      <a:pt x="2905" y="1973"/>
                    </a:lnTo>
                    <a:lnTo>
                      <a:pt x="2907" y="1979"/>
                    </a:lnTo>
                    <a:lnTo>
                      <a:pt x="2909" y="1985"/>
                    </a:lnTo>
                    <a:lnTo>
                      <a:pt x="2912" y="1990"/>
                    </a:lnTo>
                    <a:lnTo>
                      <a:pt x="2915" y="1993"/>
                    </a:lnTo>
                    <a:lnTo>
                      <a:pt x="2920" y="1996"/>
                    </a:lnTo>
                    <a:lnTo>
                      <a:pt x="2925" y="1997"/>
                    </a:lnTo>
                    <a:lnTo>
                      <a:pt x="2932" y="1997"/>
                    </a:lnTo>
                    <a:lnTo>
                      <a:pt x="2932" y="1997"/>
                    </a:lnTo>
                    <a:lnTo>
                      <a:pt x="2941" y="1997"/>
                    </a:lnTo>
                    <a:lnTo>
                      <a:pt x="2950" y="1995"/>
                    </a:lnTo>
                    <a:lnTo>
                      <a:pt x="2960" y="1991"/>
                    </a:lnTo>
                    <a:lnTo>
                      <a:pt x="2969" y="1986"/>
                    </a:lnTo>
                    <a:lnTo>
                      <a:pt x="2961" y="2043"/>
                    </a:lnTo>
                    <a:lnTo>
                      <a:pt x="2961" y="2043"/>
                    </a:lnTo>
                    <a:lnTo>
                      <a:pt x="2950" y="2048"/>
                    </a:lnTo>
                    <a:lnTo>
                      <a:pt x="2937" y="2052"/>
                    </a:lnTo>
                    <a:lnTo>
                      <a:pt x="2924" y="2054"/>
                    </a:lnTo>
                    <a:lnTo>
                      <a:pt x="2910" y="2055"/>
                    </a:lnTo>
                    <a:lnTo>
                      <a:pt x="2910" y="2055"/>
                    </a:lnTo>
                    <a:lnTo>
                      <a:pt x="2902" y="2054"/>
                    </a:lnTo>
                    <a:lnTo>
                      <a:pt x="2893" y="2053"/>
                    </a:lnTo>
                    <a:lnTo>
                      <a:pt x="2886" y="2051"/>
                    </a:lnTo>
                    <a:lnTo>
                      <a:pt x="2880" y="2048"/>
                    </a:lnTo>
                    <a:lnTo>
                      <a:pt x="2874" y="2045"/>
                    </a:lnTo>
                    <a:lnTo>
                      <a:pt x="2868" y="2041"/>
                    </a:lnTo>
                    <a:lnTo>
                      <a:pt x="2864" y="2036"/>
                    </a:lnTo>
                    <a:lnTo>
                      <a:pt x="2859" y="2030"/>
                    </a:lnTo>
                    <a:lnTo>
                      <a:pt x="2853" y="2019"/>
                    </a:lnTo>
                    <a:lnTo>
                      <a:pt x="2848" y="2006"/>
                    </a:lnTo>
                    <a:lnTo>
                      <a:pt x="2846" y="1993"/>
                    </a:lnTo>
                    <a:lnTo>
                      <a:pt x="2845" y="1980"/>
                    </a:lnTo>
                    <a:lnTo>
                      <a:pt x="2845" y="1861"/>
                    </a:lnTo>
                    <a:lnTo>
                      <a:pt x="2807" y="1861"/>
                    </a:lnTo>
                    <a:lnTo>
                      <a:pt x="2807" y="1805"/>
                    </a:lnTo>
                    <a:lnTo>
                      <a:pt x="2845" y="1805"/>
                    </a:lnTo>
                    <a:lnTo>
                      <a:pt x="2845" y="1742"/>
                    </a:lnTo>
                    <a:lnTo>
                      <a:pt x="2905" y="1711"/>
                    </a:lnTo>
                    <a:lnTo>
                      <a:pt x="2905" y="1805"/>
                    </a:lnTo>
                    <a:lnTo>
                      <a:pt x="2960" y="1805"/>
                    </a:lnTo>
                    <a:lnTo>
                      <a:pt x="2960" y="1861"/>
                    </a:lnTo>
                    <a:lnTo>
                      <a:pt x="2905" y="1861"/>
                    </a:lnTo>
                    <a:lnTo>
                      <a:pt x="2905" y="1964"/>
                    </a:lnTo>
                    <a:close/>
                    <a:moveTo>
                      <a:pt x="2788" y="2043"/>
                    </a:moveTo>
                    <a:lnTo>
                      <a:pt x="2788" y="2043"/>
                    </a:lnTo>
                    <a:lnTo>
                      <a:pt x="2777" y="2048"/>
                    </a:lnTo>
                    <a:lnTo>
                      <a:pt x="2764" y="2052"/>
                    </a:lnTo>
                    <a:lnTo>
                      <a:pt x="2751" y="2054"/>
                    </a:lnTo>
                    <a:lnTo>
                      <a:pt x="2738" y="2055"/>
                    </a:lnTo>
                    <a:lnTo>
                      <a:pt x="2738" y="2055"/>
                    </a:lnTo>
                    <a:lnTo>
                      <a:pt x="2728" y="2054"/>
                    </a:lnTo>
                    <a:lnTo>
                      <a:pt x="2721" y="2053"/>
                    </a:lnTo>
                    <a:lnTo>
                      <a:pt x="2713" y="2051"/>
                    </a:lnTo>
                    <a:lnTo>
                      <a:pt x="2706" y="2048"/>
                    </a:lnTo>
                    <a:lnTo>
                      <a:pt x="2701" y="2045"/>
                    </a:lnTo>
                    <a:lnTo>
                      <a:pt x="2695" y="2041"/>
                    </a:lnTo>
                    <a:lnTo>
                      <a:pt x="2690" y="2036"/>
                    </a:lnTo>
                    <a:lnTo>
                      <a:pt x="2687" y="2030"/>
                    </a:lnTo>
                    <a:lnTo>
                      <a:pt x="2679" y="2019"/>
                    </a:lnTo>
                    <a:lnTo>
                      <a:pt x="2676" y="2006"/>
                    </a:lnTo>
                    <a:lnTo>
                      <a:pt x="2672" y="1993"/>
                    </a:lnTo>
                    <a:lnTo>
                      <a:pt x="2672" y="1980"/>
                    </a:lnTo>
                    <a:lnTo>
                      <a:pt x="2672" y="1861"/>
                    </a:lnTo>
                    <a:lnTo>
                      <a:pt x="2634" y="1861"/>
                    </a:lnTo>
                    <a:lnTo>
                      <a:pt x="2634" y="1805"/>
                    </a:lnTo>
                    <a:lnTo>
                      <a:pt x="2672" y="1805"/>
                    </a:lnTo>
                    <a:lnTo>
                      <a:pt x="2672" y="1742"/>
                    </a:lnTo>
                    <a:lnTo>
                      <a:pt x="2733" y="1711"/>
                    </a:lnTo>
                    <a:lnTo>
                      <a:pt x="2733" y="1805"/>
                    </a:lnTo>
                    <a:lnTo>
                      <a:pt x="2784" y="1805"/>
                    </a:lnTo>
                    <a:lnTo>
                      <a:pt x="2784" y="1861"/>
                    </a:lnTo>
                    <a:lnTo>
                      <a:pt x="2733" y="1861"/>
                    </a:lnTo>
                    <a:lnTo>
                      <a:pt x="2733" y="1964"/>
                    </a:lnTo>
                    <a:lnTo>
                      <a:pt x="2733" y="1964"/>
                    </a:lnTo>
                    <a:lnTo>
                      <a:pt x="2733" y="1973"/>
                    </a:lnTo>
                    <a:lnTo>
                      <a:pt x="2734" y="1979"/>
                    </a:lnTo>
                    <a:lnTo>
                      <a:pt x="2737" y="1985"/>
                    </a:lnTo>
                    <a:lnTo>
                      <a:pt x="2739" y="1990"/>
                    </a:lnTo>
                    <a:lnTo>
                      <a:pt x="2743" y="1993"/>
                    </a:lnTo>
                    <a:lnTo>
                      <a:pt x="2747" y="1996"/>
                    </a:lnTo>
                    <a:lnTo>
                      <a:pt x="2752" y="1997"/>
                    </a:lnTo>
                    <a:lnTo>
                      <a:pt x="2758" y="1997"/>
                    </a:lnTo>
                    <a:lnTo>
                      <a:pt x="2758" y="1997"/>
                    </a:lnTo>
                    <a:lnTo>
                      <a:pt x="2768" y="1997"/>
                    </a:lnTo>
                    <a:lnTo>
                      <a:pt x="2778" y="1995"/>
                    </a:lnTo>
                    <a:lnTo>
                      <a:pt x="2786" y="1991"/>
                    </a:lnTo>
                    <a:lnTo>
                      <a:pt x="2795" y="1986"/>
                    </a:lnTo>
                    <a:lnTo>
                      <a:pt x="2788" y="2043"/>
                    </a:lnTo>
                    <a:close/>
                    <a:moveTo>
                      <a:pt x="3384" y="1873"/>
                    </a:moveTo>
                    <a:lnTo>
                      <a:pt x="3384" y="1873"/>
                    </a:lnTo>
                    <a:lnTo>
                      <a:pt x="3376" y="1867"/>
                    </a:lnTo>
                    <a:lnTo>
                      <a:pt x="3366" y="1863"/>
                    </a:lnTo>
                    <a:lnTo>
                      <a:pt x="3355" y="1861"/>
                    </a:lnTo>
                    <a:lnTo>
                      <a:pt x="3344" y="1860"/>
                    </a:lnTo>
                    <a:lnTo>
                      <a:pt x="3344" y="1860"/>
                    </a:lnTo>
                    <a:lnTo>
                      <a:pt x="3334" y="1861"/>
                    </a:lnTo>
                    <a:lnTo>
                      <a:pt x="3325" y="1863"/>
                    </a:lnTo>
                    <a:lnTo>
                      <a:pt x="3317" y="1868"/>
                    </a:lnTo>
                    <a:lnTo>
                      <a:pt x="3311" y="1874"/>
                    </a:lnTo>
                    <a:lnTo>
                      <a:pt x="3306" y="1882"/>
                    </a:lnTo>
                    <a:lnTo>
                      <a:pt x="3304" y="1891"/>
                    </a:lnTo>
                    <a:lnTo>
                      <a:pt x="3302" y="1904"/>
                    </a:lnTo>
                    <a:lnTo>
                      <a:pt x="3300" y="1917"/>
                    </a:lnTo>
                    <a:lnTo>
                      <a:pt x="3300" y="2049"/>
                    </a:lnTo>
                    <a:lnTo>
                      <a:pt x="3241" y="2049"/>
                    </a:lnTo>
                    <a:lnTo>
                      <a:pt x="3241" y="1805"/>
                    </a:lnTo>
                    <a:lnTo>
                      <a:pt x="3300" y="1805"/>
                    </a:lnTo>
                    <a:lnTo>
                      <a:pt x="3300" y="1826"/>
                    </a:lnTo>
                    <a:lnTo>
                      <a:pt x="3300" y="1826"/>
                    </a:lnTo>
                    <a:lnTo>
                      <a:pt x="3306" y="1820"/>
                    </a:lnTo>
                    <a:lnTo>
                      <a:pt x="3313" y="1814"/>
                    </a:lnTo>
                    <a:lnTo>
                      <a:pt x="3319" y="1810"/>
                    </a:lnTo>
                    <a:lnTo>
                      <a:pt x="3326" y="1806"/>
                    </a:lnTo>
                    <a:lnTo>
                      <a:pt x="3332" y="1803"/>
                    </a:lnTo>
                    <a:lnTo>
                      <a:pt x="3339" y="1801"/>
                    </a:lnTo>
                    <a:lnTo>
                      <a:pt x="3347" y="1800"/>
                    </a:lnTo>
                    <a:lnTo>
                      <a:pt x="3355" y="1799"/>
                    </a:lnTo>
                    <a:lnTo>
                      <a:pt x="3355" y="1799"/>
                    </a:lnTo>
                    <a:lnTo>
                      <a:pt x="3367" y="1800"/>
                    </a:lnTo>
                    <a:lnTo>
                      <a:pt x="3379" y="1804"/>
                    </a:lnTo>
                    <a:lnTo>
                      <a:pt x="3390" y="1807"/>
                    </a:lnTo>
                    <a:lnTo>
                      <a:pt x="3400" y="1814"/>
                    </a:lnTo>
                    <a:lnTo>
                      <a:pt x="3384" y="1873"/>
                    </a:lnTo>
                    <a:close/>
                    <a:moveTo>
                      <a:pt x="653" y="1747"/>
                    </a:moveTo>
                    <a:lnTo>
                      <a:pt x="653" y="1770"/>
                    </a:lnTo>
                    <a:lnTo>
                      <a:pt x="592" y="1770"/>
                    </a:lnTo>
                    <a:lnTo>
                      <a:pt x="592" y="1709"/>
                    </a:lnTo>
                    <a:lnTo>
                      <a:pt x="653" y="1709"/>
                    </a:lnTo>
                    <a:lnTo>
                      <a:pt x="653" y="1747"/>
                    </a:lnTo>
                    <a:close/>
                    <a:moveTo>
                      <a:pt x="1073" y="1805"/>
                    </a:moveTo>
                    <a:lnTo>
                      <a:pt x="1134" y="1805"/>
                    </a:lnTo>
                    <a:lnTo>
                      <a:pt x="1134" y="1930"/>
                    </a:lnTo>
                    <a:lnTo>
                      <a:pt x="1134" y="2049"/>
                    </a:lnTo>
                    <a:lnTo>
                      <a:pt x="1073" y="2049"/>
                    </a:lnTo>
                    <a:lnTo>
                      <a:pt x="1073" y="1805"/>
                    </a:lnTo>
                    <a:close/>
                    <a:moveTo>
                      <a:pt x="1134" y="1739"/>
                    </a:moveTo>
                    <a:lnTo>
                      <a:pt x="1134" y="1770"/>
                    </a:lnTo>
                    <a:lnTo>
                      <a:pt x="1073" y="1770"/>
                    </a:lnTo>
                    <a:lnTo>
                      <a:pt x="1073" y="1709"/>
                    </a:lnTo>
                    <a:lnTo>
                      <a:pt x="1134" y="1709"/>
                    </a:lnTo>
                    <a:lnTo>
                      <a:pt x="1134" y="1739"/>
                    </a:lnTo>
                    <a:close/>
                    <a:moveTo>
                      <a:pt x="2796" y="2250"/>
                    </a:moveTo>
                    <a:lnTo>
                      <a:pt x="2796" y="2250"/>
                    </a:lnTo>
                    <a:lnTo>
                      <a:pt x="2790" y="2245"/>
                    </a:lnTo>
                    <a:lnTo>
                      <a:pt x="2784" y="2240"/>
                    </a:lnTo>
                    <a:lnTo>
                      <a:pt x="2778" y="2237"/>
                    </a:lnTo>
                    <a:lnTo>
                      <a:pt x="2771" y="2233"/>
                    </a:lnTo>
                    <a:lnTo>
                      <a:pt x="2764" y="2231"/>
                    </a:lnTo>
                    <a:lnTo>
                      <a:pt x="2757" y="2229"/>
                    </a:lnTo>
                    <a:lnTo>
                      <a:pt x="2741" y="2227"/>
                    </a:lnTo>
                    <a:lnTo>
                      <a:pt x="2741" y="2227"/>
                    </a:lnTo>
                    <a:lnTo>
                      <a:pt x="2730" y="2228"/>
                    </a:lnTo>
                    <a:lnTo>
                      <a:pt x="2721" y="2229"/>
                    </a:lnTo>
                    <a:lnTo>
                      <a:pt x="2711" y="2233"/>
                    </a:lnTo>
                    <a:lnTo>
                      <a:pt x="2701" y="2237"/>
                    </a:lnTo>
                    <a:lnTo>
                      <a:pt x="2693" y="2241"/>
                    </a:lnTo>
                    <a:lnTo>
                      <a:pt x="2685" y="2246"/>
                    </a:lnTo>
                    <a:lnTo>
                      <a:pt x="2678" y="2254"/>
                    </a:lnTo>
                    <a:lnTo>
                      <a:pt x="2671" y="2261"/>
                    </a:lnTo>
                    <a:lnTo>
                      <a:pt x="2666" y="2269"/>
                    </a:lnTo>
                    <a:lnTo>
                      <a:pt x="2660" y="2279"/>
                    </a:lnTo>
                    <a:lnTo>
                      <a:pt x="2656" y="2289"/>
                    </a:lnTo>
                    <a:lnTo>
                      <a:pt x="2653" y="2301"/>
                    </a:lnTo>
                    <a:lnTo>
                      <a:pt x="2649" y="2312"/>
                    </a:lnTo>
                    <a:lnTo>
                      <a:pt x="2648" y="2325"/>
                    </a:lnTo>
                    <a:lnTo>
                      <a:pt x="2647" y="2339"/>
                    </a:lnTo>
                    <a:lnTo>
                      <a:pt x="2645" y="2353"/>
                    </a:lnTo>
                    <a:lnTo>
                      <a:pt x="2645" y="2353"/>
                    </a:lnTo>
                    <a:lnTo>
                      <a:pt x="2647" y="2368"/>
                    </a:lnTo>
                    <a:lnTo>
                      <a:pt x="2648" y="2381"/>
                    </a:lnTo>
                    <a:lnTo>
                      <a:pt x="2649" y="2395"/>
                    </a:lnTo>
                    <a:lnTo>
                      <a:pt x="2653" y="2408"/>
                    </a:lnTo>
                    <a:lnTo>
                      <a:pt x="2655" y="2419"/>
                    </a:lnTo>
                    <a:lnTo>
                      <a:pt x="2660" y="2430"/>
                    </a:lnTo>
                    <a:lnTo>
                      <a:pt x="2665" y="2440"/>
                    </a:lnTo>
                    <a:lnTo>
                      <a:pt x="2671" y="2448"/>
                    </a:lnTo>
                    <a:lnTo>
                      <a:pt x="2677" y="2457"/>
                    </a:lnTo>
                    <a:lnTo>
                      <a:pt x="2684" y="2463"/>
                    </a:lnTo>
                    <a:lnTo>
                      <a:pt x="2692" y="2469"/>
                    </a:lnTo>
                    <a:lnTo>
                      <a:pt x="2700" y="2474"/>
                    </a:lnTo>
                    <a:lnTo>
                      <a:pt x="2710" y="2479"/>
                    </a:lnTo>
                    <a:lnTo>
                      <a:pt x="2720" y="2481"/>
                    </a:lnTo>
                    <a:lnTo>
                      <a:pt x="2729" y="2482"/>
                    </a:lnTo>
                    <a:lnTo>
                      <a:pt x="2740" y="2483"/>
                    </a:lnTo>
                    <a:lnTo>
                      <a:pt x="2740" y="2483"/>
                    </a:lnTo>
                    <a:lnTo>
                      <a:pt x="2747" y="2482"/>
                    </a:lnTo>
                    <a:lnTo>
                      <a:pt x="2756" y="2481"/>
                    </a:lnTo>
                    <a:lnTo>
                      <a:pt x="2763" y="2480"/>
                    </a:lnTo>
                    <a:lnTo>
                      <a:pt x="2769" y="2477"/>
                    </a:lnTo>
                    <a:lnTo>
                      <a:pt x="2777" y="2474"/>
                    </a:lnTo>
                    <a:lnTo>
                      <a:pt x="2784" y="2470"/>
                    </a:lnTo>
                    <a:lnTo>
                      <a:pt x="2790" y="2465"/>
                    </a:lnTo>
                    <a:lnTo>
                      <a:pt x="2796" y="2459"/>
                    </a:lnTo>
                    <a:lnTo>
                      <a:pt x="2796" y="2477"/>
                    </a:lnTo>
                    <a:lnTo>
                      <a:pt x="2857" y="2477"/>
                    </a:lnTo>
                    <a:lnTo>
                      <a:pt x="2857" y="2131"/>
                    </a:lnTo>
                    <a:lnTo>
                      <a:pt x="2796" y="2161"/>
                    </a:lnTo>
                    <a:lnTo>
                      <a:pt x="2796" y="2250"/>
                    </a:lnTo>
                    <a:close/>
                    <a:moveTo>
                      <a:pt x="2754" y="2427"/>
                    </a:moveTo>
                    <a:lnTo>
                      <a:pt x="2754" y="2427"/>
                    </a:lnTo>
                    <a:lnTo>
                      <a:pt x="2745" y="2426"/>
                    </a:lnTo>
                    <a:lnTo>
                      <a:pt x="2738" y="2424"/>
                    </a:lnTo>
                    <a:lnTo>
                      <a:pt x="2729" y="2420"/>
                    </a:lnTo>
                    <a:lnTo>
                      <a:pt x="2722" y="2413"/>
                    </a:lnTo>
                    <a:lnTo>
                      <a:pt x="2716" y="2403"/>
                    </a:lnTo>
                    <a:lnTo>
                      <a:pt x="2711" y="2390"/>
                    </a:lnTo>
                    <a:lnTo>
                      <a:pt x="2709" y="2373"/>
                    </a:lnTo>
                    <a:lnTo>
                      <a:pt x="2707" y="2351"/>
                    </a:lnTo>
                    <a:lnTo>
                      <a:pt x="2707" y="2351"/>
                    </a:lnTo>
                    <a:lnTo>
                      <a:pt x="2709" y="2333"/>
                    </a:lnTo>
                    <a:lnTo>
                      <a:pt x="2711" y="2317"/>
                    </a:lnTo>
                    <a:lnTo>
                      <a:pt x="2716" y="2305"/>
                    </a:lnTo>
                    <a:lnTo>
                      <a:pt x="2722" y="2296"/>
                    </a:lnTo>
                    <a:lnTo>
                      <a:pt x="2729" y="2290"/>
                    </a:lnTo>
                    <a:lnTo>
                      <a:pt x="2737" y="2285"/>
                    </a:lnTo>
                    <a:lnTo>
                      <a:pt x="2745" y="2284"/>
                    </a:lnTo>
                    <a:lnTo>
                      <a:pt x="2752" y="2283"/>
                    </a:lnTo>
                    <a:lnTo>
                      <a:pt x="2752" y="2283"/>
                    </a:lnTo>
                    <a:lnTo>
                      <a:pt x="2761" y="2284"/>
                    </a:lnTo>
                    <a:lnTo>
                      <a:pt x="2768" y="2285"/>
                    </a:lnTo>
                    <a:lnTo>
                      <a:pt x="2774" y="2288"/>
                    </a:lnTo>
                    <a:lnTo>
                      <a:pt x="2780" y="2291"/>
                    </a:lnTo>
                    <a:lnTo>
                      <a:pt x="2785" y="2295"/>
                    </a:lnTo>
                    <a:lnTo>
                      <a:pt x="2790" y="2299"/>
                    </a:lnTo>
                    <a:lnTo>
                      <a:pt x="2796" y="2307"/>
                    </a:lnTo>
                    <a:lnTo>
                      <a:pt x="2796" y="2403"/>
                    </a:lnTo>
                    <a:lnTo>
                      <a:pt x="2796" y="2403"/>
                    </a:lnTo>
                    <a:lnTo>
                      <a:pt x="2789" y="2412"/>
                    </a:lnTo>
                    <a:lnTo>
                      <a:pt x="2780" y="2419"/>
                    </a:lnTo>
                    <a:lnTo>
                      <a:pt x="2774" y="2423"/>
                    </a:lnTo>
                    <a:lnTo>
                      <a:pt x="2768" y="2425"/>
                    </a:lnTo>
                    <a:lnTo>
                      <a:pt x="2761" y="2426"/>
                    </a:lnTo>
                    <a:lnTo>
                      <a:pt x="2754" y="2427"/>
                    </a:lnTo>
                    <a:lnTo>
                      <a:pt x="2754" y="2427"/>
                    </a:lnTo>
                    <a:close/>
                    <a:moveTo>
                      <a:pt x="740" y="2301"/>
                    </a:moveTo>
                    <a:lnTo>
                      <a:pt x="740" y="2301"/>
                    </a:lnTo>
                    <a:lnTo>
                      <a:pt x="732" y="2296"/>
                    </a:lnTo>
                    <a:lnTo>
                      <a:pt x="722" y="2291"/>
                    </a:lnTo>
                    <a:lnTo>
                      <a:pt x="711" y="2289"/>
                    </a:lnTo>
                    <a:lnTo>
                      <a:pt x="700" y="2288"/>
                    </a:lnTo>
                    <a:lnTo>
                      <a:pt x="700" y="2288"/>
                    </a:lnTo>
                    <a:lnTo>
                      <a:pt x="690" y="2289"/>
                    </a:lnTo>
                    <a:lnTo>
                      <a:pt x="680" y="2291"/>
                    </a:lnTo>
                    <a:lnTo>
                      <a:pt x="673" y="2296"/>
                    </a:lnTo>
                    <a:lnTo>
                      <a:pt x="667" y="2302"/>
                    </a:lnTo>
                    <a:lnTo>
                      <a:pt x="662" y="2310"/>
                    </a:lnTo>
                    <a:lnTo>
                      <a:pt x="660" y="2319"/>
                    </a:lnTo>
                    <a:lnTo>
                      <a:pt x="657" y="2331"/>
                    </a:lnTo>
                    <a:lnTo>
                      <a:pt x="656" y="2345"/>
                    </a:lnTo>
                    <a:lnTo>
                      <a:pt x="656" y="2477"/>
                    </a:lnTo>
                    <a:lnTo>
                      <a:pt x="597" y="2477"/>
                    </a:lnTo>
                    <a:lnTo>
                      <a:pt x="597" y="2233"/>
                    </a:lnTo>
                    <a:lnTo>
                      <a:pt x="656" y="2233"/>
                    </a:lnTo>
                    <a:lnTo>
                      <a:pt x="656" y="2254"/>
                    </a:lnTo>
                    <a:lnTo>
                      <a:pt x="656" y="2254"/>
                    </a:lnTo>
                    <a:lnTo>
                      <a:pt x="662" y="2248"/>
                    </a:lnTo>
                    <a:lnTo>
                      <a:pt x="668" y="2241"/>
                    </a:lnTo>
                    <a:lnTo>
                      <a:pt x="674" y="2238"/>
                    </a:lnTo>
                    <a:lnTo>
                      <a:pt x="682" y="2234"/>
                    </a:lnTo>
                    <a:lnTo>
                      <a:pt x="688" y="2231"/>
                    </a:lnTo>
                    <a:lnTo>
                      <a:pt x="695" y="2229"/>
                    </a:lnTo>
                    <a:lnTo>
                      <a:pt x="704" y="2228"/>
                    </a:lnTo>
                    <a:lnTo>
                      <a:pt x="711" y="2227"/>
                    </a:lnTo>
                    <a:lnTo>
                      <a:pt x="711" y="2227"/>
                    </a:lnTo>
                    <a:lnTo>
                      <a:pt x="723" y="2228"/>
                    </a:lnTo>
                    <a:lnTo>
                      <a:pt x="735" y="2232"/>
                    </a:lnTo>
                    <a:lnTo>
                      <a:pt x="747" y="2237"/>
                    </a:lnTo>
                    <a:lnTo>
                      <a:pt x="757" y="2243"/>
                    </a:lnTo>
                    <a:lnTo>
                      <a:pt x="740" y="2301"/>
                    </a:lnTo>
                    <a:close/>
                    <a:moveTo>
                      <a:pt x="265" y="2233"/>
                    </a:moveTo>
                    <a:lnTo>
                      <a:pt x="324" y="2233"/>
                    </a:lnTo>
                    <a:lnTo>
                      <a:pt x="255" y="2477"/>
                    </a:lnTo>
                    <a:lnTo>
                      <a:pt x="203" y="2477"/>
                    </a:lnTo>
                    <a:lnTo>
                      <a:pt x="176" y="2376"/>
                    </a:lnTo>
                    <a:lnTo>
                      <a:pt x="176" y="2376"/>
                    </a:lnTo>
                    <a:lnTo>
                      <a:pt x="163" y="2323"/>
                    </a:lnTo>
                    <a:lnTo>
                      <a:pt x="163" y="2323"/>
                    </a:lnTo>
                    <a:lnTo>
                      <a:pt x="157" y="2348"/>
                    </a:lnTo>
                    <a:lnTo>
                      <a:pt x="149" y="2378"/>
                    </a:lnTo>
                    <a:lnTo>
                      <a:pt x="122" y="2477"/>
                    </a:lnTo>
                    <a:lnTo>
                      <a:pt x="69" y="2477"/>
                    </a:lnTo>
                    <a:lnTo>
                      <a:pt x="69" y="2476"/>
                    </a:lnTo>
                    <a:lnTo>
                      <a:pt x="0" y="2233"/>
                    </a:lnTo>
                    <a:lnTo>
                      <a:pt x="63" y="2233"/>
                    </a:lnTo>
                    <a:lnTo>
                      <a:pt x="85" y="2324"/>
                    </a:lnTo>
                    <a:lnTo>
                      <a:pt x="85" y="2324"/>
                    </a:lnTo>
                    <a:lnTo>
                      <a:pt x="91" y="2353"/>
                    </a:lnTo>
                    <a:lnTo>
                      <a:pt x="97" y="2384"/>
                    </a:lnTo>
                    <a:lnTo>
                      <a:pt x="97" y="2384"/>
                    </a:lnTo>
                    <a:lnTo>
                      <a:pt x="105" y="2353"/>
                    </a:lnTo>
                    <a:lnTo>
                      <a:pt x="112" y="2323"/>
                    </a:lnTo>
                    <a:lnTo>
                      <a:pt x="137" y="2233"/>
                    </a:lnTo>
                    <a:lnTo>
                      <a:pt x="190" y="2233"/>
                    </a:lnTo>
                    <a:lnTo>
                      <a:pt x="215" y="2323"/>
                    </a:lnTo>
                    <a:lnTo>
                      <a:pt x="215" y="2323"/>
                    </a:lnTo>
                    <a:lnTo>
                      <a:pt x="222" y="2352"/>
                    </a:lnTo>
                    <a:lnTo>
                      <a:pt x="230" y="2385"/>
                    </a:lnTo>
                    <a:lnTo>
                      <a:pt x="230" y="2385"/>
                    </a:lnTo>
                    <a:lnTo>
                      <a:pt x="235" y="2357"/>
                    </a:lnTo>
                    <a:lnTo>
                      <a:pt x="242" y="2323"/>
                    </a:lnTo>
                    <a:lnTo>
                      <a:pt x="265" y="2233"/>
                    </a:lnTo>
                    <a:close/>
                    <a:moveTo>
                      <a:pt x="447" y="2227"/>
                    </a:moveTo>
                    <a:lnTo>
                      <a:pt x="447" y="2227"/>
                    </a:lnTo>
                    <a:lnTo>
                      <a:pt x="436" y="2228"/>
                    </a:lnTo>
                    <a:lnTo>
                      <a:pt x="424" y="2229"/>
                    </a:lnTo>
                    <a:lnTo>
                      <a:pt x="413" y="2233"/>
                    </a:lnTo>
                    <a:lnTo>
                      <a:pt x="403" y="2237"/>
                    </a:lnTo>
                    <a:lnTo>
                      <a:pt x="394" y="2241"/>
                    </a:lnTo>
                    <a:lnTo>
                      <a:pt x="384" y="2248"/>
                    </a:lnTo>
                    <a:lnTo>
                      <a:pt x="375" y="2255"/>
                    </a:lnTo>
                    <a:lnTo>
                      <a:pt x="368" y="2263"/>
                    </a:lnTo>
                    <a:lnTo>
                      <a:pt x="361" y="2272"/>
                    </a:lnTo>
                    <a:lnTo>
                      <a:pt x="355" y="2282"/>
                    </a:lnTo>
                    <a:lnTo>
                      <a:pt x="349" y="2293"/>
                    </a:lnTo>
                    <a:lnTo>
                      <a:pt x="345" y="2303"/>
                    </a:lnTo>
                    <a:lnTo>
                      <a:pt x="341" y="2316"/>
                    </a:lnTo>
                    <a:lnTo>
                      <a:pt x="339" y="2328"/>
                    </a:lnTo>
                    <a:lnTo>
                      <a:pt x="337" y="2341"/>
                    </a:lnTo>
                    <a:lnTo>
                      <a:pt x="337" y="2356"/>
                    </a:lnTo>
                    <a:lnTo>
                      <a:pt x="337" y="2356"/>
                    </a:lnTo>
                    <a:lnTo>
                      <a:pt x="337" y="2369"/>
                    </a:lnTo>
                    <a:lnTo>
                      <a:pt x="339" y="2382"/>
                    </a:lnTo>
                    <a:lnTo>
                      <a:pt x="341" y="2395"/>
                    </a:lnTo>
                    <a:lnTo>
                      <a:pt x="345" y="2407"/>
                    </a:lnTo>
                    <a:lnTo>
                      <a:pt x="349" y="2418"/>
                    </a:lnTo>
                    <a:lnTo>
                      <a:pt x="355" y="2429"/>
                    </a:lnTo>
                    <a:lnTo>
                      <a:pt x="361" y="2438"/>
                    </a:lnTo>
                    <a:lnTo>
                      <a:pt x="368" y="2447"/>
                    </a:lnTo>
                    <a:lnTo>
                      <a:pt x="375" y="2455"/>
                    </a:lnTo>
                    <a:lnTo>
                      <a:pt x="384" y="2463"/>
                    </a:lnTo>
                    <a:lnTo>
                      <a:pt x="394" y="2469"/>
                    </a:lnTo>
                    <a:lnTo>
                      <a:pt x="403" y="2474"/>
                    </a:lnTo>
                    <a:lnTo>
                      <a:pt x="413" y="2477"/>
                    </a:lnTo>
                    <a:lnTo>
                      <a:pt x="424" y="2481"/>
                    </a:lnTo>
                    <a:lnTo>
                      <a:pt x="436" y="2482"/>
                    </a:lnTo>
                    <a:lnTo>
                      <a:pt x="447" y="2483"/>
                    </a:lnTo>
                    <a:lnTo>
                      <a:pt x="447" y="2483"/>
                    </a:lnTo>
                    <a:lnTo>
                      <a:pt x="459" y="2482"/>
                    </a:lnTo>
                    <a:lnTo>
                      <a:pt x="471" y="2481"/>
                    </a:lnTo>
                    <a:lnTo>
                      <a:pt x="482" y="2477"/>
                    </a:lnTo>
                    <a:lnTo>
                      <a:pt x="492" y="2474"/>
                    </a:lnTo>
                    <a:lnTo>
                      <a:pt x="502" y="2469"/>
                    </a:lnTo>
                    <a:lnTo>
                      <a:pt x="512" y="2463"/>
                    </a:lnTo>
                    <a:lnTo>
                      <a:pt x="520" y="2455"/>
                    </a:lnTo>
                    <a:lnTo>
                      <a:pt x="527" y="2447"/>
                    </a:lnTo>
                    <a:lnTo>
                      <a:pt x="535" y="2438"/>
                    </a:lnTo>
                    <a:lnTo>
                      <a:pt x="541" y="2429"/>
                    </a:lnTo>
                    <a:lnTo>
                      <a:pt x="546" y="2418"/>
                    </a:lnTo>
                    <a:lnTo>
                      <a:pt x="550" y="2407"/>
                    </a:lnTo>
                    <a:lnTo>
                      <a:pt x="554" y="2395"/>
                    </a:lnTo>
                    <a:lnTo>
                      <a:pt x="557" y="2382"/>
                    </a:lnTo>
                    <a:lnTo>
                      <a:pt x="559" y="2369"/>
                    </a:lnTo>
                    <a:lnTo>
                      <a:pt x="559" y="2356"/>
                    </a:lnTo>
                    <a:lnTo>
                      <a:pt x="559" y="2356"/>
                    </a:lnTo>
                    <a:lnTo>
                      <a:pt x="559" y="2341"/>
                    </a:lnTo>
                    <a:lnTo>
                      <a:pt x="557" y="2328"/>
                    </a:lnTo>
                    <a:lnTo>
                      <a:pt x="554" y="2316"/>
                    </a:lnTo>
                    <a:lnTo>
                      <a:pt x="550" y="2303"/>
                    </a:lnTo>
                    <a:lnTo>
                      <a:pt x="546" y="2293"/>
                    </a:lnTo>
                    <a:lnTo>
                      <a:pt x="541" y="2282"/>
                    </a:lnTo>
                    <a:lnTo>
                      <a:pt x="535" y="2272"/>
                    </a:lnTo>
                    <a:lnTo>
                      <a:pt x="527" y="2263"/>
                    </a:lnTo>
                    <a:lnTo>
                      <a:pt x="520" y="2255"/>
                    </a:lnTo>
                    <a:lnTo>
                      <a:pt x="512" y="2248"/>
                    </a:lnTo>
                    <a:lnTo>
                      <a:pt x="502" y="2241"/>
                    </a:lnTo>
                    <a:lnTo>
                      <a:pt x="492" y="2237"/>
                    </a:lnTo>
                    <a:lnTo>
                      <a:pt x="482" y="2233"/>
                    </a:lnTo>
                    <a:lnTo>
                      <a:pt x="471" y="2229"/>
                    </a:lnTo>
                    <a:lnTo>
                      <a:pt x="459" y="2228"/>
                    </a:lnTo>
                    <a:lnTo>
                      <a:pt x="447" y="2227"/>
                    </a:lnTo>
                    <a:lnTo>
                      <a:pt x="447" y="2227"/>
                    </a:lnTo>
                    <a:close/>
                    <a:moveTo>
                      <a:pt x="447" y="2426"/>
                    </a:moveTo>
                    <a:lnTo>
                      <a:pt x="447" y="2426"/>
                    </a:lnTo>
                    <a:lnTo>
                      <a:pt x="436" y="2425"/>
                    </a:lnTo>
                    <a:lnTo>
                      <a:pt x="427" y="2421"/>
                    </a:lnTo>
                    <a:lnTo>
                      <a:pt x="419" y="2415"/>
                    </a:lnTo>
                    <a:lnTo>
                      <a:pt x="412" y="2407"/>
                    </a:lnTo>
                    <a:lnTo>
                      <a:pt x="406" y="2397"/>
                    </a:lnTo>
                    <a:lnTo>
                      <a:pt x="401" y="2385"/>
                    </a:lnTo>
                    <a:lnTo>
                      <a:pt x="399" y="2370"/>
                    </a:lnTo>
                    <a:lnTo>
                      <a:pt x="399" y="2356"/>
                    </a:lnTo>
                    <a:lnTo>
                      <a:pt x="399" y="2356"/>
                    </a:lnTo>
                    <a:lnTo>
                      <a:pt x="399" y="2340"/>
                    </a:lnTo>
                    <a:lnTo>
                      <a:pt x="401" y="2325"/>
                    </a:lnTo>
                    <a:lnTo>
                      <a:pt x="406" y="2314"/>
                    </a:lnTo>
                    <a:lnTo>
                      <a:pt x="412" y="2303"/>
                    </a:lnTo>
                    <a:lnTo>
                      <a:pt x="419" y="2295"/>
                    </a:lnTo>
                    <a:lnTo>
                      <a:pt x="427" y="2289"/>
                    </a:lnTo>
                    <a:lnTo>
                      <a:pt x="436" y="2285"/>
                    </a:lnTo>
                    <a:lnTo>
                      <a:pt x="447" y="2284"/>
                    </a:lnTo>
                    <a:lnTo>
                      <a:pt x="447" y="2284"/>
                    </a:lnTo>
                    <a:lnTo>
                      <a:pt x="458" y="2285"/>
                    </a:lnTo>
                    <a:lnTo>
                      <a:pt x="468" y="2289"/>
                    </a:lnTo>
                    <a:lnTo>
                      <a:pt x="476" y="2295"/>
                    </a:lnTo>
                    <a:lnTo>
                      <a:pt x="484" y="2303"/>
                    </a:lnTo>
                    <a:lnTo>
                      <a:pt x="490" y="2314"/>
                    </a:lnTo>
                    <a:lnTo>
                      <a:pt x="493" y="2325"/>
                    </a:lnTo>
                    <a:lnTo>
                      <a:pt x="496" y="2340"/>
                    </a:lnTo>
                    <a:lnTo>
                      <a:pt x="497" y="2356"/>
                    </a:lnTo>
                    <a:lnTo>
                      <a:pt x="497" y="2356"/>
                    </a:lnTo>
                    <a:lnTo>
                      <a:pt x="496" y="2370"/>
                    </a:lnTo>
                    <a:lnTo>
                      <a:pt x="493" y="2385"/>
                    </a:lnTo>
                    <a:lnTo>
                      <a:pt x="490" y="2397"/>
                    </a:lnTo>
                    <a:lnTo>
                      <a:pt x="484" y="2407"/>
                    </a:lnTo>
                    <a:lnTo>
                      <a:pt x="476" y="2415"/>
                    </a:lnTo>
                    <a:lnTo>
                      <a:pt x="468" y="2421"/>
                    </a:lnTo>
                    <a:lnTo>
                      <a:pt x="458" y="2425"/>
                    </a:lnTo>
                    <a:lnTo>
                      <a:pt x="447" y="2426"/>
                    </a:lnTo>
                    <a:lnTo>
                      <a:pt x="447" y="2426"/>
                    </a:lnTo>
                    <a:close/>
                    <a:moveTo>
                      <a:pt x="2498" y="2301"/>
                    </a:moveTo>
                    <a:lnTo>
                      <a:pt x="2498" y="2301"/>
                    </a:lnTo>
                    <a:lnTo>
                      <a:pt x="2489" y="2296"/>
                    </a:lnTo>
                    <a:lnTo>
                      <a:pt x="2479" y="2291"/>
                    </a:lnTo>
                    <a:lnTo>
                      <a:pt x="2468" y="2289"/>
                    </a:lnTo>
                    <a:lnTo>
                      <a:pt x="2458" y="2288"/>
                    </a:lnTo>
                    <a:lnTo>
                      <a:pt x="2458" y="2288"/>
                    </a:lnTo>
                    <a:lnTo>
                      <a:pt x="2447" y="2289"/>
                    </a:lnTo>
                    <a:lnTo>
                      <a:pt x="2439" y="2291"/>
                    </a:lnTo>
                    <a:lnTo>
                      <a:pt x="2432" y="2296"/>
                    </a:lnTo>
                    <a:lnTo>
                      <a:pt x="2425" y="2302"/>
                    </a:lnTo>
                    <a:lnTo>
                      <a:pt x="2421" y="2310"/>
                    </a:lnTo>
                    <a:lnTo>
                      <a:pt x="2417" y="2319"/>
                    </a:lnTo>
                    <a:lnTo>
                      <a:pt x="2415" y="2331"/>
                    </a:lnTo>
                    <a:lnTo>
                      <a:pt x="2415" y="2345"/>
                    </a:lnTo>
                    <a:lnTo>
                      <a:pt x="2415" y="2477"/>
                    </a:lnTo>
                    <a:lnTo>
                      <a:pt x="2354" y="2477"/>
                    </a:lnTo>
                    <a:lnTo>
                      <a:pt x="2354" y="2233"/>
                    </a:lnTo>
                    <a:lnTo>
                      <a:pt x="2415" y="2233"/>
                    </a:lnTo>
                    <a:lnTo>
                      <a:pt x="2415" y="2254"/>
                    </a:lnTo>
                    <a:lnTo>
                      <a:pt x="2415" y="2254"/>
                    </a:lnTo>
                    <a:lnTo>
                      <a:pt x="2419" y="2248"/>
                    </a:lnTo>
                    <a:lnTo>
                      <a:pt x="2425" y="2241"/>
                    </a:lnTo>
                    <a:lnTo>
                      <a:pt x="2432" y="2238"/>
                    </a:lnTo>
                    <a:lnTo>
                      <a:pt x="2439" y="2234"/>
                    </a:lnTo>
                    <a:lnTo>
                      <a:pt x="2446" y="2231"/>
                    </a:lnTo>
                    <a:lnTo>
                      <a:pt x="2453" y="2229"/>
                    </a:lnTo>
                    <a:lnTo>
                      <a:pt x="2461" y="2228"/>
                    </a:lnTo>
                    <a:lnTo>
                      <a:pt x="2468" y="2227"/>
                    </a:lnTo>
                    <a:lnTo>
                      <a:pt x="2468" y="2227"/>
                    </a:lnTo>
                    <a:lnTo>
                      <a:pt x="2480" y="2228"/>
                    </a:lnTo>
                    <a:lnTo>
                      <a:pt x="2492" y="2232"/>
                    </a:lnTo>
                    <a:lnTo>
                      <a:pt x="2504" y="2237"/>
                    </a:lnTo>
                    <a:lnTo>
                      <a:pt x="2514" y="2243"/>
                    </a:lnTo>
                    <a:lnTo>
                      <a:pt x="2498" y="2301"/>
                    </a:lnTo>
                    <a:close/>
                    <a:moveTo>
                      <a:pt x="2022" y="2233"/>
                    </a:moveTo>
                    <a:lnTo>
                      <a:pt x="2082" y="2233"/>
                    </a:lnTo>
                    <a:lnTo>
                      <a:pt x="2012" y="2477"/>
                    </a:lnTo>
                    <a:lnTo>
                      <a:pt x="1960" y="2477"/>
                    </a:lnTo>
                    <a:lnTo>
                      <a:pt x="1933" y="2376"/>
                    </a:lnTo>
                    <a:lnTo>
                      <a:pt x="1933" y="2376"/>
                    </a:lnTo>
                    <a:lnTo>
                      <a:pt x="1920" y="2323"/>
                    </a:lnTo>
                    <a:lnTo>
                      <a:pt x="1920" y="2323"/>
                    </a:lnTo>
                    <a:lnTo>
                      <a:pt x="1914" y="2348"/>
                    </a:lnTo>
                    <a:lnTo>
                      <a:pt x="1907" y="2378"/>
                    </a:lnTo>
                    <a:lnTo>
                      <a:pt x="1880" y="2477"/>
                    </a:lnTo>
                    <a:lnTo>
                      <a:pt x="1828" y="2477"/>
                    </a:lnTo>
                    <a:lnTo>
                      <a:pt x="1826" y="2476"/>
                    </a:lnTo>
                    <a:lnTo>
                      <a:pt x="1758" y="2233"/>
                    </a:lnTo>
                    <a:lnTo>
                      <a:pt x="1820" y="2233"/>
                    </a:lnTo>
                    <a:lnTo>
                      <a:pt x="1843" y="2324"/>
                    </a:lnTo>
                    <a:lnTo>
                      <a:pt x="1843" y="2324"/>
                    </a:lnTo>
                    <a:lnTo>
                      <a:pt x="1849" y="2353"/>
                    </a:lnTo>
                    <a:lnTo>
                      <a:pt x="1856" y="2384"/>
                    </a:lnTo>
                    <a:lnTo>
                      <a:pt x="1856" y="2384"/>
                    </a:lnTo>
                    <a:lnTo>
                      <a:pt x="1862" y="2353"/>
                    </a:lnTo>
                    <a:lnTo>
                      <a:pt x="1870" y="2323"/>
                    </a:lnTo>
                    <a:lnTo>
                      <a:pt x="1896" y="2233"/>
                    </a:lnTo>
                    <a:lnTo>
                      <a:pt x="1947" y="2233"/>
                    </a:lnTo>
                    <a:lnTo>
                      <a:pt x="1972" y="2323"/>
                    </a:lnTo>
                    <a:lnTo>
                      <a:pt x="1972" y="2323"/>
                    </a:lnTo>
                    <a:lnTo>
                      <a:pt x="1979" y="2352"/>
                    </a:lnTo>
                    <a:lnTo>
                      <a:pt x="1987" y="2385"/>
                    </a:lnTo>
                    <a:lnTo>
                      <a:pt x="1987" y="2385"/>
                    </a:lnTo>
                    <a:lnTo>
                      <a:pt x="1993" y="2357"/>
                    </a:lnTo>
                    <a:lnTo>
                      <a:pt x="2000" y="2323"/>
                    </a:lnTo>
                    <a:lnTo>
                      <a:pt x="2022" y="2233"/>
                    </a:lnTo>
                    <a:close/>
                    <a:moveTo>
                      <a:pt x="2204" y="2227"/>
                    </a:moveTo>
                    <a:lnTo>
                      <a:pt x="2204" y="2227"/>
                    </a:lnTo>
                    <a:lnTo>
                      <a:pt x="2193" y="2228"/>
                    </a:lnTo>
                    <a:lnTo>
                      <a:pt x="2181" y="2229"/>
                    </a:lnTo>
                    <a:lnTo>
                      <a:pt x="2170" y="2233"/>
                    </a:lnTo>
                    <a:lnTo>
                      <a:pt x="2161" y="2237"/>
                    </a:lnTo>
                    <a:lnTo>
                      <a:pt x="2151" y="2241"/>
                    </a:lnTo>
                    <a:lnTo>
                      <a:pt x="2141" y="2249"/>
                    </a:lnTo>
                    <a:lnTo>
                      <a:pt x="2133" y="2255"/>
                    </a:lnTo>
                    <a:lnTo>
                      <a:pt x="2125" y="2263"/>
                    </a:lnTo>
                    <a:lnTo>
                      <a:pt x="2118" y="2272"/>
                    </a:lnTo>
                    <a:lnTo>
                      <a:pt x="2112" y="2282"/>
                    </a:lnTo>
                    <a:lnTo>
                      <a:pt x="2106" y="2293"/>
                    </a:lnTo>
                    <a:lnTo>
                      <a:pt x="2102" y="2303"/>
                    </a:lnTo>
                    <a:lnTo>
                      <a:pt x="2099" y="2316"/>
                    </a:lnTo>
                    <a:lnTo>
                      <a:pt x="2095" y="2329"/>
                    </a:lnTo>
                    <a:lnTo>
                      <a:pt x="2094" y="2341"/>
                    </a:lnTo>
                    <a:lnTo>
                      <a:pt x="2094" y="2356"/>
                    </a:lnTo>
                    <a:lnTo>
                      <a:pt x="2094" y="2356"/>
                    </a:lnTo>
                    <a:lnTo>
                      <a:pt x="2094" y="2369"/>
                    </a:lnTo>
                    <a:lnTo>
                      <a:pt x="2095" y="2382"/>
                    </a:lnTo>
                    <a:lnTo>
                      <a:pt x="2099" y="2395"/>
                    </a:lnTo>
                    <a:lnTo>
                      <a:pt x="2102" y="2407"/>
                    </a:lnTo>
                    <a:lnTo>
                      <a:pt x="2106" y="2418"/>
                    </a:lnTo>
                    <a:lnTo>
                      <a:pt x="2112" y="2429"/>
                    </a:lnTo>
                    <a:lnTo>
                      <a:pt x="2118" y="2438"/>
                    </a:lnTo>
                    <a:lnTo>
                      <a:pt x="2125" y="2447"/>
                    </a:lnTo>
                    <a:lnTo>
                      <a:pt x="2133" y="2455"/>
                    </a:lnTo>
                    <a:lnTo>
                      <a:pt x="2141" y="2463"/>
                    </a:lnTo>
                    <a:lnTo>
                      <a:pt x="2151" y="2469"/>
                    </a:lnTo>
                    <a:lnTo>
                      <a:pt x="2161" y="2474"/>
                    </a:lnTo>
                    <a:lnTo>
                      <a:pt x="2170" y="2477"/>
                    </a:lnTo>
                    <a:lnTo>
                      <a:pt x="2181" y="2481"/>
                    </a:lnTo>
                    <a:lnTo>
                      <a:pt x="2193" y="2482"/>
                    </a:lnTo>
                    <a:lnTo>
                      <a:pt x="2204" y="2483"/>
                    </a:lnTo>
                    <a:lnTo>
                      <a:pt x="2204" y="2483"/>
                    </a:lnTo>
                    <a:lnTo>
                      <a:pt x="2216" y="2482"/>
                    </a:lnTo>
                    <a:lnTo>
                      <a:pt x="2229" y="2481"/>
                    </a:lnTo>
                    <a:lnTo>
                      <a:pt x="2240" y="2477"/>
                    </a:lnTo>
                    <a:lnTo>
                      <a:pt x="2249" y="2474"/>
                    </a:lnTo>
                    <a:lnTo>
                      <a:pt x="2259" y="2469"/>
                    </a:lnTo>
                    <a:lnTo>
                      <a:pt x="2269" y="2463"/>
                    </a:lnTo>
                    <a:lnTo>
                      <a:pt x="2277" y="2455"/>
                    </a:lnTo>
                    <a:lnTo>
                      <a:pt x="2284" y="2447"/>
                    </a:lnTo>
                    <a:lnTo>
                      <a:pt x="2292" y="2438"/>
                    </a:lnTo>
                    <a:lnTo>
                      <a:pt x="2298" y="2429"/>
                    </a:lnTo>
                    <a:lnTo>
                      <a:pt x="2303" y="2418"/>
                    </a:lnTo>
                    <a:lnTo>
                      <a:pt x="2308" y="2407"/>
                    </a:lnTo>
                    <a:lnTo>
                      <a:pt x="2311" y="2395"/>
                    </a:lnTo>
                    <a:lnTo>
                      <a:pt x="2314" y="2382"/>
                    </a:lnTo>
                    <a:lnTo>
                      <a:pt x="2316" y="2369"/>
                    </a:lnTo>
                    <a:lnTo>
                      <a:pt x="2316" y="2356"/>
                    </a:lnTo>
                    <a:lnTo>
                      <a:pt x="2316" y="2356"/>
                    </a:lnTo>
                    <a:lnTo>
                      <a:pt x="2316" y="2341"/>
                    </a:lnTo>
                    <a:lnTo>
                      <a:pt x="2314" y="2329"/>
                    </a:lnTo>
                    <a:lnTo>
                      <a:pt x="2311" y="2316"/>
                    </a:lnTo>
                    <a:lnTo>
                      <a:pt x="2308" y="2303"/>
                    </a:lnTo>
                    <a:lnTo>
                      <a:pt x="2303" y="2293"/>
                    </a:lnTo>
                    <a:lnTo>
                      <a:pt x="2298" y="2282"/>
                    </a:lnTo>
                    <a:lnTo>
                      <a:pt x="2292" y="2272"/>
                    </a:lnTo>
                    <a:lnTo>
                      <a:pt x="2284" y="2263"/>
                    </a:lnTo>
                    <a:lnTo>
                      <a:pt x="2277" y="2255"/>
                    </a:lnTo>
                    <a:lnTo>
                      <a:pt x="2269" y="2249"/>
                    </a:lnTo>
                    <a:lnTo>
                      <a:pt x="2259" y="2241"/>
                    </a:lnTo>
                    <a:lnTo>
                      <a:pt x="2249" y="2237"/>
                    </a:lnTo>
                    <a:lnTo>
                      <a:pt x="2240" y="2233"/>
                    </a:lnTo>
                    <a:lnTo>
                      <a:pt x="2229" y="2229"/>
                    </a:lnTo>
                    <a:lnTo>
                      <a:pt x="2216" y="2228"/>
                    </a:lnTo>
                    <a:lnTo>
                      <a:pt x="2204" y="2227"/>
                    </a:lnTo>
                    <a:lnTo>
                      <a:pt x="2204" y="2227"/>
                    </a:lnTo>
                    <a:close/>
                    <a:moveTo>
                      <a:pt x="2204" y="2426"/>
                    </a:moveTo>
                    <a:lnTo>
                      <a:pt x="2204" y="2426"/>
                    </a:lnTo>
                    <a:lnTo>
                      <a:pt x="2193" y="2425"/>
                    </a:lnTo>
                    <a:lnTo>
                      <a:pt x="2185" y="2421"/>
                    </a:lnTo>
                    <a:lnTo>
                      <a:pt x="2176" y="2415"/>
                    </a:lnTo>
                    <a:lnTo>
                      <a:pt x="2169" y="2407"/>
                    </a:lnTo>
                    <a:lnTo>
                      <a:pt x="2163" y="2397"/>
                    </a:lnTo>
                    <a:lnTo>
                      <a:pt x="2158" y="2385"/>
                    </a:lnTo>
                    <a:lnTo>
                      <a:pt x="2156" y="2370"/>
                    </a:lnTo>
                    <a:lnTo>
                      <a:pt x="2156" y="2356"/>
                    </a:lnTo>
                    <a:lnTo>
                      <a:pt x="2156" y="2356"/>
                    </a:lnTo>
                    <a:lnTo>
                      <a:pt x="2156" y="2340"/>
                    </a:lnTo>
                    <a:lnTo>
                      <a:pt x="2158" y="2327"/>
                    </a:lnTo>
                    <a:lnTo>
                      <a:pt x="2163" y="2314"/>
                    </a:lnTo>
                    <a:lnTo>
                      <a:pt x="2169" y="2303"/>
                    </a:lnTo>
                    <a:lnTo>
                      <a:pt x="2176" y="2295"/>
                    </a:lnTo>
                    <a:lnTo>
                      <a:pt x="2185" y="2289"/>
                    </a:lnTo>
                    <a:lnTo>
                      <a:pt x="2193" y="2285"/>
                    </a:lnTo>
                    <a:lnTo>
                      <a:pt x="2204" y="2284"/>
                    </a:lnTo>
                    <a:lnTo>
                      <a:pt x="2204" y="2284"/>
                    </a:lnTo>
                    <a:lnTo>
                      <a:pt x="2215" y="2285"/>
                    </a:lnTo>
                    <a:lnTo>
                      <a:pt x="2225" y="2289"/>
                    </a:lnTo>
                    <a:lnTo>
                      <a:pt x="2233" y="2295"/>
                    </a:lnTo>
                    <a:lnTo>
                      <a:pt x="2241" y="2303"/>
                    </a:lnTo>
                    <a:lnTo>
                      <a:pt x="2247" y="2314"/>
                    </a:lnTo>
                    <a:lnTo>
                      <a:pt x="2250" y="2327"/>
                    </a:lnTo>
                    <a:lnTo>
                      <a:pt x="2253" y="2340"/>
                    </a:lnTo>
                    <a:lnTo>
                      <a:pt x="2254" y="2356"/>
                    </a:lnTo>
                    <a:lnTo>
                      <a:pt x="2254" y="2356"/>
                    </a:lnTo>
                    <a:lnTo>
                      <a:pt x="2253" y="2370"/>
                    </a:lnTo>
                    <a:lnTo>
                      <a:pt x="2250" y="2385"/>
                    </a:lnTo>
                    <a:lnTo>
                      <a:pt x="2247" y="2397"/>
                    </a:lnTo>
                    <a:lnTo>
                      <a:pt x="2241" y="2407"/>
                    </a:lnTo>
                    <a:lnTo>
                      <a:pt x="2233" y="2415"/>
                    </a:lnTo>
                    <a:lnTo>
                      <a:pt x="2225" y="2421"/>
                    </a:lnTo>
                    <a:lnTo>
                      <a:pt x="2215" y="2425"/>
                    </a:lnTo>
                    <a:lnTo>
                      <a:pt x="2204" y="2426"/>
                    </a:lnTo>
                    <a:lnTo>
                      <a:pt x="2204" y="2426"/>
                    </a:lnTo>
                    <a:close/>
                    <a:moveTo>
                      <a:pt x="921" y="2313"/>
                    </a:moveTo>
                    <a:lnTo>
                      <a:pt x="995" y="2477"/>
                    </a:lnTo>
                    <a:lnTo>
                      <a:pt x="928" y="2477"/>
                    </a:lnTo>
                    <a:lnTo>
                      <a:pt x="877" y="2364"/>
                    </a:lnTo>
                    <a:lnTo>
                      <a:pt x="845" y="2404"/>
                    </a:lnTo>
                    <a:lnTo>
                      <a:pt x="845" y="2477"/>
                    </a:lnTo>
                    <a:lnTo>
                      <a:pt x="785" y="2477"/>
                    </a:lnTo>
                    <a:lnTo>
                      <a:pt x="785" y="2161"/>
                    </a:lnTo>
                    <a:lnTo>
                      <a:pt x="845" y="2131"/>
                    </a:lnTo>
                    <a:lnTo>
                      <a:pt x="845" y="2327"/>
                    </a:lnTo>
                    <a:lnTo>
                      <a:pt x="845" y="2327"/>
                    </a:lnTo>
                    <a:lnTo>
                      <a:pt x="868" y="2295"/>
                    </a:lnTo>
                    <a:lnTo>
                      <a:pt x="916" y="2233"/>
                    </a:lnTo>
                    <a:lnTo>
                      <a:pt x="987" y="2233"/>
                    </a:lnTo>
                    <a:lnTo>
                      <a:pt x="921" y="2313"/>
                    </a:lnTo>
                    <a:close/>
                    <a:moveTo>
                      <a:pt x="1208" y="2477"/>
                    </a:moveTo>
                    <a:lnTo>
                      <a:pt x="1147" y="2477"/>
                    </a:lnTo>
                    <a:lnTo>
                      <a:pt x="1147" y="2233"/>
                    </a:lnTo>
                    <a:lnTo>
                      <a:pt x="1208" y="2233"/>
                    </a:lnTo>
                    <a:lnTo>
                      <a:pt x="1208" y="2254"/>
                    </a:lnTo>
                    <a:lnTo>
                      <a:pt x="1208" y="2254"/>
                    </a:lnTo>
                    <a:lnTo>
                      <a:pt x="1214" y="2248"/>
                    </a:lnTo>
                    <a:lnTo>
                      <a:pt x="1220" y="2243"/>
                    </a:lnTo>
                    <a:lnTo>
                      <a:pt x="1227" y="2238"/>
                    </a:lnTo>
                    <a:lnTo>
                      <a:pt x="1235" y="2234"/>
                    </a:lnTo>
                    <a:lnTo>
                      <a:pt x="1243" y="2232"/>
                    </a:lnTo>
                    <a:lnTo>
                      <a:pt x="1252" y="2229"/>
                    </a:lnTo>
                    <a:lnTo>
                      <a:pt x="1260" y="2228"/>
                    </a:lnTo>
                    <a:lnTo>
                      <a:pt x="1270" y="2227"/>
                    </a:lnTo>
                    <a:lnTo>
                      <a:pt x="1270" y="2227"/>
                    </a:lnTo>
                    <a:lnTo>
                      <a:pt x="1281" y="2228"/>
                    </a:lnTo>
                    <a:lnTo>
                      <a:pt x="1290" y="2229"/>
                    </a:lnTo>
                    <a:lnTo>
                      <a:pt x="1299" y="2232"/>
                    </a:lnTo>
                    <a:lnTo>
                      <a:pt x="1309" y="2234"/>
                    </a:lnTo>
                    <a:lnTo>
                      <a:pt x="1316" y="2239"/>
                    </a:lnTo>
                    <a:lnTo>
                      <a:pt x="1323" y="2244"/>
                    </a:lnTo>
                    <a:lnTo>
                      <a:pt x="1331" y="2249"/>
                    </a:lnTo>
                    <a:lnTo>
                      <a:pt x="1337" y="2256"/>
                    </a:lnTo>
                    <a:lnTo>
                      <a:pt x="1342" y="2263"/>
                    </a:lnTo>
                    <a:lnTo>
                      <a:pt x="1346" y="2272"/>
                    </a:lnTo>
                    <a:lnTo>
                      <a:pt x="1350" y="2280"/>
                    </a:lnTo>
                    <a:lnTo>
                      <a:pt x="1354" y="2291"/>
                    </a:lnTo>
                    <a:lnTo>
                      <a:pt x="1356" y="2302"/>
                    </a:lnTo>
                    <a:lnTo>
                      <a:pt x="1357" y="2313"/>
                    </a:lnTo>
                    <a:lnTo>
                      <a:pt x="1359" y="2325"/>
                    </a:lnTo>
                    <a:lnTo>
                      <a:pt x="1360" y="2339"/>
                    </a:lnTo>
                    <a:lnTo>
                      <a:pt x="1360" y="2477"/>
                    </a:lnTo>
                    <a:lnTo>
                      <a:pt x="1299" y="2477"/>
                    </a:lnTo>
                    <a:lnTo>
                      <a:pt x="1299" y="2342"/>
                    </a:lnTo>
                    <a:lnTo>
                      <a:pt x="1299" y="2342"/>
                    </a:lnTo>
                    <a:lnTo>
                      <a:pt x="1298" y="2329"/>
                    </a:lnTo>
                    <a:lnTo>
                      <a:pt x="1297" y="2316"/>
                    </a:lnTo>
                    <a:lnTo>
                      <a:pt x="1293" y="2306"/>
                    </a:lnTo>
                    <a:lnTo>
                      <a:pt x="1288" y="2297"/>
                    </a:lnTo>
                    <a:lnTo>
                      <a:pt x="1282" y="2291"/>
                    </a:lnTo>
                    <a:lnTo>
                      <a:pt x="1275" y="2286"/>
                    </a:lnTo>
                    <a:lnTo>
                      <a:pt x="1265" y="2284"/>
                    </a:lnTo>
                    <a:lnTo>
                      <a:pt x="1254" y="2283"/>
                    </a:lnTo>
                    <a:lnTo>
                      <a:pt x="1254" y="2283"/>
                    </a:lnTo>
                    <a:lnTo>
                      <a:pt x="1244" y="2284"/>
                    </a:lnTo>
                    <a:lnTo>
                      <a:pt x="1235" y="2286"/>
                    </a:lnTo>
                    <a:lnTo>
                      <a:pt x="1226" y="2291"/>
                    </a:lnTo>
                    <a:lnTo>
                      <a:pt x="1220" y="2299"/>
                    </a:lnTo>
                    <a:lnTo>
                      <a:pt x="1215" y="2306"/>
                    </a:lnTo>
                    <a:lnTo>
                      <a:pt x="1212" y="2317"/>
                    </a:lnTo>
                    <a:lnTo>
                      <a:pt x="1209" y="2329"/>
                    </a:lnTo>
                    <a:lnTo>
                      <a:pt x="1208" y="2342"/>
                    </a:lnTo>
                    <a:lnTo>
                      <a:pt x="1208" y="2477"/>
                    </a:lnTo>
                    <a:close/>
                    <a:moveTo>
                      <a:pt x="1551" y="2250"/>
                    </a:moveTo>
                    <a:lnTo>
                      <a:pt x="1551" y="2250"/>
                    </a:lnTo>
                    <a:lnTo>
                      <a:pt x="1544" y="2245"/>
                    </a:lnTo>
                    <a:lnTo>
                      <a:pt x="1538" y="2240"/>
                    </a:lnTo>
                    <a:lnTo>
                      <a:pt x="1532" y="2237"/>
                    </a:lnTo>
                    <a:lnTo>
                      <a:pt x="1525" y="2233"/>
                    </a:lnTo>
                    <a:lnTo>
                      <a:pt x="1518" y="2231"/>
                    </a:lnTo>
                    <a:lnTo>
                      <a:pt x="1510" y="2229"/>
                    </a:lnTo>
                    <a:lnTo>
                      <a:pt x="1503" y="2228"/>
                    </a:lnTo>
                    <a:lnTo>
                      <a:pt x="1496" y="2227"/>
                    </a:lnTo>
                    <a:lnTo>
                      <a:pt x="1496" y="2227"/>
                    </a:lnTo>
                    <a:lnTo>
                      <a:pt x="1485" y="2228"/>
                    </a:lnTo>
                    <a:lnTo>
                      <a:pt x="1475" y="2229"/>
                    </a:lnTo>
                    <a:lnTo>
                      <a:pt x="1465" y="2232"/>
                    </a:lnTo>
                    <a:lnTo>
                      <a:pt x="1456" y="2237"/>
                    </a:lnTo>
                    <a:lnTo>
                      <a:pt x="1447" y="2240"/>
                    </a:lnTo>
                    <a:lnTo>
                      <a:pt x="1440" y="2246"/>
                    </a:lnTo>
                    <a:lnTo>
                      <a:pt x="1433" y="2254"/>
                    </a:lnTo>
                    <a:lnTo>
                      <a:pt x="1425" y="2261"/>
                    </a:lnTo>
                    <a:lnTo>
                      <a:pt x="1419" y="2269"/>
                    </a:lnTo>
                    <a:lnTo>
                      <a:pt x="1414" y="2279"/>
                    </a:lnTo>
                    <a:lnTo>
                      <a:pt x="1410" y="2289"/>
                    </a:lnTo>
                    <a:lnTo>
                      <a:pt x="1406" y="2301"/>
                    </a:lnTo>
                    <a:lnTo>
                      <a:pt x="1404" y="2312"/>
                    </a:lnTo>
                    <a:lnTo>
                      <a:pt x="1401" y="2325"/>
                    </a:lnTo>
                    <a:lnTo>
                      <a:pt x="1400" y="2339"/>
                    </a:lnTo>
                    <a:lnTo>
                      <a:pt x="1400" y="2352"/>
                    </a:lnTo>
                    <a:lnTo>
                      <a:pt x="1400" y="2352"/>
                    </a:lnTo>
                    <a:lnTo>
                      <a:pt x="1400" y="2368"/>
                    </a:lnTo>
                    <a:lnTo>
                      <a:pt x="1401" y="2381"/>
                    </a:lnTo>
                    <a:lnTo>
                      <a:pt x="1404" y="2395"/>
                    </a:lnTo>
                    <a:lnTo>
                      <a:pt x="1406" y="2408"/>
                    </a:lnTo>
                    <a:lnTo>
                      <a:pt x="1410" y="2419"/>
                    </a:lnTo>
                    <a:lnTo>
                      <a:pt x="1414" y="2430"/>
                    </a:lnTo>
                    <a:lnTo>
                      <a:pt x="1419" y="2440"/>
                    </a:lnTo>
                    <a:lnTo>
                      <a:pt x="1425" y="2448"/>
                    </a:lnTo>
                    <a:lnTo>
                      <a:pt x="1431" y="2457"/>
                    </a:lnTo>
                    <a:lnTo>
                      <a:pt x="1439" y="2463"/>
                    </a:lnTo>
                    <a:lnTo>
                      <a:pt x="1446" y="2469"/>
                    </a:lnTo>
                    <a:lnTo>
                      <a:pt x="1455" y="2474"/>
                    </a:lnTo>
                    <a:lnTo>
                      <a:pt x="1464" y="2477"/>
                    </a:lnTo>
                    <a:lnTo>
                      <a:pt x="1474" y="2481"/>
                    </a:lnTo>
                    <a:lnTo>
                      <a:pt x="1484" y="2482"/>
                    </a:lnTo>
                    <a:lnTo>
                      <a:pt x="1495" y="2483"/>
                    </a:lnTo>
                    <a:lnTo>
                      <a:pt x="1495" y="2483"/>
                    </a:lnTo>
                    <a:lnTo>
                      <a:pt x="1502" y="2482"/>
                    </a:lnTo>
                    <a:lnTo>
                      <a:pt x="1510" y="2481"/>
                    </a:lnTo>
                    <a:lnTo>
                      <a:pt x="1518" y="2480"/>
                    </a:lnTo>
                    <a:lnTo>
                      <a:pt x="1525" y="2477"/>
                    </a:lnTo>
                    <a:lnTo>
                      <a:pt x="1531" y="2474"/>
                    </a:lnTo>
                    <a:lnTo>
                      <a:pt x="1538" y="2470"/>
                    </a:lnTo>
                    <a:lnTo>
                      <a:pt x="1544" y="2465"/>
                    </a:lnTo>
                    <a:lnTo>
                      <a:pt x="1551" y="2459"/>
                    </a:lnTo>
                    <a:lnTo>
                      <a:pt x="1551" y="2465"/>
                    </a:lnTo>
                    <a:lnTo>
                      <a:pt x="1551" y="2465"/>
                    </a:lnTo>
                    <a:lnTo>
                      <a:pt x="1551" y="2475"/>
                    </a:lnTo>
                    <a:lnTo>
                      <a:pt x="1549" y="2486"/>
                    </a:lnTo>
                    <a:lnTo>
                      <a:pt x="1546" y="2497"/>
                    </a:lnTo>
                    <a:lnTo>
                      <a:pt x="1543" y="2502"/>
                    </a:lnTo>
                    <a:lnTo>
                      <a:pt x="1541" y="2506"/>
                    </a:lnTo>
                    <a:lnTo>
                      <a:pt x="1536" y="2511"/>
                    </a:lnTo>
                    <a:lnTo>
                      <a:pt x="1531" y="2516"/>
                    </a:lnTo>
                    <a:lnTo>
                      <a:pt x="1525" y="2520"/>
                    </a:lnTo>
                    <a:lnTo>
                      <a:pt x="1518" y="2524"/>
                    </a:lnTo>
                    <a:lnTo>
                      <a:pt x="1508" y="2526"/>
                    </a:lnTo>
                    <a:lnTo>
                      <a:pt x="1498" y="2528"/>
                    </a:lnTo>
                    <a:lnTo>
                      <a:pt x="1486" y="2530"/>
                    </a:lnTo>
                    <a:lnTo>
                      <a:pt x="1472" y="2530"/>
                    </a:lnTo>
                    <a:lnTo>
                      <a:pt x="1469" y="2530"/>
                    </a:lnTo>
                    <a:lnTo>
                      <a:pt x="1491" y="2577"/>
                    </a:lnTo>
                    <a:lnTo>
                      <a:pt x="1492" y="2577"/>
                    </a:lnTo>
                    <a:lnTo>
                      <a:pt x="1492" y="2577"/>
                    </a:lnTo>
                    <a:lnTo>
                      <a:pt x="1507" y="2577"/>
                    </a:lnTo>
                    <a:lnTo>
                      <a:pt x="1520" y="2576"/>
                    </a:lnTo>
                    <a:lnTo>
                      <a:pt x="1532" y="2572"/>
                    </a:lnTo>
                    <a:lnTo>
                      <a:pt x="1544" y="2570"/>
                    </a:lnTo>
                    <a:lnTo>
                      <a:pt x="1555" y="2565"/>
                    </a:lnTo>
                    <a:lnTo>
                      <a:pt x="1565" y="2560"/>
                    </a:lnTo>
                    <a:lnTo>
                      <a:pt x="1574" y="2554"/>
                    </a:lnTo>
                    <a:lnTo>
                      <a:pt x="1581" y="2547"/>
                    </a:lnTo>
                    <a:lnTo>
                      <a:pt x="1588" y="2538"/>
                    </a:lnTo>
                    <a:lnTo>
                      <a:pt x="1594" y="2530"/>
                    </a:lnTo>
                    <a:lnTo>
                      <a:pt x="1599" y="2519"/>
                    </a:lnTo>
                    <a:lnTo>
                      <a:pt x="1603" y="2508"/>
                    </a:lnTo>
                    <a:lnTo>
                      <a:pt x="1606" y="2497"/>
                    </a:lnTo>
                    <a:lnTo>
                      <a:pt x="1609" y="2483"/>
                    </a:lnTo>
                    <a:lnTo>
                      <a:pt x="1610" y="2470"/>
                    </a:lnTo>
                    <a:lnTo>
                      <a:pt x="1610" y="2455"/>
                    </a:lnTo>
                    <a:lnTo>
                      <a:pt x="1610" y="2233"/>
                    </a:lnTo>
                    <a:lnTo>
                      <a:pt x="1551" y="2233"/>
                    </a:lnTo>
                    <a:lnTo>
                      <a:pt x="1551" y="2250"/>
                    </a:lnTo>
                    <a:close/>
                    <a:moveTo>
                      <a:pt x="1551" y="2307"/>
                    </a:moveTo>
                    <a:lnTo>
                      <a:pt x="1551" y="2403"/>
                    </a:lnTo>
                    <a:lnTo>
                      <a:pt x="1551" y="2403"/>
                    </a:lnTo>
                    <a:lnTo>
                      <a:pt x="1542" y="2412"/>
                    </a:lnTo>
                    <a:lnTo>
                      <a:pt x="1534" y="2420"/>
                    </a:lnTo>
                    <a:lnTo>
                      <a:pt x="1527" y="2423"/>
                    </a:lnTo>
                    <a:lnTo>
                      <a:pt x="1521" y="2425"/>
                    </a:lnTo>
                    <a:lnTo>
                      <a:pt x="1515" y="2426"/>
                    </a:lnTo>
                    <a:lnTo>
                      <a:pt x="1507" y="2427"/>
                    </a:lnTo>
                    <a:lnTo>
                      <a:pt x="1507" y="2427"/>
                    </a:lnTo>
                    <a:lnTo>
                      <a:pt x="1499" y="2426"/>
                    </a:lnTo>
                    <a:lnTo>
                      <a:pt x="1491" y="2424"/>
                    </a:lnTo>
                    <a:lnTo>
                      <a:pt x="1484" y="2420"/>
                    </a:lnTo>
                    <a:lnTo>
                      <a:pt x="1476" y="2413"/>
                    </a:lnTo>
                    <a:lnTo>
                      <a:pt x="1470" y="2403"/>
                    </a:lnTo>
                    <a:lnTo>
                      <a:pt x="1465" y="2390"/>
                    </a:lnTo>
                    <a:lnTo>
                      <a:pt x="1463" y="2373"/>
                    </a:lnTo>
                    <a:lnTo>
                      <a:pt x="1462" y="2351"/>
                    </a:lnTo>
                    <a:lnTo>
                      <a:pt x="1462" y="2351"/>
                    </a:lnTo>
                    <a:lnTo>
                      <a:pt x="1463" y="2333"/>
                    </a:lnTo>
                    <a:lnTo>
                      <a:pt x="1465" y="2317"/>
                    </a:lnTo>
                    <a:lnTo>
                      <a:pt x="1470" y="2305"/>
                    </a:lnTo>
                    <a:lnTo>
                      <a:pt x="1476" y="2296"/>
                    </a:lnTo>
                    <a:lnTo>
                      <a:pt x="1484" y="2290"/>
                    </a:lnTo>
                    <a:lnTo>
                      <a:pt x="1491" y="2285"/>
                    </a:lnTo>
                    <a:lnTo>
                      <a:pt x="1499" y="2284"/>
                    </a:lnTo>
                    <a:lnTo>
                      <a:pt x="1507" y="2283"/>
                    </a:lnTo>
                    <a:lnTo>
                      <a:pt x="1507" y="2283"/>
                    </a:lnTo>
                    <a:lnTo>
                      <a:pt x="1515" y="2284"/>
                    </a:lnTo>
                    <a:lnTo>
                      <a:pt x="1523" y="2285"/>
                    </a:lnTo>
                    <a:lnTo>
                      <a:pt x="1529" y="2288"/>
                    </a:lnTo>
                    <a:lnTo>
                      <a:pt x="1535" y="2291"/>
                    </a:lnTo>
                    <a:lnTo>
                      <a:pt x="1540" y="2295"/>
                    </a:lnTo>
                    <a:lnTo>
                      <a:pt x="1543" y="2299"/>
                    </a:lnTo>
                    <a:lnTo>
                      <a:pt x="1551" y="2307"/>
                    </a:lnTo>
                    <a:lnTo>
                      <a:pt x="1551" y="2307"/>
                    </a:lnTo>
                    <a:close/>
                    <a:moveTo>
                      <a:pt x="1033" y="2233"/>
                    </a:moveTo>
                    <a:lnTo>
                      <a:pt x="1094" y="2233"/>
                    </a:lnTo>
                    <a:lnTo>
                      <a:pt x="1094" y="2341"/>
                    </a:lnTo>
                    <a:lnTo>
                      <a:pt x="1094" y="2477"/>
                    </a:lnTo>
                    <a:lnTo>
                      <a:pt x="1033" y="2477"/>
                    </a:lnTo>
                    <a:lnTo>
                      <a:pt x="1033" y="2233"/>
                    </a:lnTo>
                    <a:close/>
                    <a:moveTo>
                      <a:pt x="1094" y="2167"/>
                    </a:moveTo>
                    <a:lnTo>
                      <a:pt x="1094" y="2198"/>
                    </a:lnTo>
                    <a:lnTo>
                      <a:pt x="1033" y="2198"/>
                    </a:lnTo>
                    <a:lnTo>
                      <a:pt x="1033" y="2137"/>
                    </a:lnTo>
                    <a:lnTo>
                      <a:pt x="1094" y="2137"/>
                    </a:lnTo>
                    <a:lnTo>
                      <a:pt x="1094" y="2167"/>
                    </a:lnTo>
                    <a:close/>
                    <a:moveTo>
                      <a:pt x="2542" y="2161"/>
                    </a:moveTo>
                    <a:lnTo>
                      <a:pt x="2603" y="2131"/>
                    </a:lnTo>
                    <a:lnTo>
                      <a:pt x="2603" y="2352"/>
                    </a:lnTo>
                    <a:lnTo>
                      <a:pt x="2603" y="2477"/>
                    </a:lnTo>
                    <a:lnTo>
                      <a:pt x="2542" y="2477"/>
                    </a:lnTo>
                    <a:lnTo>
                      <a:pt x="2542" y="2161"/>
                    </a:lnTo>
                    <a:close/>
                    <a:moveTo>
                      <a:pt x="437" y="834"/>
                    </a:moveTo>
                    <a:lnTo>
                      <a:pt x="936" y="834"/>
                    </a:lnTo>
                    <a:lnTo>
                      <a:pt x="936" y="544"/>
                    </a:lnTo>
                    <a:lnTo>
                      <a:pt x="437" y="544"/>
                    </a:lnTo>
                    <a:lnTo>
                      <a:pt x="437" y="317"/>
                    </a:lnTo>
                    <a:lnTo>
                      <a:pt x="989" y="317"/>
                    </a:lnTo>
                    <a:lnTo>
                      <a:pt x="806" y="0"/>
                    </a:lnTo>
                    <a:lnTo>
                      <a:pt x="24" y="0"/>
                    </a:lnTo>
                    <a:lnTo>
                      <a:pt x="24" y="1378"/>
                    </a:lnTo>
                    <a:lnTo>
                      <a:pt x="1126" y="1378"/>
                    </a:lnTo>
                    <a:lnTo>
                      <a:pt x="1126" y="1061"/>
                    </a:lnTo>
                    <a:lnTo>
                      <a:pt x="437" y="1061"/>
                    </a:lnTo>
                    <a:lnTo>
                      <a:pt x="437" y="834"/>
                    </a:lnTo>
                    <a:close/>
                    <a:moveTo>
                      <a:pt x="1860" y="0"/>
                    </a:moveTo>
                    <a:lnTo>
                      <a:pt x="1626" y="450"/>
                    </a:lnTo>
                    <a:lnTo>
                      <a:pt x="1393" y="0"/>
                    </a:lnTo>
                    <a:lnTo>
                      <a:pt x="936" y="0"/>
                    </a:lnTo>
                    <a:lnTo>
                      <a:pt x="1417" y="834"/>
                    </a:lnTo>
                    <a:lnTo>
                      <a:pt x="1417" y="1378"/>
                    </a:lnTo>
                    <a:lnTo>
                      <a:pt x="1829" y="1378"/>
                    </a:lnTo>
                    <a:lnTo>
                      <a:pt x="1829" y="834"/>
                    </a:lnTo>
                    <a:lnTo>
                      <a:pt x="2311" y="0"/>
                    </a:lnTo>
                    <a:lnTo>
                      <a:pt x="18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</p:grpSp>
        <p:sp>
          <p:nvSpPr>
            <p:cNvPr id="39" name="Content Placeholder 5">
              <a:extLst>
                <a:ext uri="{FF2B5EF4-FFF2-40B4-BE49-F238E27FC236}">
                  <a16:creationId xmlns:a16="http://schemas.microsoft.com/office/drawing/2014/main" id="{1F65166A-5035-4B6C-AF4A-6EF6BFC664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28588" y="-12187"/>
              <a:ext cx="799089" cy="310587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Context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&amp; Scope</a:t>
              </a:r>
            </a:p>
          </p:txBody>
        </p:sp>
        <p:sp>
          <p:nvSpPr>
            <p:cNvPr id="40" name="Content Placeholder 5">
              <a:extLst>
                <a:ext uri="{FF2B5EF4-FFF2-40B4-BE49-F238E27FC236}">
                  <a16:creationId xmlns:a16="http://schemas.microsoft.com/office/drawing/2014/main" id="{1A837389-95CF-4B3B-800E-FEC27EAA438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653573" y="1246"/>
              <a:ext cx="1008804" cy="283721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en-US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 Timeline</a:t>
              </a:r>
            </a:p>
          </p:txBody>
        </p:sp>
        <p:sp>
          <p:nvSpPr>
            <p:cNvPr id="41" name="Content Placeholder 5">
              <a:extLst>
                <a:ext uri="{FF2B5EF4-FFF2-40B4-BE49-F238E27FC236}">
                  <a16:creationId xmlns:a16="http://schemas.microsoft.com/office/drawing/2014/main" id="{C677C157-AF08-4089-AD3A-B2E58F50B6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77810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Detailed Scope &amp; Assumptions</a:t>
              </a:r>
            </a:p>
          </p:txBody>
        </p:sp>
        <p:sp>
          <p:nvSpPr>
            <p:cNvPr id="42" name="Content Placeholder 5">
              <a:extLst>
                <a:ext uri="{FF2B5EF4-FFF2-40B4-BE49-F238E27FC236}">
                  <a16:creationId xmlns:a16="http://schemas.microsoft.com/office/drawing/2014/main" id="{C54C3731-6E06-4D59-B7AC-4CB0839F6BA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97101" y="47457"/>
              <a:ext cx="1279397" cy="191298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Solution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roach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3" name="Content Placeholder 5">
              <a:extLst>
                <a:ext uri="{FF2B5EF4-FFF2-40B4-BE49-F238E27FC236}">
                  <a16:creationId xmlns:a16="http://schemas.microsoft.com/office/drawing/2014/main" id="{4C744CCD-1894-4D79-A2A4-C8D4721575F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45922" y="75112"/>
              <a:ext cx="1138227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ject Team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Governance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4" name="Content Placeholder 5">
              <a:extLst>
                <a:ext uri="{FF2B5EF4-FFF2-40B4-BE49-F238E27FC236}">
                  <a16:creationId xmlns:a16="http://schemas.microsoft.com/office/drawing/2014/main" id="{B04B1A59-BBF2-4C7E-93E4-2BEA61B88A2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31801" y="75112"/>
              <a:ext cx="1097554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Value Proposition</a:t>
              </a:r>
            </a:p>
          </p:txBody>
        </p:sp>
        <p:sp>
          <p:nvSpPr>
            <p:cNvPr id="45" name="Content Placeholder 5">
              <a:extLst>
                <a:ext uri="{FF2B5EF4-FFF2-40B4-BE49-F238E27FC236}">
                  <a16:creationId xmlns:a16="http://schemas.microsoft.com/office/drawing/2014/main" id="{8C34B344-C0CE-4B04-B2C1-BA3177570D0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734717" y="79567"/>
              <a:ext cx="773670" cy="12707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Teams Profiles</a:t>
              </a:r>
            </a:p>
          </p:txBody>
        </p:sp>
        <p:sp>
          <p:nvSpPr>
            <p:cNvPr id="46" name="Content Placeholder 5">
              <a:extLst>
                <a:ext uri="{FF2B5EF4-FFF2-40B4-BE49-F238E27FC236}">
                  <a16:creationId xmlns:a16="http://schemas.microsoft.com/office/drawing/2014/main" id="{EC1487B0-A008-44F9-8EEB-0F2EEFDAE85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98779" y="54928"/>
              <a:ext cx="866515" cy="1763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Credentials</a:t>
              </a:r>
            </a:p>
          </p:txBody>
        </p:sp>
        <p:sp>
          <p:nvSpPr>
            <p:cNvPr id="47" name="Content Placeholder 5">
              <a:extLst>
                <a:ext uri="{FF2B5EF4-FFF2-40B4-BE49-F238E27FC236}">
                  <a16:creationId xmlns:a16="http://schemas.microsoft.com/office/drawing/2014/main" id="{997CD9E4-742F-44FE-8E85-9BE7574D9DA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229765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Append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301984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4160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40058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745856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396737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631258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586146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314387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7309913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4715880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3833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677581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001136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954DB896-131F-432D-9100-F2CBB3C97E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56"/>
          <a:stretch/>
        </p:blipFill>
        <p:spPr>
          <a:xfrm>
            <a:off x="-98440" y="0"/>
            <a:ext cx="1229044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AF2881-6355-471A-90AE-BB6B5B1F3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6919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8AF2881-6355-471A-90AE-BB6B5B1F30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368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50" kern="100" spc="20" baseline="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37" indent="-176037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25" indent="-188725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212565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791393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872106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199273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70054123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418726975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542614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03130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-9939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430868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482653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02466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904034-5064-4217-927D-2C1D14DAB580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93192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09591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-9939"/>
            <a:ext cx="5968062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4305470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983835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7990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856294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555" marR="0" indent="-171364" algn="l" defTabSz="6842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7665" y="2085631"/>
            <a:ext cx="8657275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29600">
                <a:tabLst>
                  <a:tab pos="9507306" algn="l"/>
                </a:tabLst>
              </a:pPr>
              <a:r>
                <a:rPr lang="en-US" sz="1399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399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399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29600">
                <a:tabLst>
                  <a:tab pos="9507306" algn="l"/>
                </a:tabLst>
              </a:pPr>
              <a:r>
                <a:rPr lang="en-US" sz="1399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399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399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5806" y="3148295"/>
            <a:ext cx="8189135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29600">
                <a:tabLst>
                  <a:tab pos="9507306" algn="l"/>
                </a:tabLst>
              </a:pPr>
              <a:r>
                <a:rPr lang="en-US" sz="1399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399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399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5804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29600">
                <a:tabLst>
                  <a:tab pos="9507306" algn="l"/>
                </a:tabLst>
              </a:pPr>
              <a:r>
                <a:rPr lang="en-US" sz="1399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399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399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399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666B45F-6184-4004-ACF9-B28B722322CC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99714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4761" y="4096092"/>
            <a:ext cx="10080000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29600">
                <a:tabLst>
                  <a:tab pos="9507306" algn="l"/>
                </a:tabLst>
              </a:pPr>
              <a:r>
                <a:rPr lang="en-US" sz="3598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598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999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999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999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999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555" marR="0" indent="-171364" algn="l" defTabSz="6842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4761" y="4096092"/>
            <a:ext cx="10080000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29600">
                <a:tabLst>
                  <a:tab pos="9507306" algn="l"/>
                </a:tabLst>
              </a:pPr>
              <a:r>
                <a:rPr lang="en-US" sz="3598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598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999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999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999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999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8881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0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06400" y="76200"/>
            <a:ext cx="7823200" cy="1143000"/>
          </a:xfrm>
          <a:prstGeom prst="rect">
            <a:avLst/>
          </a:prstGeom>
        </p:spPr>
        <p:txBody>
          <a:bodyPr/>
          <a:lstStyle>
            <a:lvl1pPr algn="l">
              <a:defRPr sz="27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942297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6971" indent="0">
              <a:buNone/>
              <a:defRPr sz="1999" b="1"/>
            </a:lvl2pPr>
            <a:lvl3pPr marL="913943" indent="0">
              <a:buNone/>
              <a:defRPr sz="1799" b="1"/>
            </a:lvl3pPr>
            <a:lvl4pPr marL="1370914" indent="0">
              <a:buNone/>
              <a:defRPr sz="1599" b="1"/>
            </a:lvl4pPr>
            <a:lvl5pPr marL="1827886" indent="0">
              <a:buNone/>
              <a:defRPr sz="1599" b="1"/>
            </a:lvl5pPr>
            <a:lvl6pPr marL="2284857" indent="0">
              <a:buNone/>
              <a:defRPr sz="1599" b="1"/>
            </a:lvl6pPr>
            <a:lvl7pPr marL="2741828" indent="0">
              <a:buNone/>
              <a:defRPr sz="1599" b="1"/>
            </a:lvl7pPr>
            <a:lvl8pPr marL="3198800" indent="0">
              <a:buNone/>
              <a:defRPr sz="1599" b="1"/>
            </a:lvl8pPr>
            <a:lvl9pPr marL="3655771" indent="0">
              <a:buNone/>
              <a:defRPr sz="159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599"/>
            </a:lvl4pPr>
            <a:lvl5pPr>
              <a:defRPr sz="1599"/>
            </a:lvl5pPr>
            <a:lvl6pPr>
              <a:defRPr sz="1599"/>
            </a:lvl6pPr>
            <a:lvl7pPr>
              <a:defRPr sz="1599"/>
            </a:lvl7pPr>
            <a:lvl8pPr>
              <a:defRPr sz="1599"/>
            </a:lvl8pPr>
            <a:lvl9pPr>
              <a:defRPr sz="15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6971" indent="0">
              <a:buNone/>
              <a:defRPr sz="1999" b="1"/>
            </a:lvl2pPr>
            <a:lvl3pPr marL="913943" indent="0">
              <a:buNone/>
              <a:defRPr sz="1799" b="1"/>
            </a:lvl3pPr>
            <a:lvl4pPr marL="1370914" indent="0">
              <a:buNone/>
              <a:defRPr sz="1599" b="1"/>
            </a:lvl4pPr>
            <a:lvl5pPr marL="1827886" indent="0">
              <a:buNone/>
              <a:defRPr sz="1599" b="1"/>
            </a:lvl5pPr>
            <a:lvl6pPr marL="2284857" indent="0">
              <a:buNone/>
              <a:defRPr sz="1599" b="1"/>
            </a:lvl6pPr>
            <a:lvl7pPr marL="2741828" indent="0">
              <a:buNone/>
              <a:defRPr sz="1599" b="1"/>
            </a:lvl7pPr>
            <a:lvl8pPr marL="3198800" indent="0">
              <a:buNone/>
              <a:defRPr sz="1599" b="1"/>
            </a:lvl8pPr>
            <a:lvl9pPr marL="3655771" indent="0">
              <a:buNone/>
              <a:defRPr sz="159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599"/>
            </a:lvl4pPr>
            <a:lvl5pPr>
              <a:defRPr sz="1599"/>
            </a:lvl5pPr>
            <a:lvl6pPr>
              <a:defRPr sz="1599"/>
            </a:lvl6pPr>
            <a:lvl7pPr>
              <a:defRPr sz="1599"/>
            </a:lvl7pPr>
            <a:lvl8pPr>
              <a:defRPr sz="1599"/>
            </a:lvl8pPr>
            <a:lvl9pPr>
              <a:defRPr sz="15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6400" y="76200"/>
            <a:ext cx="7823200" cy="1143000"/>
          </a:xfrm>
          <a:prstGeom prst="rect">
            <a:avLst/>
          </a:prstGeom>
        </p:spPr>
        <p:txBody>
          <a:bodyPr/>
          <a:lstStyle>
            <a:lvl1pPr algn="l">
              <a:defRPr sz="27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966496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06400" y="76200"/>
            <a:ext cx="7823200" cy="1143000"/>
          </a:xfrm>
          <a:prstGeom prst="rect">
            <a:avLst/>
          </a:prstGeom>
        </p:spPr>
        <p:txBody>
          <a:bodyPr/>
          <a:lstStyle>
            <a:lvl1pPr algn="l">
              <a:defRPr sz="27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5617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167435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23854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8" y="1592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8" y="1592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7" y="1508760"/>
            <a:ext cx="11029033" cy="46177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764957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866615"/>
              </p:ext>
            </p:extLst>
          </p:nvPr>
        </p:nvGraphicFramePr>
        <p:xfrm>
          <a:off x="1590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 userDrawn="1"/>
        </p:nvCxnSpPr>
        <p:spPr>
          <a:xfrm>
            <a:off x="-11151" y="6858000"/>
            <a:ext cx="12240000" cy="0"/>
          </a:xfrm>
          <a:prstGeom prst="line">
            <a:avLst/>
          </a:prstGeom>
          <a:ln w="762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6026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Ue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671613"/>
              </p:ext>
            </p:extLst>
          </p:nvPr>
        </p:nvGraphicFramePr>
        <p:xfrm>
          <a:off x="1590" y="159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5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1" y="6250283"/>
            <a:ext cx="12192000" cy="60771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en-US" sz="1105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1315" y="6330452"/>
            <a:ext cx="356552" cy="364694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1" y="6858000"/>
            <a:ext cx="12192000" cy="0"/>
          </a:xfrm>
          <a:prstGeom prst="line">
            <a:avLst/>
          </a:prstGeom>
          <a:ln w="762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/>
          <p:cNvSpPr txBox="1">
            <a:spLocks/>
          </p:cNvSpPr>
          <p:nvPr userDrawn="1"/>
        </p:nvSpPr>
        <p:spPr bwMode="gray">
          <a:xfrm>
            <a:off x="2932613" y="6421239"/>
            <a:ext cx="5315097" cy="20116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11">
                <a:solidFill>
                  <a:srgbClr val="FFFFFF"/>
                </a:solidFill>
              </a:rPr>
              <a:t>Digital Fulfilment – Solution Overview</a:t>
            </a:r>
            <a:r>
              <a:rPr lang="en-US" sz="1011" baseline="0">
                <a:solidFill>
                  <a:srgbClr val="FFFFFF"/>
                </a:solidFill>
              </a:rPr>
              <a:t> Deck</a:t>
            </a:r>
            <a:endParaRPr lang="en-US" sz="1011">
              <a:solidFill>
                <a:srgbClr val="FFFFFF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 bwMode="gray">
          <a:xfrm flipH="1">
            <a:off x="660089" y="6359821"/>
            <a:ext cx="323837" cy="324006"/>
            <a:chOff x="8573861" y="6303056"/>
            <a:chExt cx="465364" cy="465364"/>
          </a:xfrm>
        </p:grpSpPr>
        <p:sp>
          <p:nvSpPr>
            <p:cNvPr id="12" name="Isosceles Triangle 11"/>
            <p:cNvSpPr/>
            <p:nvPr userDrawn="1"/>
          </p:nvSpPr>
          <p:spPr bwMode="gray">
            <a:xfrm rot="5400000" flipH="1">
              <a:off x="8724564" y="6470223"/>
              <a:ext cx="212942" cy="144918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eaLnBrk="1"/>
              <a:endParaRPr lang="en-US" sz="1105">
                <a:solidFill>
                  <a:srgbClr val="000000"/>
                </a:solidFill>
              </a:endParaRPr>
            </a:p>
          </p:txBody>
        </p:sp>
        <p:sp>
          <p:nvSpPr>
            <p:cNvPr id="13" name="Oval 12">
              <a:hlinkClick r:id="" action="ppaction://hlinkshowjump?jump=previousslide"/>
            </p:cNvPr>
            <p:cNvSpPr/>
            <p:nvPr userDrawn="1"/>
          </p:nvSpPr>
          <p:spPr bwMode="gray">
            <a:xfrm>
              <a:off x="8573861" y="6303056"/>
              <a:ext cx="465364" cy="465364"/>
            </a:xfrm>
            <a:prstGeom prst="ellipse">
              <a:avLst/>
            </a:prstGeom>
            <a:noFill/>
            <a:ln w="254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eaLnBrk="1"/>
              <a:endParaRPr lang="en-US" sz="1105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Group 13"/>
          <p:cNvGrpSpPr/>
          <p:nvPr userDrawn="1"/>
        </p:nvGrpSpPr>
        <p:grpSpPr bwMode="gray">
          <a:xfrm>
            <a:off x="1145405" y="6359821"/>
            <a:ext cx="323837" cy="324006"/>
            <a:chOff x="8573861" y="6303056"/>
            <a:chExt cx="465364" cy="465364"/>
          </a:xfrm>
        </p:grpSpPr>
        <p:sp>
          <p:nvSpPr>
            <p:cNvPr id="15" name="Isosceles Triangle 14"/>
            <p:cNvSpPr/>
            <p:nvPr userDrawn="1"/>
          </p:nvSpPr>
          <p:spPr bwMode="gray">
            <a:xfrm rot="5400000" flipH="1">
              <a:off x="8724564" y="6470223"/>
              <a:ext cx="212942" cy="144918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eaLnBrk="1"/>
              <a:endParaRPr lang="en-US" sz="1105">
                <a:solidFill>
                  <a:srgbClr val="000000"/>
                </a:solidFill>
              </a:endParaRPr>
            </a:p>
          </p:txBody>
        </p:sp>
        <p:sp>
          <p:nvSpPr>
            <p:cNvPr id="16" name="Oval 15">
              <a:hlinkClick r:id="" action="ppaction://hlinkshowjump?jump=nextslide"/>
            </p:cNvPr>
            <p:cNvSpPr/>
            <p:nvPr userDrawn="1"/>
          </p:nvSpPr>
          <p:spPr bwMode="gray">
            <a:xfrm>
              <a:off x="8573861" y="6303056"/>
              <a:ext cx="465364" cy="465364"/>
            </a:xfrm>
            <a:prstGeom prst="ellipse">
              <a:avLst/>
            </a:prstGeom>
            <a:noFill/>
            <a:ln w="254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eaLnBrk="1"/>
              <a:endParaRPr lang="en-US" sz="1105">
                <a:solidFill>
                  <a:srgbClr val="000000"/>
                </a:solidFill>
              </a:endParaRPr>
            </a:p>
          </p:txBody>
        </p:sp>
      </p:grpSp>
      <p:sp>
        <p:nvSpPr>
          <p:cNvPr id="17" name="TextBox 16"/>
          <p:cNvSpPr txBox="1"/>
          <p:nvPr userDrawn="1"/>
        </p:nvSpPr>
        <p:spPr>
          <a:xfrm rot="16200000">
            <a:off x="11235821" y="5536510"/>
            <a:ext cx="1697789" cy="106352"/>
          </a:xfrm>
          <a:prstGeom prst="rect">
            <a:avLst/>
          </a:prstGeom>
          <a:noFill/>
        </p:spPr>
        <p:txBody>
          <a:bodyPr wrap="square" lIns="0" tIns="33695" rIns="0" bIns="0" rtlCol="0">
            <a:spAutoFit/>
          </a:bodyPr>
          <a:lstStyle/>
          <a:p>
            <a:pPr marL="0" indent="0" algn="ctr">
              <a:lnSpc>
                <a:spcPct val="85000"/>
              </a:lnSpc>
              <a:spcAft>
                <a:spcPts val="553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de-DE" sz="553">
                <a:solidFill>
                  <a:schemeClr val="bg1"/>
                </a:solidFill>
              </a:rPr>
              <a:t>Workshop edition, release 12-2018</a:t>
            </a:r>
            <a:endParaRPr lang="en-US" sz="553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70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8281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15902" y="178594"/>
            <a:ext cx="11772901" cy="6450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2812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7133507" cy="5872668"/>
          </a:xfrm>
          <a:custGeom>
            <a:avLst/>
            <a:gdLst>
              <a:gd name="connsiteX0" fmla="*/ 0 w 6962710"/>
              <a:gd name="connsiteY0" fmla="*/ 0 h 5732060"/>
              <a:gd name="connsiteX1" fmla="*/ 1222797 w 6962710"/>
              <a:gd name="connsiteY1" fmla="*/ 0 h 5732060"/>
              <a:gd name="connsiteX2" fmla="*/ 6962710 w 6962710"/>
              <a:gd name="connsiteY2" fmla="*/ 5732060 h 5732060"/>
              <a:gd name="connsiteX3" fmla="*/ 1650984 w 6962710"/>
              <a:gd name="connsiteY3" fmla="*/ 5732060 h 5732060"/>
              <a:gd name="connsiteX4" fmla="*/ 0 w 6962710"/>
              <a:gd name="connsiteY4" fmla="*/ 4083335 h 5732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62710" h="5732060">
                <a:moveTo>
                  <a:pt x="0" y="0"/>
                </a:moveTo>
                <a:lnTo>
                  <a:pt x="1222797" y="0"/>
                </a:lnTo>
                <a:lnTo>
                  <a:pt x="6962710" y="5732060"/>
                </a:lnTo>
                <a:lnTo>
                  <a:pt x="1650984" y="5732060"/>
                </a:lnTo>
                <a:lnTo>
                  <a:pt x="0" y="408333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72194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5515695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 userDrawn="1"/>
        </p:nvSpPr>
        <p:spPr>
          <a:xfrm rot="16200000">
            <a:off x="11244211" y="6115350"/>
            <a:ext cx="1697789" cy="106352"/>
          </a:xfrm>
          <a:prstGeom prst="rect">
            <a:avLst/>
          </a:prstGeom>
          <a:noFill/>
        </p:spPr>
        <p:txBody>
          <a:bodyPr wrap="square" lIns="0" tIns="33695" rIns="0" bIns="0" rtlCol="0">
            <a:spAutoFit/>
          </a:bodyPr>
          <a:lstStyle/>
          <a:p>
            <a:pPr marL="0" indent="0" algn="ctr">
              <a:lnSpc>
                <a:spcPct val="85000"/>
              </a:lnSpc>
              <a:spcAft>
                <a:spcPts val="553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de-DE" sz="553">
                <a:solidFill>
                  <a:schemeClr val="bg1"/>
                </a:solidFill>
              </a:rPr>
              <a:t>Workshop edition, release 12-2018</a:t>
            </a:r>
            <a:endParaRPr lang="en-US" sz="553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61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 userDrawn="1"/>
        </p:nvSpPr>
        <p:spPr>
          <a:xfrm rot="16200000">
            <a:off x="11244211" y="6115350"/>
            <a:ext cx="1697789" cy="106352"/>
          </a:xfrm>
          <a:prstGeom prst="rect">
            <a:avLst/>
          </a:prstGeom>
          <a:noFill/>
        </p:spPr>
        <p:txBody>
          <a:bodyPr wrap="square" lIns="0" tIns="33695" rIns="0" bIns="0" rtlCol="0">
            <a:spAutoFit/>
          </a:bodyPr>
          <a:lstStyle/>
          <a:p>
            <a:pPr marL="0" indent="0" algn="ctr">
              <a:lnSpc>
                <a:spcPct val="85000"/>
              </a:lnSpc>
              <a:spcAft>
                <a:spcPts val="553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de-DE" sz="553">
                <a:solidFill>
                  <a:schemeClr val="bg1"/>
                </a:solidFill>
              </a:rPr>
              <a:t>Workshop edition, release 12-2018</a:t>
            </a:r>
            <a:endParaRPr lang="en-US" sz="553">
              <a:solidFill>
                <a:schemeClr val="bg1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A278F64-7914-3B44-870B-A9E2D7EEA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2" y="201600"/>
            <a:ext cx="10972800" cy="737184"/>
          </a:xfrm>
        </p:spPr>
        <p:txBody>
          <a:bodyPr/>
          <a:lstStyle>
            <a:lvl1pPr>
              <a:defRPr sz="221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8635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custGeom>
            <a:avLst/>
            <a:gdLst>
              <a:gd name="connsiteX0" fmla="*/ 6870687 w 12192000"/>
              <a:gd name="connsiteY0" fmla="*/ 0 h 6858000"/>
              <a:gd name="connsiteX1" fmla="*/ 12192000 w 12192000"/>
              <a:gd name="connsiteY1" fmla="*/ 0 h 6858000"/>
              <a:gd name="connsiteX2" fmla="*/ 5321313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6870687" y="0"/>
                </a:moveTo>
                <a:lnTo>
                  <a:pt x="12192000" y="0"/>
                </a:lnTo>
                <a:lnTo>
                  <a:pt x="5321313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1518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75184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5308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0"/>
          </p:nvPr>
        </p:nvSpPr>
        <p:spPr>
          <a:xfrm>
            <a:off x="10331453" y="1612901"/>
            <a:ext cx="4079816" cy="1524000"/>
          </a:xfrm>
          <a:custGeom>
            <a:avLst/>
            <a:gdLst>
              <a:gd name="connsiteX0" fmla="*/ 1525478 w 4079816"/>
              <a:gd name="connsiteY0" fmla="*/ 0 h 1524000"/>
              <a:gd name="connsiteX1" fmla="*/ 4079816 w 4079816"/>
              <a:gd name="connsiteY1" fmla="*/ 0 h 1524000"/>
              <a:gd name="connsiteX2" fmla="*/ 2554338 w 4079816"/>
              <a:gd name="connsiteY2" fmla="*/ 1524000 h 1524000"/>
              <a:gd name="connsiteX3" fmla="*/ 0 w 4079816"/>
              <a:gd name="connsiteY3" fmla="*/ 1524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9816" h="1524000">
                <a:moveTo>
                  <a:pt x="1525478" y="0"/>
                </a:moveTo>
                <a:lnTo>
                  <a:pt x="4079816" y="0"/>
                </a:lnTo>
                <a:lnTo>
                  <a:pt x="2554338" y="1524000"/>
                </a:lnTo>
                <a:lnTo>
                  <a:pt x="0" y="152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1"/>
          </p:nvPr>
        </p:nvSpPr>
        <p:spPr>
          <a:xfrm>
            <a:off x="8718552" y="3225801"/>
            <a:ext cx="4079816" cy="1524000"/>
          </a:xfrm>
          <a:custGeom>
            <a:avLst/>
            <a:gdLst>
              <a:gd name="connsiteX0" fmla="*/ 1525478 w 4079816"/>
              <a:gd name="connsiteY0" fmla="*/ 0 h 1524000"/>
              <a:gd name="connsiteX1" fmla="*/ 4079816 w 4079816"/>
              <a:gd name="connsiteY1" fmla="*/ 0 h 1524000"/>
              <a:gd name="connsiteX2" fmla="*/ 2554338 w 4079816"/>
              <a:gd name="connsiteY2" fmla="*/ 1524000 h 1524000"/>
              <a:gd name="connsiteX3" fmla="*/ 0 w 4079816"/>
              <a:gd name="connsiteY3" fmla="*/ 1524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9816" h="1524000">
                <a:moveTo>
                  <a:pt x="1525478" y="0"/>
                </a:moveTo>
                <a:lnTo>
                  <a:pt x="4079816" y="0"/>
                </a:lnTo>
                <a:lnTo>
                  <a:pt x="2554338" y="1524000"/>
                </a:lnTo>
                <a:lnTo>
                  <a:pt x="0" y="152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7118353" y="4838701"/>
            <a:ext cx="4079816" cy="1524000"/>
          </a:xfrm>
          <a:custGeom>
            <a:avLst/>
            <a:gdLst>
              <a:gd name="connsiteX0" fmla="*/ 1525478 w 4079816"/>
              <a:gd name="connsiteY0" fmla="*/ 0 h 1524000"/>
              <a:gd name="connsiteX1" fmla="*/ 4079816 w 4079816"/>
              <a:gd name="connsiteY1" fmla="*/ 0 h 1524000"/>
              <a:gd name="connsiteX2" fmla="*/ 2554338 w 4079816"/>
              <a:gd name="connsiteY2" fmla="*/ 1524000 h 1524000"/>
              <a:gd name="connsiteX3" fmla="*/ 0 w 4079816"/>
              <a:gd name="connsiteY3" fmla="*/ 1524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9816" h="1524000">
                <a:moveTo>
                  <a:pt x="1525478" y="0"/>
                </a:moveTo>
                <a:lnTo>
                  <a:pt x="4079816" y="0"/>
                </a:lnTo>
                <a:lnTo>
                  <a:pt x="2554338" y="1524000"/>
                </a:lnTo>
                <a:lnTo>
                  <a:pt x="0" y="152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3"/>
          </p:nvPr>
        </p:nvSpPr>
        <p:spPr>
          <a:xfrm>
            <a:off x="7118353" y="2108201"/>
            <a:ext cx="4079816" cy="1524000"/>
          </a:xfrm>
          <a:custGeom>
            <a:avLst/>
            <a:gdLst>
              <a:gd name="connsiteX0" fmla="*/ 1525478 w 4079816"/>
              <a:gd name="connsiteY0" fmla="*/ 0 h 1524000"/>
              <a:gd name="connsiteX1" fmla="*/ 4079816 w 4079816"/>
              <a:gd name="connsiteY1" fmla="*/ 0 h 1524000"/>
              <a:gd name="connsiteX2" fmla="*/ 2554338 w 4079816"/>
              <a:gd name="connsiteY2" fmla="*/ 1524000 h 1524000"/>
              <a:gd name="connsiteX3" fmla="*/ 0 w 4079816"/>
              <a:gd name="connsiteY3" fmla="*/ 1524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9816" h="1524000">
                <a:moveTo>
                  <a:pt x="1525478" y="0"/>
                </a:moveTo>
                <a:lnTo>
                  <a:pt x="4079816" y="0"/>
                </a:lnTo>
                <a:lnTo>
                  <a:pt x="2554338" y="1524000"/>
                </a:lnTo>
                <a:lnTo>
                  <a:pt x="0" y="152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5556253" y="3721101"/>
            <a:ext cx="4079816" cy="1524000"/>
          </a:xfrm>
          <a:custGeom>
            <a:avLst/>
            <a:gdLst>
              <a:gd name="connsiteX0" fmla="*/ 1525478 w 4079816"/>
              <a:gd name="connsiteY0" fmla="*/ 0 h 1524000"/>
              <a:gd name="connsiteX1" fmla="*/ 4079816 w 4079816"/>
              <a:gd name="connsiteY1" fmla="*/ 0 h 1524000"/>
              <a:gd name="connsiteX2" fmla="*/ 2554338 w 4079816"/>
              <a:gd name="connsiteY2" fmla="*/ 1524000 h 1524000"/>
              <a:gd name="connsiteX3" fmla="*/ 0 w 4079816"/>
              <a:gd name="connsiteY3" fmla="*/ 1524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9816" h="1524000">
                <a:moveTo>
                  <a:pt x="1525478" y="0"/>
                </a:moveTo>
                <a:lnTo>
                  <a:pt x="4079816" y="0"/>
                </a:lnTo>
                <a:lnTo>
                  <a:pt x="2554338" y="1524000"/>
                </a:lnTo>
                <a:lnTo>
                  <a:pt x="0" y="152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5"/>
          </p:nvPr>
        </p:nvSpPr>
        <p:spPr>
          <a:xfrm>
            <a:off x="3956053" y="5334001"/>
            <a:ext cx="4079816" cy="1524000"/>
          </a:xfrm>
          <a:custGeom>
            <a:avLst/>
            <a:gdLst>
              <a:gd name="connsiteX0" fmla="*/ 1525478 w 4079816"/>
              <a:gd name="connsiteY0" fmla="*/ 0 h 1524000"/>
              <a:gd name="connsiteX1" fmla="*/ 4079816 w 4079816"/>
              <a:gd name="connsiteY1" fmla="*/ 0 h 1524000"/>
              <a:gd name="connsiteX2" fmla="*/ 2554338 w 4079816"/>
              <a:gd name="connsiteY2" fmla="*/ 1524000 h 1524000"/>
              <a:gd name="connsiteX3" fmla="*/ 0 w 4079816"/>
              <a:gd name="connsiteY3" fmla="*/ 1524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9816" h="1524000">
                <a:moveTo>
                  <a:pt x="1525478" y="0"/>
                </a:moveTo>
                <a:lnTo>
                  <a:pt x="4079816" y="0"/>
                </a:lnTo>
                <a:lnTo>
                  <a:pt x="2554338" y="1524000"/>
                </a:lnTo>
                <a:lnTo>
                  <a:pt x="0" y="152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1129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_ShapeSpecifi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308708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06" imgH="306" progId="TCLayout.ActiveDocument.1">
                  <p:embed/>
                </p:oleObj>
              </mc:Choice>
              <mc:Fallback>
                <p:oleObj name="think-cell Slide" r:id="rId26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4FB760-C3F0-4C80-87F0-278137ABAE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C4C4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kumimoji="0" lang="en-US" sz="2200" b="0" i="0" u="none" cap="none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Grid">
            <a:extLst>
              <a:ext uri="{FF2B5EF4-FFF2-40B4-BE49-F238E27FC236}">
                <a16:creationId xmlns:a16="http://schemas.microsoft.com/office/drawing/2014/main" id="{B446B261-5697-4B3A-865E-C6F538C8BB84}"/>
              </a:ext>
            </a:extLst>
          </p:cNvPr>
          <p:cNvSpPr/>
          <p:nvPr userDrawn="1"/>
        </p:nvSpPr>
        <p:spPr>
          <a:xfrm>
            <a:off x="603069" y="1327149"/>
            <a:ext cx="10974284" cy="4797425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3" tIns="71963" rIns="71963" bIns="71963" rtlCol="0" anchor="ctr" anchorCtr="0"/>
          <a:lstStyle/>
          <a:p>
            <a:pPr algn="l"/>
            <a:endParaRPr lang="en-US" sz="1100" err="1">
              <a:solidFill>
                <a:schemeClr val="bg1"/>
              </a:solidFill>
            </a:endParaRPr>
          </a:p>
        </p:txBody>
      </p:sp>
      <p:sp>
        <p:nvSpPr>
          <p:cNvPr id="9" name="SectionHeader" descr="Super Headline">
            <a:extLst>
              <a:ext uri="{FF2B5EF4-FFF2-40B4-BE49-F238E27FC236}">
                <a16:creationId xmlns:a16="http://schemas.microsoft.com/office/drawing/2014/main" id="{7F6122C7-2E42-4480-BF4F-8D630CA808BF}"/>
              </a:ext>
            </a:extLst>
          </p:cNvPr>
          <p:cNvSpPr txBox="1"/>
          <p:nvPr userDrawn="1"/>
        </p:nvSpPr>
        <p:spPr>
          <a:xfrm>
            <a:off x="603069" y="77800"/>
            <a:ext cx="1046216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1200">
                <a:solidFill>
                  <a:srgbClr val="747480"/>
                </a:solidFill>
                <a:latin typeface="EYInterstate Light" panose="02000506000000020004"/>
                <a:cs typeface="Arial" panose="020B0604020202020204" pitchFamily="34" charset="0"/>
              </a:rPr>
              <a:t>Section header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DEFA5F07-5E00-4E2B-85F7-2AD1F183B795}"/>
              </a:ext>
            </a:extLst>
          </p:cNvPr>
          <p:cNvSpPr/>
          <p:nvPr userDrawn="1"/>
        </p:nvSpPr>
        <p:spPr>
          <a:xfrm>
            <a:off x="603069" y="964570"/>
            <a:ext cx="1102933" cy="21531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defRPr/>
            </a:pPr>
            <a:r>
              <a:rPr lang="en-US" sz="1400" baseline="0">
                <a:solidFill>
                  <a:srgbClr val="2E2E38"/>
                </a:solidFill>
                <a:latin typeface="EYInterstate Light" panose="02000506000000020004"/>
                <a:cs typeface="Arial" panose="020B0604020202020204" pitchFamily="34" charset="0"/>
              </a:rPr>
              <a:t>Subtitle</a:t>
            </a:r>
            <a:r>
              <a:rPr lang="en-US" sz="1400">
                <a:solidFill>
                  <a:srgbClr val="2E2E38"/>
                </a:solidFill>
                <a:latin typeface="EYInterstate Light" panose="02000506000000020004"/>
                <a:cs typeface="Arial" panose="020B0604020202020204" pitchFamily="34" charset="0"/>
              </a:rPr>
              <a:t> (unit)</a:t>
            </a:r>
          </a:p>
        </p:txBody>
      </p:sp>
      <p:sp>
        <p:nvSpPr>
          <p:cNvPr id="13" name="SlideInfo">
            <a:extLst>
              <a:ext uri="{FF2B5EF4-FFF2-40B4-BE49-F238E27FC236}">
                <a16:creationId xmlns:a16="http://schemas.microsoft.com/office/drawing/2014/main" id="{E31C99E6-AEF7-44B4-A771-8B3283C9815A}"/>
              </a:ext>
            </a:extLst>
          </p:cNvPr>
          <p:cNvSpPr/>
          <p:nvPr userDrawn="1"/>
        </p:nvSpPr>
        <p:spPr>
          <a:xfrm>
            <a:off x="9533108" y="964570"/>
            <a:ext cx="2050777" cy="215315"/>
          </a:xfrm>
          <a:prstGeom prst="rect">
            <a:avLst/>
          </a:prstGeom>
          <a:noFill/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all" spc="0" normalizeH="0" baseline="0" noProof="0">
                <a:ln>
                  <a:noFill/>
                </a:ln>
                <a:solidFill>
                  <a:srgbClr val="747480"/>
                </a:solidFill>
                <a:effectLst/>
                <a:uLnTx/>
                <a:uFillTx/>
                <a:latin typeface="EYInterstate Light" panose="02000506000000020004"/>
                <a:ea typeface="+mn-ea"/>
                <a:cs typeface="+mn-cs"/>
              </a:rPr>
              <a:t>back-up | preliminary</a:t>
            </a:r>
          </a:p>
        </p:txBody>
      </p:sp>
      <p:sp>
        <p:nvSpPr>
          <p:cNvPr id="15" name="TrackerBounds">
            <a:extLst>
              <a:ext uri="{FF2B5EF4-FFF2-40B4-BE49-F238E27FC236}">
                <a16:creationId xmlns:a16="http://schemas.microsoft.com/office/drawing/2014/main" id="{12184C22-680D-4AF2-BB1B-FD2737ECE8A9}"/>
              </a:ext>
            </a:extLst>
          </p:cNvPr>
          <p:cNvSpPr/>
          <p:nvPr userDrawn="1"/>
        </p:nvSpPr>
        <p:spPr>
          <a:xfrm>
            <a:off x="9583957" y="129268"/>
            <a:ext cx="1998443" cy="710598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3" tIns="71963" rIns="71963" bIns="71963" rtlCol="0" anchor="ctr" anchorCtr="0"/>
          <a:lstStyle/>
          <a:p>
            <a:pPr algn="ctr"/>
            <a:endParaRPr lang="en-US" sz="1100">
              <a:solidFill>
                <a:schemeClr val="accent2"/>
              </a:solidFill>
            </a:endParaRPr>
          </a:p>
        </p:txBody>
      </p:sp>
      <p:sp>
        <p:nvSpPr>
          <p:cNvPr id="16" name="ChevronBounds">
            <a:extLst>
              <a:ext uri="{FF2B5EF4-FFF2-40B4-BE49-F238E27FC236}">
                <a16:creationId xmlns:a16="http://schemas.microsoft.com/office/drawing/2014/main" id="{1511A0AA-77B5-40AC-9C13-50BA9E5E7D00}"/>
              </a:ext>
            </a:extLst>
          </p:cNvPr>
          <p:cNvSpPr/>
          <p:nvPr userDrawn="1"/>
        </p:nvSpPr>
        <p:spPr>
          <a:xfrm>
            <a:off x="9583957" y="268567"/>
            <a:ext cx="1998443" cy="432000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3" tIns="71963" rIns="71963" bIns="71963" rtlCol="0" anchor="ctr" anchorCtr="0"/>
          <a:lstStyle/>
          <a:p>
            <a:pPr algn="ctr"/>
            <a:r>
              <a:rPr lang="en-US" sz="1100">
                <a:solidFill>
                  <a:schemeClr val="bg1"/>
                </a:solidFill>
                <a:latin typeface="EYInterstate Light" panose="02000506000000020004"/>
              </a:rPr>
              <a:t>Space for chevrons</a:t>
            </a:r>
          </a:p>
        </p:txBody>
      </p:sp>
      <p:sp>
        <p:nvSpPr>
          <p:cNvPr id="17" name="Footnote" descr="Footnote">
            <a:extLst>
              <a:ext uri="{FF2B5EF4-FFF2-40B4-BE49-F238E27FC236}">
                <a16:creationId xmlns:a16="http://schemas.microsoft.com/office/drawing/2014/main" id="{D1074E5C-601C-464E-8694-C182917CC12A}"/>
              </a:ext>
            </a:extLst>
          </p:cNvPr>
          <p:cNvSpPr txBox="1"/>
          <p:nvPr userDrawn="1"/>
        </p:nvSpPr>
        <p:spPr>
          <a:xfrm>
            <a:off x="609599" y="5870448"/>
            <a:ext cx="9980613" cy="404226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/>
          <a:p>
            <a:pPr marL="95202" indent="-95202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AutoNum type="arabicPeriod"/>
            </a:pPr>
            <a:r>
              <a:rPr lang="en-US" sz="800">
                <a:solidFill>
                  <a:srgbClr val="2E2E38"/>
                </a:solidFill>
                <a:latin typeface="EYInterstate Light" panose="02000506000000020004"/>
                <a:cs typeface="Arial" panose="020B0604020202020204" pitchFamily="34" charset="0"/>
              </a:rPr>
              <a:t>Footnote</a:t>
            </a:r>
          </a:p>
        </p:txBody>
      </p:sp>
      <p:grpSp>
        <p:nvGrpSpPr>
          <p:cNvPr id="19" name="NumberedTracker_Blue">
            <a:extLst>
              <a:ext uri="{FF2B5EF4-FFF2-40B4-BE49-F238E27FC236}">
                <a16:creationId xmlns:a16="http://schemas.microsoft.com/office/drawing/2014/main" id="{99781829-5581-4677-B5EC-F7C47520E773}"/>
              </a:ext>
            </a:extLst>
          </p:cNvPr>
          <p:cNvGrpSpPr/>
          <p:nvPr userDrawn="1"/>
        </p:nvGrpSpPr>
        <p:grpSpPr>
          <a:xfrm>
            <a:off x="6567064" y="3137343"/>
            <a:ext cx="2005555" cy="287384"/>
            <a:chOff x="7013159" y="2413792"/>
            <a:chExt cx="2006600" cy="287384"/>
          </a:xfrm>
        </p:grpSpPr>
        <p:sp>
          <p:nvSpPr>
            <p:cNvPr id="20" name="SelectedNumber">
              <a:extLst>
                <a:ext uri="{FF2B5EF4-FFF2-40B4-BE49-F238E27FC236}">
                  <a16:creationId xmlns:a16="http://schemas.microsoft.com/office/drawing/2014/main" id="{916BADF3-685D-4FA6-AFE0-CF21231E1D2F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013159" y="2413792"/>
              <a:ext cx="261620" cy="136800"/>
            </a:xfrm>
            <a:prstGeom prst="rect">
              <a:avLst/>
            </a:prstGeom>
            <a:solidFill>
              <a:srgbClr val="FFE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>
                  <a:solidFill>
                    <a:srgbClr val="2E2E38"/>
                  </a:solidFill>
                  <a:latin typeface="Arial" panose="020B0604020202020204" pitchFamily="34" charset="0"/>
                </a:rPr>
                <a:t>1</a:t>
              </a:r>
            </a:p>
          </p:txBody>
        </p:sp>
        <p:sp>
          <p:nvSpPr>
            <p:cNvPr id="21" name="Selected">
              <a:extLst>
                <a:ext uri="{FF2B5EF4-FFF2-40B4-BE49-F238E27FC236}">
                  <a16:creationId xmlns:a16="http://schemas.microsoft.com/office/drawing/2014/main" id="{1F6C7114-EF90-4545-BD13-8737C8905BE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287479" y="2413792"/>
              <a:ext cx="1732280" cy="136800"/>
            </a:xfrm>
            <a:prstGeom prst="rect">
              <a:avLst/>
            </a:prstGeom>
            <a:solidFill>
              <a:srgbClr val="FFE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>
                  <a:solidFill>
                    <a:srgbClr val="2E2E38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22" name="UnselectedNumber">
              <a:extLst>
                <a:ext uri="{FF2B5EF4-FFF2-40B4-BE49-F238E27FC236}">
                  <a16:creationId xmlns:a16="http://schemas.microsoft.com/office/drawing/2014/main" id="{E13BDA0B-2F16-4F2F-BD43-72C31A83C958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013159" y="2564376"/>
              <a:ext cx="261620" cy="136800"/>
            </a:xfrm>
            <a:prstGeom prst="rect">
              <a:avLst/>
            </a:prstGeom>
            <a:solidFill>
              <a:srgbClr val="E1E1E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>
                  <a:solidFill>
                    <a:srgbClr val="747480"/>
                  </a:solidFill>
                  <a:latin typeface="Arial" panose="020B0604020202020204" pitchFamily="34" charset="0"/>
                </a:rPr>
                <a:t>2</a:t>
              </a:r>
            </a:p>
          </p:txBody>
        </p:sp>
        <p:sp>
          <p:nvSpPr>
            <p:cNvPr id="23" name="Unselected">
              <a:extLst>
                <a:ext uri="{FF2B5EF4-FFF2-40B4-BE49-F238E27FC236}">
                  <a16:creationId xmlns:a16="http://schemas.microsoft.com/office/drawing/2014/main" id="{7115B848-59BC-456D-9830-D60A2CFBAA8F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287479" y="2564376"/>
              <a:ext cx="1732280" cy="136800"/>
            </a:xfrm>
            <a:prstGeom prst="rect">
              <a:avLst/>
            </a:prstGeom>
            <a:solidFill>
              <a:srgbClr val="E1E1E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24" name="NumberedTracker_Gray">
            <a:extLst>
              <a:ext uri="{FF2B5EF4-FFF2-40B4-BE49-F238E27FC236}">
                <a16:creationId xmlns:a16="http://schemas.microsoft.com/office/drawing/2014/main" id="{5F45E0CD-546C-4D0A-AAFE-34CFD62A8950}"/>
              </a:ext>
            </a:extLst>
          </p:cNvPr>
          <p:cNvGrpSpPr/>
          <p:nvPr userDrawn="1"/>
        </p:nvGrpSpPr>
        <p:grpSpPr>
          <a:xfrm>
            <a:off x="6567064" y="3636289"/>
            <a:ext cx="2005555" cy="285573"/>
            <a:chOff x="3812540" y="2712440"/>
            <a:chExt cx="2006600" cy="285573"/>
          </a:xfrm>
        </p:grpSpPr>
        <p:sp>
          <p:nvSpPr>
            <p:cNvPr id="25" name="SelectedNumber">
              <a:extLst>
                <a:ext uri="{FF2B5EF4-FFF2-40B4-BE49-F238E27FC236}">
                  <a16:creationId xmlns:a16="http://schemas.microsoft.com/office/drawing/2014/main" id="{00C31DA8-9593-4D39-B5D7-7DFDA80C1E03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3812540" y="2712440"/>
              <a:ext cx="261620" cy="136800"/>
            </a:xfrm>
            <a:prstGeom prst="rect">
              <a:avLst/>
            </a:prstGeom>
            <a:solidFill>
              <a:srgbClr val="8080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>
                  <a:solidFill>
                    <a:srgbClr val="FFFFFF"/>
                  </a:solidFill>
                  <a:latin typeface="Arial" panose="020B0604020202020204" pitchFamily="34" charset="0"/>
                </a:rPr>
                <a:t>1</a:t>
              </a:r>
            </a:p>
          </p:txBody>
        </p:sp>
        <p:sp>
          <p:nvSpPr>
            <p:cNvPr id="26" name="Selected">
              <a:extLst>
                <a:ext uri="{FF2B5EF4-FFF2-40B4-BE49-F238E27FC236}">
                  <a16:creationId xmlns:a16="http://schemas.microsoft.com/office/drawing/2014/main" id="{04FAC387-8731-481F-8C59-791390012D90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4086860" y="2712440"/>
              <a:ext cx="1732280" cy="136800"/>
            </a:xfrm>
            <a:prstGeom prst="rect">
              <a:avLst/>
            </a:prstGeom>
            <a:solidFill>
              <a:srgbClr val="8080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>
                  <a:solidFill>
                    <a:srgbClr val="FFFFFF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27" name="UnselectedNumber">
              <a:extLst>
                <a:ext uri="{FF2B5EF4-FFF2-40B4-BE49-F238E27FC236}">
                  <a16:creationId xmlns:a16="http://schemas.microsoft.com/office/drawing/2014/main" id="{27CCCAA5-11FF-46BA-88B4-815973A6D722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3812540" y="2861213"/>
              <a:ext cx="261620" cy="136800"/>
            </a:xfrm>
            <a:prstGeom prst="rect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>
                  <a:solidFill>
                    <a:srgbClr val="747480"/>
                  </a:solidFill>
                  <a:latin typeface="Arial" panose="020B0604020202020204" pitchFamily="34" charset="0"/>
                </a:rPr>
                <a:t>2</a:t>
              </a:r>
            </a:p>
          </p:txBody>
        </p:sp>
        <p:sp>
          <p:nvSpPr>
            <p:cNvPr id="28" name="Unselected">
              <a:extLst>
                <a:ext uri="{FF2B5EF4-FFF2-40B4-BE49-F238E27FC236}">
                  <a16:creationId xmlns:a16="http://schemas.microsoft.com/office/drawing/2014/main" id="{9F1702D7-A913-4A7B-9C44-37DE5ED5B52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4086860" y="2861213"/>
              <a:ext cx="1732280" cy="136800"/>
            </a:xfrm>
            <a:prstGeom prst="rect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29" name="TitleTracker_Blue">
            <a:extLst>
              <a:ext uri="{FF2B5EF4-FFF2-40B4-BE49-F238E27FC236}">
                <a16:creationId xmlns:a16="http://schemas.microsoft.com/office/drawing/2014/main" id="{682F2A3C-2576-46DE-9F71-5B6C076C8306}"/>
              </a:ext>
            </a:extLst>
          </p:cNvPr>
          <p:cNvGrpSpPr/>
          <p:nvPr userDrawn="1"/>
        </p:nvGrpSpPr>
        <p:grpSpPr>
          <a:xfrm>
            <a:off x="6567064" y="4094566"/>
            <a:ext cx="2005555" cy="287388"/>
            <a:chOff x="4850118" y="2906786"/>
            <a:chExt cx="2006600" cy="287388"/>
          </a:xfrm>
        </p:grpSpPr>
        <p:sp>
          <p:nvSpPr>
            <p:cNvPr id="30" name="Selected">
              <a:extLst>
                <a:ext uri="{FF2B5EF4-FFF2-40B4-BE49-F238E27FC236}">
                  <a16:creationId xmlns:a16="http://schemas.microsoft.com/office/drawing/2014/main" id="{0DC9DE7F-6D69-4097-BD2B-D58EB6C29A4F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850118" y="2906786"/>
              <a:ext cx="2006600" cy="136800"/>
            </a:xfrm>
            <a:prstGeom prst="rect">
              <a:avLst/>
            </a:prstGeom>
            <a:solidFill>
              <a:srgbClr val="FFE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>
                  <a:solidFill>
                    <a:srgbClr val="2E2E38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31" name="Unselected">
              <a:extLst>
                <a:ext uri="{FF2B5EF4-FFF2-40B4-BE49-F238E27FC236}">
                  <a16:creationId xmlns:a16="http://schemas.microsoft.com/office/drawing/2014/main" id="{22F64030-4FAF-460A-9492-5619BB2B7D23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850118" y="3057374"/>
              <a:ext cx="2006600" cy="136800"/>
            </a:xfrm>
            <a:prstGeom prst="rect">
              <a:avLst/>
            </a:prstGeom>
            <a:solidFill>
              <a:srgbClr val="E1E1E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32" name="TitleTracker_Gray">
            <a:extLst>
              <a:ext uri="{FF2B5EF4-FFF2-40B4-BE49-F238E27FC236}">
                <a16:creationId xmlns:a16="http://schemas.microsoft.com/office/drawing/2014/main" id="{47C66DF2-FEAB-4410-A0BF-4D5B20F977ED}"/>
              </a:ext>
            </a:extLst>
          </p:cNvPr>
          <p:cNvGrpSpPr/>
          <p:nvPr userDrawn="1"/>
        </p:nvGrpSpPr>
        <p:grpSpPr>
          <a:xfrm>
            <a:off x="6567064" y="4616781"/>
            <a:ext cx="2005555" cy="287387"/>
            <a:chOff x="4850118" y="3429000"/>
            <a:chExt cx="2006600" cy="287387"/>
          </a:xfrm>
        </p:grpSpPr>
        <p:sp>
          <p:nvSpPr>
            <p:cNvPr id="33" name="Selected">
              <a:extLst>
                <a:ext uri="{FF2B5EF4-FFF2-40B4-BE49-F238E27FC236}">
                  <a16:creationId xmlns:a16="http://schemas.microsoft.com/office/drawing/2014/main" id="{7B68979D-6940-47FD-8C8C-D066AA041DB6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850118" y="3429000"/>
              <a:ext cx="2006600" cy="136800"/>
            </a:xfrm>
            <a:prstGeom prst="rect">
              <a:avLst/>
            </a:prstGeom>
            <a:solidFill>
              <a:srgbClr val="8080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>
                  <a:solidFill>
                    <a:srgbClr val="FFFFFF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34" name="Unselected">
              <a:extLst>
                <a:ext uri="{FF2B5EF4-FFF2-40B4-BE49-F238E27FC236}">
                  <a16:creationId xmlns:a16="http://schemas.microsoft.com/office/drawing/2014/main" id="{0C5A4080-6082-467E-9CBC-B0F8BBB7348A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850118" y="3579587"/>
              <a:ext cx="2006600" cy="136800"/>
            </a:xfrm>
            <a:prstGeom prst="rect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35" name="ChevronTracker_Gray">
            <a:extLst>
              <a:ext uri="{FF2B5EF4-FFF2-40B4-BE49-F238E27FC236}">
                <a16:creationId xmlns:a16="http://schemas.microsoft.com/office/drawing/2014/main" id="{4BF3D363-3367-4601-AA4B-19C009108674}"/>
              </a:ext>
            </a:extLst>
          </p:cNvPr>
          <p:cNvGrpSpPr/>
          <p:nvPr userDrawn="1"/>
        </p:nvGrpSpPr>
        <p:grpSpPr>
          <a:xfrm>
            <a:off x="8217205" y="5176279"/>
            <a:ext cx="1366753" cy="457200"/>
            <a:chOff x="4850118" y="4055611"/>
            <a:chExt cx="1367465" cy="457200"/>
          </a:xfrm>
        </p:grpSpPr>
        <p:sp>
          <p:nvSpPr>
            <p:cNvPr id="36" name="Selected">
              <a:extLst>
                <a:ext uri="{FF2B5EF4-FFF2-40B4-BE49-F238E27FC236}">
                  <a16:creationId xmlns:a16="http://schemas.microsoft.com/office/drawing/2014/main" id="{94F722C3-DE19-4208-BD66-291D9CBC026B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4850118" y="4055611"/>
              <a:ext cx="711200" cy="457200"/>
            </a:xfrm>
            <a:prstGeom prst="homePlate">
              <a:avLst>
                <a:gd name="adj" fmla="val 14821"/>
              </a:avLst>
            </a:prstGeom>
            <a:solidFill>
              <a:srgbClr val="80808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 eaLnBrk="0"/>
              <a:r>
                <a:rPr lang="en-US" sz="900" b="1">
                  <a:solidFill>
                    <a:srgbClr val="FFFFFF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37" name="Unselected">
              <a:extLst>
                <a:ext uri="{FF2B5EF4-FFF2-40B4-BE49-F238E27FC236}">
                  <a16:creationId xmlns:a16="http://schemas.microsoft.com/office/drawing/2014/main" id="{2FF187ED-0297-4D59-BE42-ADD836FA9CCA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5517465" y="4055611"/>
              <a:ext cx="700118" cy="457200"/>
            </a:xfrm>
            <a:prstGeom prst="chevron">
              <a:avLst>
                <a:gd name="adj" fmla="val 14881"/>
              </a:avLst>
            </a:prstGeom>
            <a:solidFill>
              <a:srgbClr val="D9D9D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 eaLnBrk="0"/>
              <a:r>
                <a:rPr lang="en-US" sz="90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38" name="ChevronTracker_Blue">
            <a:extLst>
              <a:ext uri="{FF2B5EF4-FFF2-40B4-BE49-F238E27FC236}">
                <a16:creationId xmlns:a16="http://schemas.microsoft.com/office/drawing/2014/main" id="{AA2082D3-6CAB-44C2-8A5A-E96A69D49A30}"/>
              </a:ext>
            </a:extLst>
          </p:cNvPr>
          <p:cNvGrpSpPr/>
          <p:nvPr userDrawn="1"/>
        </p:nvGrpSpPr>
        <p:grpSpPr>
          <a:xfrm>
            <a:off x="6567065" y="5176279"/>
            <a:ext cx="1349631" cy="457200"/>
            <a:chOff x="4850119" y="3988499"/>
            <a:chExt cx="1350334" cy="457200"/>
          </a:xfrm>
        </p:grpSpPr>
        <p:sp>
          <p:nvSpPr>
            <p:cNvPr id="39" name="Selected">
              <a:extLst>
                <a:ext uri="{FF2B5EF4-FFF2-40B4-BE49-F238E27FC236}">
                  <a16:creationId xmlns:a16="http://schemas.microsoft.com/office/drawing/2014/main" id="{4FE9BE2F-D6E2-4CE5-A6C8-BDDA4D4F0B6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850119" y="3988499"/>
              <a:ext cx="670522" cy="457200"/>
            </a:xfrm>
            <a:prstGeom prst="homePlate">
              <a:avLst>
                <a:gd name="adj" fmla="val 14107"/>
              </a:avLst>
            </a:prstGeom>
            <a:solidFill>
              <a:srgbClr val="FFE6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 eaLnBrk="0"/>
              <a:r>
                <a:rPr lang="en-US" sz="900" b="1">
                  <a:solidFill>
                    <a:srgbClr val="2E2E38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40" name="Unselected">
              <a:extLst>
                <a:ext uri="{FF2B5EF4-FFF2-40B4-BE49-F238E27FC236}">
                  <a16:creationId xmlns:a16="http://schemas.microsoft.com/office/drawing/2014/main" id="{6FF67708-B5EC-4325-BB88-D8C6A9B3F59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489253" y="3988499"/>
              <a:ext cx="711200" cy="457200"/>
            </a:xfrm>
            <a:prstGeom prst="chevron">
              <a:avLst>
                <a:gd name="adj" fmla="val 14464"/>
              </a:avLst>
            </a:prstGeom>
            <a:solidFill>
              <a:srgbClr val="E1E1E6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 eaLnBrk="0"/>
              <a:r>
                <a:rPr lang="en-US" sz="90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44" name="Flag">
            <a:extLst>
              <a:ext uri="{FF2B5EF4-FFF2-40B4-BE49-F238E27FC236}">
                <a16:creationId xmlns:a16="http://schemas.microsoft.com/office/drawing/2014/main" id="{893A5313-43EA-4118-8CFD-1A5820BD9870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11259853" y="45720"/>
            <a:ext cx="329013" cy="218458"/>
            <a:chOff x="1" y="749"/>
            <a:chExt cx="458953" cy="327687"/>
          </a:xfrm>
        </p:grpSpPr>
        <p:sp>
          <p:nvSpPr>
            <p:cNvPr id="45" name="imageBackground_637277204436084394">
              <a:extLst>
                <a:ext uri="{FF2B5EF4-FFF2-40B4-BE49-F238E27FC236}">
                  <a16:creationId xmlns:a16="http://schemas.microsoft.com/office/drawing/2014/main" id="{FDDAEF19-AA89-4320-9C58-A5702DA78E2A}"/>
                </a:ext>
              </a:extLst>
            </p:cNvPr>
            <p:cNvSpPr/>
            <p:nvPr/>
          </p:nvSpPr>
          <p:spPr>
            <a:xfrm>
              <a:off x="2" y="749"/>
              <a:ext cx="458952" cy="327687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pic>
          <p:nvPicPr>
            <p:cNvPr id="46" name="image_637277204436084394">
              <a:extLst>
                <a:ext uri="{FF2B5EF4-FFF2-40B4-BE49-F238E27FC236}">
                  <a16:creationId xmlns:a16="http://schemas.microsoft.com/office/drawing/2014/main" id="{232F366D-A54C-460C-9F48-D6AA39CADBB9}"/>
                </a:ext>
              </a:extLst>
            </p:cNvPr>
            <p:cNvPicPr>
              <a:picLocks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" y="749"/>
              <a:ext cx="458952" cy="327687"/>
            </a:xfrm>
            <a:prstGeom prst="rect">
              <a:avLst/>
            </a:prstGeom>
          </p:spPr>
        </p:pic>
      </p:grpSp>
      <p:sp>
        <p:nvSpPr>
          <p:cNvPr id="47" name="ST_Bubble">
            <a:extLst>
              <a:ext uri="{FF2B5EF4-FFF2-40B4-BE49-F238E27FC236}">
                <a16:creationId xmlns:a16="http://schemas.microsoft.com/office/drawing/2014/main" id="{44C6E1A7-0002-4D03-A0A7-771B3A536E20}"/>
              </a:ext>
            </a:extLst>
          </p:cNvPr>
          <p:cNvSpPr/>
          <p:nvPr userDrawn="1"/>
        </p:nvSpPr>
        <p:spPr>
          <a:xfrm>
            <a:off x="609284" y="949989"/>
            <a:ext cx="249078" cy="249208"/>
          </a:xfrm>
          <a:prstGeom prst="ellipse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 defTabSz="913486"/>
            <a:r>
              <a:rPr lang="en-US" sz="1400" b="1">
                <a:solidFill>
                  <a:srgbClr val="2E2E38"/>
                </a:solidFill>
                <a:latin typeface="EYInterstate Light" panose="02000506000000020004"/>
              </a:rPr>
              <a:t>1</a:t>
            </a:r>
          </a:p>
        </p:txBody>
      </p:sp>
      <p:sp>
        <p:nvSpPr>
          <p:cNvPr id="48" name="PhoneMeQuote">
            <a:extLst>
              <a:ext uri="{FF2B5EF4-FFF2-40B4-BE49-F238E27FC236}">
                <a16:creationId xmlns:a16="http://schemas.microsoft.com/office/drawing/2014/main" id="{8C074EB3-5EDC-457C-9B5B-108C01B4AF9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81302" y="5633480"/>
            <a:ext cx="4761942" cy="5632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266567" marR="0" lvl="0" indent="-266567" algn="l" defTabSz="913943" rtl="0" eaLnBrk="1" fontAlgn="auto" latinLnBrk="0" hangingPunct="1">
              <a:lnSpc>
                <a:spcPct val="95000"/>
              </a:lnSpc>
              <a:spcBef>
                <a:spcPct val="50000"/>
              </a:spcBef>
              <a:buClr>
                <a:srgbClr val="1A9AFA"/>
              </a:buClr>
              <a:buSzPct val="160000"/>
              <a:buFontTx/>
              <a:buBlip>
                <a:blip r:embed="rId29"/>
              </a:buBlip>
              <a:tabLst/>
              <a:defRPr/>
            </a:pPr>
            <a:r>
              <a:rPr kumimoji="0" lang="en-US" altLang="de-DE" sz="1200" strike="noStrike" kern="1200" cap="none" spc="0" normalizeH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/>
                <a:ea typeface="+mn-ea"/>
                <a:cs typeface="+mn-cs"/>
              </a:rPr>
              <a:t>quote text quote text quote text quote text quote text quote text.”</a:t>
            </a:r>
          </a:p>
          <a:p>
            <a:pPr marL="266567" marR="0" lvl="0" algn="l" defTabSz="913943" rtl="0" eaLnBrk="1" fontAlgn="auto" latinLnBrk="0" hangingPunct="1">
              <a:lnSpc>
                <a:spcPct val="95000"/>
              </a:lnSpc>
              <a:spcBef>
                <a:spcPct val="20000"/>
              </a:spcBef>
              <a:buClr>
                <a:srgbClr val="1A9AFA"/>
              </a:buClr>
              <a:buSzPct val="160000"/>
              <a:tabLst/>
              <a:defRPr/>
            </a:pPr>
            <a:r>
              <a:rPr lang="en-US" altLang="de-DE" sz="1200">
                <a:solidFill>
                  <a:srgbClr val="2E2E38"/>
                </a:solidFill>
                <a:latin typeface="EYInterstate Light" panose="02000506000000020004"/>
              </a:rPr>
              <a:t>Attribute / name + company (2pt less than quote itself)</a:t>
            </a:r>
          </a:p>
        </p:txBody>
      </p:sp>
      <p:graphicFrame>
        <p:nvGraphicFramePr>
          <p:cNvPr id="51" name="Table">
            <a:extLst>
              <a:ext uri="{FF2B5EF4-FFF2-40B4-BE49-F238E27FC236}">
                <a16:creationId xmlns:a16="http://schemas.microsoft.com/office/drawing/2014/main" id="{3D32BE88-D1F7-4223-813C-0F0DC9CF768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966463237"/>
              </p:ext>
            </p:extLst>
          </p:nvPr>
        </p:nvGraphicFramePr>
        <p:xfrm>
          <a:off x="1351847" y="2076951"/>
          <a:ext cx="4588304" cy="2349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9626">
                  <a:extLst>
                    <a:ext uri="{9D8B030D-6E8A-4147-A177-3AD203B41FA5}">
                      <a16:colId xmlns:a16="http://schemas.microsoft.com/office/drawing/2014/main" val="1000314679"/>
                    </a:ext>
                  </a:extLst>
                </a:gridCol>
                <a:gridCol w="1594339">
                  <a:extLst>
                    <a:ext uri="{9D8B030D-6E8A-4147-A177-3AD203B41FA5}">
                      <a16:colId xmlns:a16="http://schemas.microsoft.com/office/drawing/2014/main" val="587981265"/>
                    </a:ext>
                  </a:extLst>
                </a:gridCol>
                <a:gridCol w="1594339">
                  <a:extLst>
                    <a:ext uri="{9D8B030D-6E8A-4147-A177-3AD203B41FA5}">
                      <a16:colId xmlns:a16="http://schemas.microsoft.com/office/drawing/2014/main" val="4248580404"/>
                    </a:ext>
                  </a:extLst>
                </a:gridCol>
              </a:tblGrid>
              <a:tr h="237744">
                <a:tc>
                  <a:txBody>
                    <a:bodyPr/>
                    <a:lstStyle/>
                    <a:p>
                      <a:pPr marL="108000" indent="-108000" algn="ctr">
                        <a:buClr>
                          <a:srgbClr val="1A9AFA"/>
                        </a:buClr>
                        <a:buSzPct val="75000"/>
                        <a:buFontTx/>
                        <a:buNone/>
                      </a:pPr>
                      <a:r>
                        <a:rPr lang="en-US" sz="1200" b="0">
                          <a:solidFill>
                            <a:srgbClr val="2E2E38"/>
                          </a:solidFill>
                          <a:latin typeface="EYInterstate Light" panose="02000506000000020004"/>
                        </a:rPr>
                        <a:t>Column header</a:t>
                      </a:r>
                    </a:p>
                  </a:txBody>
                  <a:tcPr marL="71935" marR="71935" marT="0" marB="0" anchor="ctr">
                    <a:lnL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C4CD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A9AFA"/>
                        </a:buClr>
                        <a:buSzPct val="75000"/>
                        <a:buFontTx/>
                        <a:buNone/>
                        <a:tabLst/>
                        <a:defRPr/>
                      </a:pPr>
                      <a:r>
                        <a:rPr lang="en-US" sz="1200" b="0">
                          <a:solidFill>
                            <a:srgbClr val="2E2E38"/>
                          </a:solidFill>
                          <a:latin typeface="+mn-lt"/>
                        </a:rPr>
                        <a:t>Column header</a:t>
                      </a:r>
                    </a:p>
                  </a:txBody>
                  <a:tcPr marL="71935" marR="71935" marT="0" marB="0" anchor="ctr">
                    <a:lnL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C4CD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A9AFA"/>
                        </a:buClr>
                        <a:buSzPct val="75000"/>
                        <a:buFontTx/>
                        <a:buNone/>
                        <a:tabLst/>
                        <a:defRPr/>
                      </a:pPr>
                      <a:r>
                        <a:rPr lang="en-US" sz="1200" b="0">
                          <a:solidFill>
                            <a:srgbClr val="2E2E38"/>
                          </a:solidFill>
                          <a:latin typeface="+mn-lt"/>
                        </a:rPr>
                        <a:t>Column header</a:t>
                      </a:r>
                    </a:p>
                  </a:txBody>
                  <a:tcPr marL="71935" marR="71935" marT="0" marB="0" anchor="ctr">
                    <a:lnL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C4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655119"/>
                  </a:ext>
                </a:extLst>
              </a:tr>
              <a:tr h="1055878">
                <a:tc>
                  <a:txBody>
                    <a:bodyPr/>
                    <a:lstStyle/>
                    <a:p>
                      <a:pPr marL="90000" indent="-90000" algn="l">
                        <a:buClr>
                          <a:srgbClr val="1A9AFA"/>
                        </a:buClr>
                        <a:buSzPct val="75000"/>
                        <a:buFontTx/>
                        <a:buNone/>
                      </a:pPr>
                      <a:r>
                        <a:rPr lang="en-US" sz="1200" b="0">
                          <a:solidFill>
                            <a:srgbClr val="2E2E38"/>
                          </a:solidFill>
                          <a:latin typeface="EYInterstate Light" panose="02000506000000020004"/>
                        </a:rPr>
                        <a:t>Row header</a:t>
                      </a:r>
                    </a:p>
                  </a:txBody>
                  <a:tcPr marL="71935" marR="71935" marT="0" marB="0" anchor="ctr">
                    <a:lnL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600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buClrTx/>
                        <a:buSzPct val="75000"/>
                        <a:buFont typeface="Wingdings 3" panose="05040102010807070707" pitchFamily="18" charset="2"/>
                        <a:buChar char=""/>
                      </a:pPr>
                      <a:endParaRPr lang="en-US" sz="1200" b="0">
                        <a:solidFill>
                          <a:srgbClr val="2E2E38"/>
                        </a:solidFill>
                        <a:latin typeface="EYInterstate Light" panose="02000506000000020004"/>
                      </a:endParaRPr>
                    </a:p>
                  </a:txBody>
                  <a:tcPr marL="71935" marR="71935" marT="0" marB="0" anchor="ctr">
                    <a:lnL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buClrTx/>
                        <a:buSzPct val="75000"/>
                        <a:buFont typeface="Wingdings 3" panose="05040102010807070707" pitchFamily="18" charset="2"/>
                        <a:buChar char=""/>
                      </a:pPr>
                      <a:endParaRPr lang="en-US" sz="1200" b="0">
                        <a:solidFill>
                          <a:srgbClr val="2E2E38"/>
                        </a:solidFill>
                        <a:latin typeface="EYInterstate Light" panose="02000506000000020004"/>
                      </a:endParaRPr>
                    </a:p>
                  </a:txBody>
                  <a:tcPr marL="71935" marR="71935" marT="0" marB="0" anchor="ctr">
                    <a:lnL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429890"/>
                  </a:ext>
                </a:extLst>
              </a:tr>
              <a:tr h="1055878">
                <a:tc>
                  <a:txBody>
                    <a:bodyPr/>
                    <a:lstStyle/>
                    <a:p>
                      <a:pPr marL="90000" indent="-90000" algn="l">
                        <a:buClr>
                          <a:srgbClr val="1A9AFA"/>
                        </a:buClr>
                        <a:buSzPct val="75000"/>
                        <a:buFontTx/>
                        <a:buNone/>
                      </a:pPr>
                      <a:r>
                        <a:rPr lang="en-US" sz="1200" b="0">
                          <a:solidFill>
                            <a:srgbClr val="2E2E38"/>
                          </a:solidFill>
                          <a:latin typeface="+mn-lt"/>
                        </a:rPr>
                        <a:t>Row header</a:t>
                      </a:r>
                      <a:endParaRPr lang="en-US" sz="1200" b="0">
                        <a:solidFill>
                          <a:srgbClr val="2E2E38"/>
                        </a:solidFill>
                        <a:latin typeface="EYInterstate Light" panose="02000506000000020004"/>
                      </a:endParaRPr>
                    </a:p>
                  </a:txBody>
                  <a:tcPr marL="71935" marR="71935" marT="0" marB="0" anchor="ctr">
                    <a:lnL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600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buClrTx/>
                        <a:buSzPct val="75000"/>
                        <a:buFont typeface="Wingdings 3" panose="05040102010807070707" pitchFamily="18" charset="2"/>
                        <a:buChar char=""/>
                      </a:pPr>
                      <a:endParaRPr lang="en-US" sz="1200" b="0">
                        <a:solidFill>
                          <a:srgbClr val="2E2E38"/>
                        </a:solidFill>
                        <a:latin typeface="EYInterstate Light" panose="02000506000000020004"/>
                      </a:endParaRPr>
                    </a:p>
                  </a:txBody>
                  <a:tcPr marL="71935" marR="71935" marT="0" marB="0" anchor="ctr">
                    <a:lnL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buClrTx/>
                        <a:buSzPct val="75000"/>
                        <a:buFont typeface="Wingdings 3" panose="05040102010807070707" pitchFamily="18" charset="2"/>
                        <a:buChar char=""/>
                      </a:pPr>
                      <a:endParaRPr lang="en-US" sz="1200" b="0">
                        <a:solidFill>
                          <a:srgbClr val="2E2E38"/>
                        </a:solidFill>
                        <a:latin typeface="EYInterstate Light" panose="02000506000000020004"/>
                      </a:endParaRPr>
                    </a:p>
                  </a:txBody>
                  <a:tcPr marL="71935" marR="71935" marT="0" marB="0" anchor="ctr">
                    <a:lnL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474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924294"/>
                  </a:ext>
                </a:extLst>
              </a:tr>
            </a:tbl>
          </a:graphicData>
        </a:graphic>
      </p:graphicFrame>
      <p:sp>
        <p:nvSpPr>
          <p:cNvPr id="53" name="Source" descr="Source">
            <a:extLst>
              <a:ext uri="{FF2B5EF4-FFF2-40B4-BE49-F238E27FC236}">
                <a16:creationId xmlns:a16="http://schemas.microsoft.com/office/drawing/2014/main" id="{71C30B41-9AC8-4F53-BDAC-B5447C2693FB}"/>
              </a:ext>
            </a:extLst>
          </p:cNvPr>
          <p:cNvSpPr txBox="1"/>
          <p:nvPr userDrawn="1"/>
        </p:nvSpPr>
        <p:spPr>
          <a:xfrm>
            <a:off x="609283" y="6309360"/>
            <a:ext cx="989625" cy="1046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800">
                <a:solidFill>
                  <a:srgbClr val="2E2E38"/>
                </a:solidFill>
                <a:latin typeface="EYInterstate Light" panose="02000506000000020004"/>
                <a:cs typeface="Arial" panose="020B0604020202020204" pitchFamily="34" charset="0"/>
              </a:rPr>
              <a:t>Source: xxx; </a:t>
            </a:r>
            <a:r>
              <a:rPr lang="en-US" sz="800" err="1">
                <a:solidFill>
                  <a:srgbClr val="2E2E38"/>
                </a:solidFill>
                <a:latin typeface="EYInterstate Light" panose="02000506000000020004"/>
                <a:cs typeface="Arial" panose="020B0604020202020204" pitchFamily="34" charset="0"/>
              </a:rPr>
              <a:t>yyy</a:t>
            </a:r>
            <a:r>
              <a:rPr lang="en-US" sz="800">
                <a:solidFill>
                  <a:srgbClr val="2E2E38"/>
                </a:solidFill>
                <a:latin typeface="EYInterstate Light" panose="02000506000000020004"/>
                <a:cs typeface="Arial" panose="020B0604020202020204" pitchFamily="34" charset="0"/>
              </a:rPr>
              <a:t>; </a:t>
            </a:r>
            <a:r>
              <a:rPr lang="en-US" sz="800" err="1">
                <a:solidFill>
                  <a:srgbClr val="2E2E38"/>
                </a:solidFill>
                <a:latin typeface="EYInterstate Light" panose="02000506000000020004"/>
                <a:cs typeface="Arial" panose="020B0604020202020204" pitchFamily="34" charset="0"/>
              </a:rPr>
              <a:t>zzz</a:t>
            </a:r>
            <a:endParaRPr lang="en-US" sz="800">
              <a:solidFill>
                <a:srgbClr val="2E2E38"/>
              </a:solidFill>
              <a:latin typeface="EYInterstate Light" panose="02000506000000020004"/>
              <a:cs typeface="Arial" panose="020B0604020202020204" pitchFamily="34" charset="0"/>
            </a:endParaRPr>
          </a:p>
        </p:txBody>
      </p:sp>
      <p:sp>
        <p:nvSpPr>
          <p:cNvPr id="54" name="TitleTextBox">
            <a:extLst>
              <a:ext uri="{FF2B5EF4-FFF2-40B4-BE49-F238E27FC236}">
                <a16:creationId xmlns:a16="http://schemas.microsoft.com/office/drawing/2014/main" id="{6B154346-90EC-41D0-AC44-4C5E5DDD224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2010" y="1723150"/>
            <a:ext cx="3535045" cy="439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25874" indent="-125874">
              <a:spcBef>
                <a:spcPct val="20000"/>
              </a:spcBef>
              <a:buSzPct val="75000"/>
              <a:buFont typeface="Wingdings 3" panose="05040102010807070707" pitchFamily="18" charset="2"/>
              <a:buChar char=""/>
            </a:pPr>
            <a:endParaRPr lang="en-US" altLang="de-DE" sz="120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marL="266567" lvl="1" indent="-114243">
              <a:spcBef>
                <a:spcPct val="20000"/>
              </a:spcBef>
              <a:buSzPct val="75000"/>
              <a:buFont typeface="Arial" panose="020B0604020202020204" pitchFamily="34" charset="0"/>
              <a:buChar char="–"/>
            </a:pPr>
            <a:endParaRPr lang="en-US" altLang="de-DE" sz="120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marL="380810" lvl="2" indent="-114243">
              <a:spcBef>
                <a:spcPct val="20000"/>
              </a:spcBef>
              <a:buSzPct val="75000"/>
              <a:buFont typeface="Wingdings 2" panose="05020102010507070707" pitchFamily="18" charset="2"/>
              <a:buChar char=""/>
            </a:pPr>
            <a:endParaRPr lang="en-US" altLang="de-DE" sz="12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42" name="SurveyTitle">
            <a:extLst>
              <a:ext uri="{FF2B5EF4-FFF2-40B4-BE49-F238E27FC236}">
                <a16:creationId xmlns:a16="http://schemas.microsoft.com/office/drawing/2014/main" id="{F3A01338-AB22-4A82-B480-52A7A0CAA8A0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6181865" y="2076952"/>
            <a:ext cx="5242495" cy="696909"/>
            <a:chOff x="609600" y="1340286"/>
            <a:chExt cx="5245225" cy="696909"/>
          </a:xfrm>
        </p:grpSpPr>
        <p:sp>
          <p:nvSpPr>
            <p:cNvPr id="43" name="Arrow: Left-Right 42">
              <a:extLst>
                <a:ext uri="{FF2B5EF4-FFF2-40B4-BE49-F238E27FC236}">
                  <a16:creationId xmlns:a16="http://schemas.microsoft.com/office/drawing/2014/main" id="{8041AD3A-D5C7-403A-9F06-D079AF037D0A}"/>
                </a:ext>
              </a:extLst>
            </p:cNvPr>
            <p:cNvSpPr/>
            <p:nvPr/>
          </p:nvSpPr>
          <p:spPr>
            <a:xfrm>
              <a:off x="613566" y="1340286"/>
              <a:ext cx="5237292" cy="288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0" tIns="0" rIns="0" bIns="71963" rtlCol="0" anchor="t" anchorCtr="0">
              <a:spAutoFit/>
            </a:bodyPr>
            <a:lstStyle/>
            <a:p>
              <a:pPr algn="ctr"/>
              <a:r>
                <a:rPr lang="en-US" sz="1400" b="1">
                  <a:solidFill>
                    <a:srgbClr val="2E2E38"/>
                  </a:solidFill>
                  <a:latin typeface="EYInterstate Light" panose="02000506000000020004"/>
                </a:rPr>
                <a:t>Survey title</a:t>
              </a: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93B2F310-C205-4AA4-A87F-EDDEF75FEEE0}"/>
                </a:ext>
              </a:extLst>
            </p:cNvPr>
            <p:cNvSpPr/>
            <p:nvPr/>
          </p:nvSpPr>
          <p:spPr>
            <a:xfrm>
              <a:off x="609600" y="1596738"/>
              <a:ext cx="5245225" cy="440457"/>
            </a:xfrm>
            <a:prstGeom prst="roundRect">
              <a:avLst/>
            </a:prstGeom>
            <a:noFill/>
            <a:ln w="9525">
              <a:solidFill>
                <a:srgbClr val="7474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0" tIns="0" rIns="72000" bIns="0" rtlCol="0" anchor="ctr" anchorCtr="0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200">
                  <a:solidFill>
                    <a:srgbClr val="2E2E38"/>
                  </a:solidFill>
                  <a:latin typeface="EYInterstate Light" panose="02000506000000020004"/>
                  <a:cs typeface="Arial" panose="020B0604020202020204" pitchFamily="34" charset="0"/>
                </a:rPr>
                <a:t>“Question?”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F7FB0F84-D0D4-4708-9631-8BAD6D142D05}"/>
                </a:ext>
              </a:extLst>
            </p:cNvPr>
            <p:cNvGrpSpPr/>
            <p:nvPr/>
          </p:nvGrpSpPr>
          <p:grpSpPr>
            <a:xfrm>
              <a:off x="702035" y="1667460"/>
              <a:ext cx="299012" cy="299012"/>
              <a:chOff x="4894822" y="5127044"/>
              <a:chExt cx="192186" cy="192186"/>
            </a:xfrm>
          </p:grpSpPr>
          <p:sp>
            <p:nvSpPr>
              <p:cNvPr id="55" name="VectorBackground">
                <a:extLst>
                  <a:ext uri="{FF2B5EF4-FFF2-40B4-BE49-F238E27FC236}">
                    <a16:creationId xmlns:a16="http://schemas.microsoft.com/office/drawing/2014/main" id="{B85B6937-BC27-4739-8E6A-CB9D3BE62548}"/>
                  </a:ext>
                </a:extLst>
              </p:cNvPr>
              <p:cNvSpPr/>
              <p:nvPr/>
            </p:nvSpPr>
            <p:spPr>
              <a:xfrm>
                <a:off x="4894822" y="5127044"/>
                <a:ext cx="192186" cy="192186"/>
              </a:xfrm>
              <a:prstGeom prst="ellipse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endParaRPr lang="de-DE" sz="12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56" name="Gruppieren 260">
                <a:extLst>
                  <a:ext uri="{FF2B5EF4-FFF2-40B4-BE49-F238E27FC236}">
                    <a16:creationId xmlns:a16="http://schemas.microsoft.com/office/drawing/2014/main" id="{3BF07039-BDDB-492B-81D5-C78EDA60EAED}"/>
                  </a:ext>
                </a:extLst>
              </p:cNvPr>
              <p:cNvGrpSpPr/>
              <p:nvPr/>
            </p:nvGrpSpPr>
            <p:grpSpPr>
              <a:xfrm>
                <a:off x="4953528" y="5138109"/>
                <a:ext cx="91539" cy="159572"/>
                <a:chOff x="6815138" y="2216943"/>
                <a:chExt cx="208034" cy="362646"/>
              </a:xfrm>
            </p:grpSpPr>
            <p:sp>
              <p:nvSpPr>
                <p:cNvPr id="57" name="VectorShape">
                  <a:extLst>
                    <a:ext uri="{FF2B5EF4-FFF2-40B4-BE49-F238E27FC236}">
                      <a16:creationId xmlns:a16="http://schemas.microsoft.com/office/drawing/2014/main" id="{C1DD42F3-42F8-44FD-B28A-07254769F8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5138" y="2216943"/>
                  <a:ext cx="208034" cy="258391"/>
                </a:xfrm>
                <a:custGeom>
                  <a:avLst/>
                  <a:gdLst>
                    <a:gd name="T0" fmla="*/ 4 w 91"/>
                    <a:gd name="T1" fmla="*/ 33 h 115"/>
                    <a:gd name="T2" fmla="*/ 10 w 91"/>
                    <a:gd name="T3" fmla="*/ 21 h 115"/>
                    <a:gd name="T4" fmla="*/ 79 w 91"/>
                    <a:gd name="T5" fmla="*/ 32 h 115"/>
                    <a:gd name="T6" fmla="*/ 73 w 91"/>
                    <a:gd name="T7" fmla="*/ 74 h 115"/>
                    <a:gd name="T8" fmla="*/ 45 w 91"/>
                    <a:gd name="T9" fmla="*/ 107 h 115"/>
                    <a:gd name="T10" fmla="*/ 36 w 91"/>
                    <a:gd name="T11" fmla="*/ 114 h 115"/>
                    <a:gd name="T12" fmla="*/ 27 w 91"/>
                    <a:gd name="T13" fmla="*/ 107 h 115"/>
                    <a:gd name="T14" fmla="*/ 45 w 91"/>
                    <a:gd name="T15" fmla="*/ 74 h 115"/>
                    <a:gd name="T16" fmla="*/ 59 w 91"/>
                    <a:gd name="T17" fmla="*/ 41 h 115"/>
                    <a:gd name="T18" fmla="*/ 15 w 91"/>
                    <a:gd name="T19" fmla="*/ 39 h 115"/>
                    <a:gd name="T20" fmla="*/ 4 w 91"/>
                    <a:gd name="T21" fmla="*/ 33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1" h="115">
                      <a:moveTo>
                        <a:pt x="4" y="33"/>
                      </a:moveTo>
                      <a:cubicBezTo>
                        <a:pt x="4" y="33"/>
                        <a:pt x="0" y="24"/>
                        <a:pt x="10" y="21"/>
                      </a:cubicBezTo>
                      <a:cubicBezTo>
                        <a:pt x="10" y="21"/>
                        <a:pt x="64" y="0"/>
                        <a:pt x="79" y="32"/>
                      </a:cubicBezTo>
                      <a:cubicBezTo>
                        <a:pt x="79" y="32"/>
                        <a:pt x="91" y="56"/>
                        <a:pt x="73" y="74"/>
                      </a:cubicBezTo>
                      <a:cubicBezTo>
                        <a:pt x="55" y="92"/>
                        <a:pt x="48" y="97"/>
                        <a:pt x="45" y="107"/>
                      </a:cubicBezTo>
                      <a:cubicBezTo>
                        <a:pt x="45" y="107"/>
                        <a:pt x="43" y="114"/>
                        <a:pt x="36" y="114"/>
                      </a:cubicBezTo>
                      <a:cubicBezTo>
                        <a:pt x="36" y="114"/>
                        <a:pt x="28" y="115"/>
                        <a:pt x="27" y="107"/>
                      </a:cubicBezTo>
                      <a:cubicBezTo>
                        <a:pt x="27" y="107"/>
                        <a:pt x="26" y="89"/>
                        <a:pt x="45" y="74"/>
                      </a:cubicBezTo>
                      <a:cubicBezTo>
                        <a:pt x="45" y="74"/>
                        <a:pt x="67" y="60"/>
                        <a:pt x="59" y="41"/>
                      </a:cubicBezTo>
                      <a:cubicBezTo>
                        <a:pt x="59" y="41"/>
                        <a:pt x="55" y="25"/>
                        <a:pt x="15" y="39"/>
                      </a:cubicBezTo>
                      <a:cubicBezTo>
                        <a:pt x="15" y="39"/>
                        <a:pt x="7" y="41"/>
                        <a:pt x="4" y="33"/>
                      </a:cubicBezTo>
                      <a:close/>
                    </a:path>
                  </a:pathLst>
                </a:custGeom>
                <a:solidFill>
                  <a:srgbClr val="2E2E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8" name="VectorShape">
                  <a:extLst>
                    <a:ext uri="{FF2B5EF4-FFF2-40B4-BE49-F238E27FC236}">
                      <a16:creationId xmlns:a16="http://schemas.microsoft.com/office/drawing/2014/main" id="{F09807DF-9570-4A2F-BCC7-332B672094B2}"/>
                    </a:ext>
                  </a:extLst>
                </p:cNvPr>
                <p:cNvSpPr/>
                <p:nvPr/>
              </p:nvSpPr>
              <p:spPr>
                <a:xfrm>
                  <a:off x="6864344" y="2509836"/>
                  <a:ext cx="70466" cy="69753"/>
                </a:xfrm>
                <a:prstGeom prst="roundRect">
                  <a:avLst>
                    <a:gd name="adj" fmla="val 31161"/>
                  </a:avLst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algn="ctr"/>
                  <a:endParaRPr lang="de-DE" sz="120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</p:grpSp>
      </p:grpSp>
      <p:sp>
        <p:nvSpPr>
          <p:cNvPr id="59" name="Bullets Dark Text">
            <a:extLst>
              <a:ext uri="{FF2B5EF4-FFF2-40B4-BE49-F238E27FC236}">
                <a16:creationId xmlns:a16="http://schemas.microsoft.com/office/drawing/2014/main" id="{A2D06502-A275-4AF8-B7B0-DD23866F8DC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136495" y="3137344"/>
            <a:ext cx="1280463" cy="507831"/>
          </a:xfrm>
          <a:prstGeom prst="rect">
            <a:avLst/>
          </a:prstGeom>
          <a:solidFill>
            <a:srgbClr val="FFFFFF"/>
          </a:solidFill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25937" indent="-125937">
              <a:buClr>
                <a:srgbClr val="2E2E38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de-DE" sz="1100">
                <a:solidFill>
                  <a:srgbClr val="000000"/>
                </a:solidFill>
                <a:latin typeface="+mn-lt"/>
              </a:rPr>
              <a:t>First level</a:t>
            </a:r>
          </a:p>
          <a:p>
            <a:pPr marL="266267" lvl="1" indent="-125937">
              <a:buClr>
                <a:srgbClr val="2E2E38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altLang="de-DE" sz="1100">
                <a:solidFill>
                  <a:srgbClr val="000000"/>
                </a:solidFill>
                <a:latin typeface="+mn-lt"/>
              </a:rPr>
              <a:t>Second level</a:t>
            </a:r>
          </a:p>
          <a:p>
            <a:pPr marL="356222" lvl="2" indent="-89955">
              <a:buClr>
                <a:srgbClr val="2E2E38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de-DE" sz="1100">
                <a:solidFill>
                  <a:srgbClr val="000000"/>
                </a:solidFill>
                <a:latin typeface="+mn-lt"/>
              </a:rPr>
              <a:t>Third level</a:t>
            </a:r>
          </a:p>
        </p:txBody>
      </p:sp>
      <p:sp>
        <p:nvSpPr>
          <p:cNvPr id="60" name="Bullets Light Text">
            <a:extLst>
              <a:ext uri="{FF2B5EF4-FFF2-40B4-BE49-F238E27FC236}">
                <a16:creationId xmlns:a16="http://schemas.microsoft.com/office/drawing/2014/main" id="{EE6E18F4-DA63-4AC0-8EEB-7A02216AC3B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137561" y="3835999"/>
            <a:ext cx="1279398" cy="507831"/>
          </a:xfrm>
          <a:prstGeom prst="rect">
            <a:avLst/>
          </a:prstGeom>
          <a:solidFill>
            <a:srgbClr val="000000"/>
          </a:solidFill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25937" indent="-125937">
              <a:buClr>
                <a:srgbClr val="FFFFFF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de-DE" sz="1100">
                <a:solidFill>
                  <a:srgbClr val="FFFFFF"/>
                </a:solidFill>
                <a:latin typeface="+mn-lt"/>
              </a:rPr>
              <a:t>First level</a:t>
            </a:r>
          </a:p>
          <a:p>
            <a:pPr marL="266267" lvl="1" indent="-125937">
              <a:buClr>
                <a:srgbClr val="FFFFFF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altLang="de-DE" sz="1100">
                <a:solidFill>
                  <a:srgbClr val="FFFFFF"/>
                </a:solidFill>
                <a:latin typeface="+mn-lt"/>
              </a:rPr>
              <a:t>Second level</a:t>
            </a:r>
          </a:p>
          <a:p>
            <a:pPr marL="356222" lvl="2" indent="-89955"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de-DE" sz="1100">
                <a:solidFill>
                  <a:srgbClr val="FFFFFF"/>
                </a:solidFill>
                <a:latin typeface="+mn-lt"/>
              </a:rPr>
              <a:t>Third level</a:t>
            </a:r>
          </a:p>
        </p:txBody>
      </p:sp>
      <p:sp>
        <p:nvSpPr>
          <p:cNvPr id="61" name="Line 10">
            <a:extLst>
              <a:ext uri="{FF2B5EF4-FFF2-40B4-BE49-F238E27FC236}">
                <a16:creationId xmlns:a16="http://schemas.microsoft.com/office/drawing/2014/main" id="{5BFF9153-9A13-41F8-9161-674C6722CD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>
              <a:solidFill>
                <a:schemeClr val="bg1"/>
              </a:solidFill>
            </a:endParaRPr>
          </a:p>
        </p:txBody>
      </p:sp>
      <p:sp>
        <p:nvSpPr>
          <p:cNvPr id="62" name="Date Placeholder 3">
            <a:extLst>
              <a:ext uri="{FF2B5EF4-FFF2-40B4-BE49-F238E27FC236}">
                <a16:creationId xmlns:a16="http://schemas.microsoft.com/office/drawing/2014/main" id="{0ED1AF48-F2B5-470E-8DA9-E25E20EEC7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689614-5369-440F-8EAB-15876908D66D}" type="datetime3">
              <a:rPr lang="fr-FR" smtClean="0"/>
              <a:pPr/>
              <a:t>02.07.25</a:t>
            </a:fld>
            <a:endParaRPr lang="en-IN"/>
          </a:p>
        </p:txBody>
      </p:sp>
      <p:sp>
        <p:nvSpPr>
          <p:cNvPr id="63" name="Footer Placeholder 4">
            <a:extLst>
              <a:ext uri="{FF2B5EF4-FFF2-40B4-BE49-F238E27FC236}">
                <a16:creationId xmlns:a16="http://schemas.microsoft.com/office/drawing/2014/main" id="{AB478104-3EB1-4B13-94A5-13C5C53D2C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Presentation title</a:t>
            </a:r>
            <a:endParaRPr lang="en-IN"/>
          </a:p>
        </p:txBody>
      </p:sp>
      <p:sp>
        <p:nvSpPr>
          <p:cNvPr id="64" name="Slide Number Placeholder 5">
            <a:extLst>
              <a:ext uri="{FF2B5EF4-FFF2-40B4-BE49-F238E27FC236}">
                <a16:creationId xmlns:a16="http://schemas.microsoft.com/office/drawing/2014/main" id="{835FC284-70FC-4665-9042-0859FD93A5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age </a:t>
            </a:r>
            <a:fld id="{F1BC30E3-FFE5-4B91-AA19-87A149EBB9EE}" type="slidenum">
              <a:rPr lang="en-US" smtClean="0"/>
              <a:pPr/>
              <a:t>‹#›</a:t>
            </a:fld>
            <a:endParaRPr/>
          </a:p>
        </p:txBody>
      </p:sp>
      <p:grpSp>
        <p:nvGrpSpPr>
          <p:cNvPr id="65" name="Title">
            <a:extLst>
              <a:ext uri="{FF2B5EF4-FFF2-40B4-BE49-F238E27FC236}">
                <a16:creationId xmlns:a16="http://schemas.microsoft.com/office/drawing/2014/main" id="{DAC29174-ECE6-42D8-A515-554A50E32E9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603069" y="1327151"/>
            <a:ext cx="3531004" cy="230251"/>
            <a:chOff x="2832361" y="2174191"/>
            <a:chExt cx="3534683" cy="171119"/>
          </a:xfrm>
        </p:grpSpPr>
        <p:sp>
          <p:nvSpPr>
            <p:cNvPr id="66" name="Arrow: Left-Right 65">
              <a:extLst>
                <a:ext uri="{FF2B5EF4-FFF2-40B4-BE49-F238E27FC236}">
                  <a16:creationId xmlns:a16="http://schemas.microsoft.com/office/drawing/2014/main" id="{4B40DC01-B072-4E4D-8B87-8F1BE626F4A5}"/>
                </a:ext>
              </a:extLst>
            </p:cNvPr>
            <p:cNvSpPr/>
            <p:nvPr/>
          </p:nvSpPr>
          <p:spPr>
            <a:xfrm>
              <a:off x="2832361" y="2174191"/>
              <a:ext cx="3534683" cy="1711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b" anchorCtr="0">
              <a:spAutoFit/>
            </a:bodyPr>
            <a:lstStyle/>
            <a:p>
              <a:pPr algn="ctr" defTabSz="684748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80000"/>
              </a:pPr>
              <a:r>
                <a:rPr lang="en-US" sz="1400" b="1" kern="0">
                  <a:solidFill>
                    <a:srgbClr val="2E2E38"/>
                  </a:solidFill>
                  <a:latin typeface="EYInterstate Light" panose="02000506000000020004" pitchFamily="2" charset="0"/>
                </a:rPr>
                <a:t>Title (units)</a:t>
              </a: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BCAF455-298F-4773-84E3-BA969A7305C0}"/>
                </a:ext>
              </a:extLst>
            </p:cNvPr>
            <p:cNvCxnSpPr>
              <a:stCxn id="66" idx="4"/>
              <a:endCxn id="66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19050" cap="flat" cmpd="sng" algn="ctr">
              <a:solidFill>
                <a:srgbClr val="FFE6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330545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5105401" y="876303"/>
            <a:ext cx="7086600" cy="5981699"/>
          </a:xfrm>
          <a:custGeom>
            <a:avLst/>
            <a:gdLst>
              <a:gd name="connsiteX0" fmla="*/ 4420311 w 7086600"/>
              <a:gd name="connsiteY0" fmla="*/ 0 h 5981699"/>
              <a:gd name="connsiteX1" fmla="*/ 7086600 w 7086600"/>
              <a:gd name="connsiteY1" fmla="*/ 2666289 h 5981699"/>
              <a:gd name="connsiteX2" fmla="*/ 7086600 w 7086600"/>
              <a:gd name="connsiteY2" fmla="*/ 5981699 h 5981699"/>
              <a:gd name="connsiteX3" fmla="*/ 1561388 w 7086600"/>
              <a:gd name="connsiteY3" fmla="*/ 5981699 h 5981699"/>
              <a:gd name="connsiteX4" fmla="*/ 0 w 7086600"/>
              <a:gd name="connsiteY4" fmla="*/ 4420311 h 5981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5981699">
                <a:moveTo>
                  <a:pt x="4420311" y="0"/>
                </a:moveTo>
                <a:lnTo>
                  <a:pt x="7086600" y="2666289"/>
                </a:lnTo>
                <a:lnTo>
                  <a:pt x="7086600" y="5981699"/>
                </a:lnTo>
                <a:lnTo>
                  <a:pt x="1561388" y="5981699"/>
                </a:lnTo>
                <a:lnTo>
                  <a:pt x="0" y="4420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60900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-749298" y="177800"/>
            <a:ext cx="6057901" cy="6057900"/>
          </a:xfrm>
          <a:prstGeom prst="diamond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7663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0"/>
            <a:ext cx="12192000" cy="18669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17">
              <a:solidFill>
                <a:prstClr val="white"/>
              </a:solidFill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4" y="0"/>
            <a:ext cx="12182475" cy="6091238"/>
          </a:xfrm>
          <a:custGeom>
            <a:avLst/>
            <a:gdLst>
              <a:gd name="connsiteX0" fmla="*/ 0 w 12182475"/>
              <a:gd name="connsiteY0" fmla="*/ 0 h 6091238"/>
              <a:gd name="connsiteX1" fmla="*/ 12182475 w 12182475"/>
              <a:gd name="connsiteY1" fmla="*/ 0 h 6091238"/>
              <a:gd name="connsiteX2" fmla="*/ 6091239 w 12182475"/>
              <a:gd name="connsiteY2" fmla="*/ 6091238 h 6091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82475" h="6091238">
                <a:moveTo>
                  <a:pt x="0" y="0"/>
                </a:moveTo>
                <a:lnTo>
                  <a:pt x="12182475" y="0"/>
                </a:lnTo>
                <a:lnTo>
                  <a:pt x="6091239" y="60912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9168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2667001" y="0"/>
            <a:ext cx="9525000" cy="6858000"/>
          </a:xfrm>
          <a:custGeom>
            <a:avLst/>
            <a:gdLst>
              <a:gd name="connsiteX0" fmla="*/ 0 w 9525000"/>
              <a:gd name="connsiteY0" fmla="*/ 0 h 6858000"/>
              <a:gd name="connsiteX1" fmla="*/ 6858000 w 9525000"/>
              <a:gd name="connsiteY1" fmla="*/ 0 h 6858000"/>
              <a:gd name="connsiteX2" fmla="*/ 9525000 w 9525000"/>
              <a:gd name="connsiteY2" fmla="*/ 0 h 6858000"/>
              <a:gd name="connsiteX3" fmla="*/ 9525000 w 9525000"/>
              <a:gd name="connsiteY3" fmla="*/ 6858000 h 6858000"/>
              <a:gd name="connsiteX4" fmla="*/ 6858000 w 9525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25000" h="6858000">
                <a:moveTo>
                  <a:pt x="0" y="0"/>
                </a:moveTo>
                <a:lnTo>
                  <a:pt x="6858000" y="0"/>
                </a:lnTo>
                <a:lnTo>
                  <a:pt x="9525000" y="0"/>
                </a:lnTo>
                <a:lnTo>
                  <a:pt x="9525000" y="6858000"/>
                </a:lnTo>
                <a:lnTo>
                  <a:pt x="685800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2" y="-2"/>
            <a:ext cx="9525000" cy="6858002"/>
          </a:xfrm>
          <a:custGeom>
            <a:avLst/>
            <a:gdLst>
              <a:gd name="connsiteX0" fmla="*/ 0 w 9525000"/>
              <a:gd name="connsiteY0" fmla="*/ 0 h 6858002"/>
              <a:gd name="connsiteX1" fmla="*/ 2667000 w 9525000"/>
              <a:gd name="connsiteY1" fmla="*/ 0 h 6858002"/>
              <a:gd name="connsiteX2" fmla="*/ 2667000 w 9525000"/>
              <a:gd name="connsiteY2" fmla="*/ 2 h 6858002"/>
              <a:gd name="connsiteX3" fmla="*/ 9525000 w 9525000"/>
              <a:gd name="connsiteY3" fmla="*/ 6858002 h 6858002"/>
              <a:gd name="connsiteX4" fmla="*/ 2667000 w 9525000"/>
              <a:gd name="connsiteY4" fmla="*/ 6858002 h 6858002"/>
              <a:gd name="connsiteX5" fmla="*/ 2667000 w 9525000"/>
              <a:gd name="connsiteY5" fmla="*/ 6858000 h 6858002"/>
              <a:gd name="connsiteX6" fmla="*/ 0 w 9525000"/>
              <a:gd name="connsiteY6" fmla="*/ 685800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25000" h="6858002">
                <a:moveTo>
                  <a:pt x="0" y="0"/>
                </a:moveTo>
                <a:lnTo>
                  <a:pt x="2667000" y="0"/>
                </a:lnTo>
                <a:lnTo>
                  <a:pt x="2667000" y="2"/>
                </a:lnTo>
                <a:lnTo>
                  <a:pt x="9525000" y="6858002"/>
                </a:lnTo>
                <a:lnTo>
                  <a:pt x="2667000" y="6858002"/>
                </a:lnTo>
                <a:lnTo>
                  <a:pt x="2667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91249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2801261" y="0"/>
            <a:ext cx="9390741" cy="6858000"/>
          </a:xfrm>
          <a:custGeom>
            <a:avLst/>
            <a:gdLst>
              <a:gd name="connsiteX0" fmla="*/ 9390741 w 9390741"/>
              <a:gd name="connsiteY0" fmla="*/ 2744432 h 6858000"/>
              <a:gd name="connsiteX1" fmla="*/ 9390741 w 9390741"/>
              <a:gd name="connsiteY1" fmla="*/ 5258113 h 6858000"/>
              <a:gd name="connsiteX2" fmla="*/ 7810132 w 9390741"/>
              <a:gd name="connsiteY2" fmla="*/ 6858000 h 6858000"/>
              <a:gd name="connsiteX3" fmla="*/ 5326741 w 9390741"/>
              <a:gd name="connsiteY3" fmla="*/ 6858000 h 6858000"/>
              <a:gd name="connsiteX4" fmla="*/ 9390741 w 9390741"/>
              <a:gd name="connsiteY4" fmla="*/ 48575 h 6858000"/>
              <a:gd name="connsiteX5" fmla="*/ 9390741 w 9390741"/>
              <a:gd name="connsiteY5" fmla="*/ 2562256 h 6858000"/>
              <a:gd name="connsiteX6" fmla="*/ 5146761 w 9390741"/>
              <a:gd name="connsiteY6" fmla="*/ 6858000 h 6858000"/>
              <a:gd name="connsiteX7" fmla="*/ 2663371 w 9390741"/>
              <a:gd name="connsiteY7" fmla="*/ 6858000 h 6858000"/>
              <a:gd name="connsiteX8" fmla="*/ 6775360 w 9390741"/>
              <a:gd name="connsiteY8" fmla="*/ 0 h 6858000"/>
              <a:gd name="connsiteX9" fmla="*/ 9258751 w 9390741"/>
              <a:gd name="connsiteY9" fmla="*/ 0 h 6858000"/>
              <a:gd name="connsiteX10" fmla="*/ 2483391 w 9390741"/>
              <a:gd name="connsiteY10" fmla="*/ 6858000 h 6858000"/>
              <a:gd name="connsiteX11" fmla="*/ 0 w 939074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390741" h="6858000">
                <a:moveTo>
                  <a:pt x="9390741" y="2744432"/>
                </a:moveTo>
                <a:lnTo>
                  <a:pt x="9390741" y="5258113"/>
                </a:lnTo>
                <a:lnTo>
                  <a:pt x="7810132" y="6858000"/>
                </a:lnTo>
                <a:lnTo>
                  <a:pt x="5326741" y="6858000"/>
                </a:lnTo>
                <a:close/>
                <a:moveTo>
                  <a:pt x="9390741" y="48575"/>
                </a:moveTo>
                <a:lnTo>
                  <a:pt x="9390741" y="2562256"/>
                </a:lnTo>
                <a:lnTo>
                  <a:pt x="5146761" y="6858000"/>
                </a:lnTo>
                <a:lnTo>
                  <a:pt x="2663371" y="6858000"/>
                </a:lnTo>
                <a:close/>
                <a:moveTo>
                  <a:pt x="6775360" y="0"/>
                </a:moveTo>
                <a:lnTo>
                  <a:pt x="9258751" y="0"/>
                </a:lnTo>
                <a:lnTo>
                  <a:pt x="2483391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837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/>
          <p:cNvSpPr>
            <a:spLocks noGrp="1"/>
          </p:cNvSpPr>
          <p:nvPr>
            <p:ph type="pic" sz="quarter" idx="27" hasCustomPrompt="1"/>
          </p:nvPr>
        </p:nvSpPr>
        <p:spPr>
          <a:xfrm>
            <a:off x="3" y="0"/>
            <a:ext cx="10840357" cy="5924740"/>
          </a:xfrm>
          <a:custGeom>
            <a:avLst/>
            <a:gdLst>
              <a:gd name="connsiteX0" fmla="*/ 0 w 10840357"/>
              <a:gd name="connsiteY0" fmla="*/ 3740338 h 5924740"/>
              <a:gd name="connsiteX1" fmla="*/ 1028701 w 10840357"/>
              <a:gd name="connsiteY1" fmla="*/ 4769040 h 5924740"/>
              <a:gd name="connsiteX2" fmla="*/ 0 w 10840357"/>
              <a:gd name="connsiteY2" fmla="*/ 5797742 h 5924740"/>
              <a:gd name="connsiteX3" fmla="*/ 2349501 w 10840357"/>
              <a:gd name="connsiteY3" fmla="*/ 3613340 h 5924740"/>
              <a:gd name="connsiteX4" fmla="*/ 3505201 w 10840357"/>
              <a:gd name="connsiteY4" fmla="*/ 4769040 h 5924740"/>
              <a:gd name="connsiteX5" fmla="*/ 2349501 w 10840357"/>
              <a:gd name="connsiteY5" fmla="*/ 5924740 h 5924740"/>
              <a:gd name="connsiteX6" fmla="*/ 1193801 w 10840357"/>
              <a:gd name="connsiteY6" fmla="*/ 4769040 h 5924740"/>
              <a:gd name="connsiteX7" fmla="*/ 6072414 w 10840357"/>
              <a:gd name="connsiteY7" fmla="*/ 2389330 h 5924740"/>
              <a:gd name="connsiteX8" fmla="*/ 7228114 w 10840357"/>
              <a:gd name="connsiteY8" fmla="*/ 3545030 h 5924740"/>
              <a:gd name="connsiteX9" fmla="*/ 6072414 w 10840357"/>
              <a:gd name="connsiteY9" fmla="*/ 4700730 h 5924740"/>
              <a:gd name="connsiteX10" fmla="*/ 4916714 w 10840357"/>
              <a:gd name="connsiteY10" fmla="*/ 3545030 h 5924740"/>
              <a:gd name="connsiteX11" fmla="*/ 3595916 w 10840357"/>
              <a:gd name="connsiteY11" fmla="*/ 2389330 h 5924740"/>
              <a:gd name="connsiteX12" fmla="*/ 4751615 w 10840357"/>
              <a:gd name="connsiteY12" fmla="*/ 3545030 h 5924740"/>
              <a:gd name="connsiteX13" fmla="*/ 3595916 w 10840357"/>
              <a:gd name="connsiteY13" fmla="*/ 4700730 h 5924740"/>
              <a:gd name="connsiteX14" fmla="*/ 2440216 w 10840357"/>
              <a:gd name="connsiteY14" fmla="*/ 3545030 h 5924740"/>
              <a:gd name="connsiteX15" fmla="*/ 1111252 w 10840357"/>
              <a:gd name="connsiteY15" fmla="*/ 2389330 h 5924740"/>
              <a:gd name="connsiteX16" fmla="*/ 2266952 w 10840357"/>
              <a:gd name="connsiteY16" fmla="*/ 3545030 h 5924740"/>
              <a:gd name="connsiteX17" fmla="*/ 1111252 w 10840357"/>
              <a:gd name="connsiteY17" fmla="*/ 4700730 h 5924740"/>
              <a:gd name="connsiteX18" fmla="*/ 0 w 10840357"/>
              <a:gd name="connsiteY18" fmla="*/ 3589478 h 5924740"/>
              <a:gd name="connsiteX19" fmla="*/ 0 w 10840357"/>
              <a:gd name="connsiteY19" fmla="*/ 3500582 h 5924740"/>
              <a:gd name="connsiteX20" fmla="*/ 0 w 10840357"/>
              <a:gd name="connsiteY20" fmla="*/ 1292320 h 5924740"/>
              <a:gd name="connsiteX21" fmla="*/ 1028701 w 10840357"/>
              <a:gd name="connsiteY21" fmla="*/ 2321020 h 5924740"/>
              <a:gd name="connsiteX22" fmla="*/ 0 w 10840357"/>
              <a:gd name="connsiteY22" fmla="*/ 3349721 h 5924740"/>
              <a:gd name="connsiteX23" fmla="*/ 4834164 w 10840357"/>
              <a:gd name="connsiteY23" fmla="*/ 1165321 h 5924740"/>
              <a:gd name="connsiteX24" fmla="*/ 5989864 w 10840357"/>
              <a:gd name="connsiteY24" fmla="*/ 2321020 h 5924740"/>
              <a:gd name="connsiteX25" fmla="*/ 4834164 w 10840357"/>
              <a:gd name="connsiteY25" fmla="*/ 3476720 h 5924740"/>
              <a:gd name="connsiteX26" fmla="*/ 3678466 w 10840357"/>
              <a:gd name="connsiteY26" fmla="*/ 2321020 h 5924740"/>
              <a:gd name="connsiteX27" fmla="*/ 2357666 w 10840357"/>
              <a:gd name="connsiteY27" fmla="*/ 1165321 h 5924740"/>
              <a:gd name="connsiteX28" fmla="*/ 3513367 w 10840357"/>
              <a:gd name="connsiteY28" fmla="*/ 2321020 h 5924740"/>
              <a:gd name="connsiteX29" fmla="*/ 2357666 w 10840357"/>
              <a:gd name="connsiteY29" fmla="*/ 3476720 h 5924740"/>
              <a:gd name="connsiteX30" fmla="*/ 1201966 w 10840357"/>
              <a:gd name="connsiteY30" fmla="*/ 2321020 h 5924740"/>
              <a:gd name="connsiteX31" fmla="*/ 7310664 w 10840357"/>
              <a:gd name="connsiteY31" fmla="*/ 1165320 h 5924740"/>
              <a:gd name="connsiteX32" fmla="*/ 8466364 w 10840357"/>
              <a:gd name="connsiteY32" fmla="*/ 2321020 h 5924740"/>
              <a:gd name="connsiteX33" fmla="*/ 7310664 w 10840357"/>
              <a:gd name="connsiteY33" fmla="*/ 3476720 h 5924740"/>
              <a:gd name="connsiteX34" fmla="*/ 6154964 w 10840357"/>
              <a:gd name="connsiteY34" fmla="*/ 2321020 h 5924740"/>
              <a:gd name="connsiteX35" fmla="*/ 8782955 w 10840357"/>
              <a:gd name="connsiteY35" fmla="*/ 0 h 5924740"/>
              <a:gd name="connsiteX36" fmla="*/ 10840357 w 10840357"/>
              <a:gd name="connsiteY36" fmla="*/ 0 h 5924740"/>
              <a:gd name="connsiteX37" fmla="*/ 9811656 w 10840357"/>
              <a:gd name="connsiteY37" fmla="*/ 1028701 h 5924740"/>
              <a:gd name="connsiteX38" fmla="*/ 8498388 w 10840357"/>
              <a:gd name="connsiteY38" fmla="*/ 0 h 5924740"/>
              <a:gd name="connsiteX39" fmla="*/ 8615768 w 10840357"/>
              <a:gd name="connsiteY39" fmla="*/ 0 h 5924740"/>
              <a:gd name="connsiteX40" fmla="*/ 9712778 w 10840357"/>
              <a:gd name="connsiteY40" fmla="*/ 1097010 h 5924740"/>
              <a:gd name="connsiteX41" fmla="*/ 8557078 w 10840357"/>
              <a:gd name="connsiteY41" fmla="*/ 2252710 h 5924740"/>
              <a:gd name="connsiteX42" fmla="*/ 7401378 w 10840357"/>
              <a:gd name="connsiteY42" fmla="*/ 1097010 h 5924740"/>
              <a:gd name="connsiteX43" fmla="*/ 6298292 w 10840357"/>
              <a:gd name="connsiteY43" fmla="*/ 0 h 5924740"/>
              <a:gd name="connsiteX44" fmla="*/ 8355692 w 10840357"/>
              <a:gd name="connsiteY44" fmla="*/ 0 h 5924740"/>
              <a:gd name="connsiteX45" fmla="*/ 7326992 w 10840357"/>
              <a:gd name="connsiteY45" fmla="*/ 1028700 h 5924740"/>
              <a:gd name="connsiteX46" fmla="*/ 6013725 w 10840357"/>
              <a:gd name="connsiteY46" fmla="*/ 0 h 5924740"/>
              <a:gd name="connsiteX47" fmla="*/ 6131103 w 10840357"/>
              <a:gd name="connsiteY47" fmla="*/ 0 h 5924740"/>
              <a:gd name="connsiteX48" fmla="*/ 7228114 w 10840357"/>
              <a:gd name="connsiteY48" fmla="*/ 1097011 h 5924740"/>
              <a:gd name="connsiteX49" fmla="*/ 6072414 w 10840357"/>
              <a:gd name="connsiteY49" fmla="*/ 2252710 h 5924740"/>
              <a:gd name="connsiteX50" fmla="*/ 4916714 w 10840357"/>
              <a:gd name="connsiteY50" fmla="*/ 1097011 h 5924740"/>
              <a:gd name="connsiteX51" fmla="*/ 3813628 w 10840357"/>
              <a:gd name="connsiteY51" fmla="*/ 0 h 5924740"/>
              <a:gd name="connsiteX52" fmla="*/ 5871029 w 10840357"/>
              <a:gd name="connsiteY52" fmla="*/ 0 h 5924740"/>
              <a:gd name="connsiteX53" fmla="*/ 4842329 w 10840357"/>
              <a:gd name="connsiteY53" fmla="*/ 1028701 h 5924740"/>
              <a:gd name="connsiteX54" fmla="*/ 3537228 w 10840357"/>
              <a:gd name="connsiteY54" fmla="*/ 0 h 5924740"/>
              <a:gd name="connsiteX55" fmla="*/ 3654606 w 10840357"/>
              <a:gd name="connsiteY55" fmla="*/ 0 h 5924740"/>
              <a:gd name="connsiteX56" fmla="*/ 4751615 w 10840357"/>
              <a:gd name="connsiteY56" fmla="*/ 1097011 h 5924740"/>
              <a:gd name="connsiteX57" fmla="*/ 3595917 w 10840357"/>
              <a:gd name="connsiteY57" fmla="*/ 2252711 h 5924740"/>
              <a:gd name="connsiteX58" fmla="*/ 2440217 w 10840357"/>
              <a:gd name="connsiteY58" fmla="*/ 1097011 h 5924740"/>
              <a:gd name="connsiteX59" fmla="*/ 1328965 w 10840357"/>
              <a:gd name="connsiteY59" fmla="*/ 0 h 5924740"/>
              <a:gd name="connsiteX60" fmla="*/ 3386368 w 10840357"/>
              <a:gd name="connsiteY60" fmla="*/ 0 h 5924740"/>
              <a:gd name="connsiteX61" fmla="*/ 2357667 w 10840357"/>
              <a:gd name="connsiteY61" fmla="*/ 1028701 h 5924740"/>
              <a:gd name="connsiteX62" fmla="*/ 1052564 w 10840357"/>
              <a:gd name="connsiteY62" fmla="*/ 0 h 5924740"/>
              <a:gd name="connsiteX63" fmla="*/ 1169942 w 10840357"/>
              <a:gd name="connsiteY63" fmla="*/ 0 h 5924740"/>
              <a:gd name="connsiteX64" fmla="*/ 2266953 w 10840357"/>
              <a:gd name="connsiteY64" fmla="*/ 1097011 h 5924740"/>
              <a:gd name="connsiteX65" fmla="*/ 1111253 w 10840357"/>
              <a:gd name="connsiteY65" fmla="*/ 2252711 h 5924740"/>
              <a:gd name="connsiteX66" fmla="*/ 0 w 10840357"/>
              <a:gd name="connsiteY66" fmla="*/ 1141458 h 5924740"/>
              <a:gd name="connsiteX67" fmla="*/ 0 w 10840357"/>
              <a:gd name="connsiteY67" fmla="*/ 1052564 h 5924740"/>
              <a:gd name="connsiteX68" fmla="*/ 0 w 10840357"/>
              <a:gd name="connsiteY68" fmla="*/ 0 h 5924740"/>
              <a:gd name="connsiteX69" fmla="*/ 901704 w 10840357"/>
              <a:gd name="connsiteY69" fmla="*/ 0 h 5924740"/>
              <a:gd name="connsiteX70" fmla="*/ 0 w 10840357"/>
              <a:gd name="connsiteY70" fmla="*/ 901704 h 5924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10840357" h="5924740">
                <a:moveTo>
                  <a:pt x="0" y="3740338"/>
                </a:moveTo>
                <a:lnTo>
                  <a:pt x="1028701" y="4769040"/>
                </a:lnTo>
                <a:lnTo>
                  <a:pt x="0" y="5797742"/>
                </a:lnTo>
                <a:close/>
                <a:moveTo>
                  <a:pt x="2349501" y="3613340"/>
                </a:moveTo>
                <a:lnTo>
                  <a:pt x="3505201" y="4769040"/>
                </a:lnTo>
                <a:lnTo>
                  <a:pt x="2349501" y="5924740"/>
                </a:lnTo>
                <a:lnTo>
                  <a:pt x="1193801" y="4769040"/>
                </a:lnTo>
                <a:close/>
                <a:moveTo>
                  <a:pt x="6072414" y="2389330"/>
                </a:moveTo>
                <a:lnTo>
                  <a:pt x="7228114" y="3545030"/>
                </a:lnTo>
                <a:lnTo>
                  <a:pt x="6072414" y="4700730"/>
                </a:lnTo>
                <a:lnTo>
                  <a:pt x="4916714" y="3545030"/>
                </a:lnTo>
                <a:close/>
                <a:moveTo>
                  <a:pt x="3595916" y="2389330"/>
                </a:moveTo>
                <a:lnTo>
                  <a:pt x="4751615" y="3545030"/>
                </a:lnTo>
                <a:lnTo>
                  <a:pt x="3595916" y="4700730"/>
                </a:lnTo>
                <a:lnTo>
                  <a:pt x="2440216" y="3545030"/>
                </a:lnTo>
                <a:close/>
                <a:moveTo>
                  <a:pt x="1111252" y="2389330"/>
                </a:moveTo>
                <a:lnTo>
                  <a:pt x="2266952" y="3545030"/>
                </a:lnTo>
                <a:lnTo>
                  <a:pt x="1111252" y="4700730"/>
                </a:lnTo>
                <a:lnTo>
                  <a:pt x="0" y="3589478"/>
                </a:lnTo>
                <a:lnTo>
                  <a:pt x="0" y="3500582"/>
                </a:lnTo>
                <a:close/>
                <a:moveTo>
                  <a:pt x="0" y="1292320"/>
                </a:moveTo>
                <a:lnTo>
                  <a:pt x="1028701" y="2321020"/>
                </a:lnTo>
                <a:lnTo>
                  <a:pt x="0" y="3349721"/>
                </a:lnTo>
                <a:close/>
                <a:moveTo>
                  <a:pt x="4834164" y="1165321"/>
                </a:moveTo>
                <a:lnTo>
                  <a:pt x="5989864" y="2321020"/>
                </a:lnTo>
                <a:lnTo>
                  <a:pt x="4834164" y="3476720"/>
                </a:lnTo>
                <a:lnTo>
                  <a:pt x="3678466" y="2321020"/>
                </a:lnTo>
                <a:close/>
                <a:moveTo>
                  <a:pt x="2357666" y="1165321"/>
                </a:moveTo>
                <a:lnTo>
                  <a:pt x="3513367" y="2321020"/>
                </a:lnTo>
                <a:lnTo>
                  <a:pt x="2357666" y="3476720"/>
                </a:lnTo>
                <a:lnTo>
                  <a:pt x="1201966" y="2321020"/>
                </a:lnTo>
                <a:close/>
                <a:moveTo>
                  <a:pt x="7310664" y="1165320"/>
                </a:moveTo>
                <a:lnTo>
                  <a:pt x="8466364" y="2321020"/>
                </a:lnTo>
                <a:lnTo>
                  <a:pt x="7310664" y="3476720"/>
                </a:lnTo>
                <a:lnTo>
                  <a:pt x="6154964" y="2321020"/>
                </a:lnTo>
                <a:close/>
                <a:moveTo>
                  <a:pt x="8782955" y="0"/>
                </a:moveTo>
                <a:lnTo>
                  <a:pt x="10840357" y="0"/>
                </a:lnTo>
                <a:lnTo>
                  <a:pt x="9811656" y="1028701"/>
                </a:lnTo>
                <a:close/>
                <a:moveTo>
                  <a:pt x="8498388" y="0"/>
                </a:moveTo>
                <a:lnTo>
                  <a:pt x="8615768" y="0"/>
                </a:lnTo>
                <a:lnTo>
                  <a:pt x="9712778" y="1097010"/>
                </a:lnTo>
                <a:lnTo>
                  <a:pt x="8557078" y="2252710"/>
                </a:lnTo>
                <a:lnTo>
                  <a:pt x="7401378" y="1097010"/>
                </a:lnTo>
                <a:close/>
                <a:moveTo>
                  <a:pt x="6298292" y="0"/>
                </a:moveTo>
                <a:lnTo>
                  <a:pt x="8355692" y="0"/>
                </a:lnTo>
                <a:lnTo>
                  <a:pt x="7326992" y="1028700"/>
                </a:lnTo>
                <a:close/>
                <a:moveTo>
                  <a:pt x="6013725" y="0"/>
                </a:moveTo>
                <a:lnTo>
                  <a:pt x="6131103" y="0"/>
                </a:lnTo>
                <a:lnTo>
                  <a:pt x="7228114" y="1097011"/>
                </a:lnTo>
                <a:lnTo>
                  <a:pt x="6072414" y="2252710"/>
                </a:lnTo>
                <a:lnTo>
                  <a:pt x="4916714" y="1097011"/>
                </a:lnTo>
                <a:close/>
                <a:moveTo>
                  <a:pt x="3813628" y="0"/>
                </a:moveTo>
                <a:lnTo>
                  <a:pt x="5871029" y="0"/>
                </a:lnTo>
                <a:lnTo>
                  <a:pt x="4842329" y="1028701"/>
                </a:lnTo>
                <a:close/>
                <a:moveTo>
                  <a:pt x="3537228" y="0"/>
                </a:moveTo>
                <a:lnTo>
                  <a:pt x="3654606" y="0"/>
                </a:lnTo>
                <a:lnTo>
                  <a:pt x="4751615" y="1097011"/>
                </a:lnTo>
                <a:lnTo>
                  <a:pt x="3595917" y="2252711"/>
                </a:lnTo>
                <a:lnTo>
                  <a:pt x="2440217" y="1097011"/>
                </a:lnTo>
                <a:close/>
                <a:moveTo>
                  <a:pt x="1328965" y="0"/>
                </a:moveTo>
                <a:lnTo>
                  <a:pt x="3386368" y="0"/>
                </a:lnTo>
                <a:lnTo>
                  <a:pt x="2357667" y="1028701"/>
                </a:lnTo>
                <a:close/>
                <a:moveTo>
                  <a:pt x="1052564" y="0"/>
                </a:moveTo>
                <a:lnTo>
                  <a:pt x="1169942" y="0"/>
                </a:lnTo>
                <a:lnTo>
                  <a:pt x="2266953" y="1097011"/>
                </a:lnTo>
                <a:lnTo>
                  <a:pt x="1111253" y="2252711"/>
                </a:lnTo>
                <a:lnTo>
                  <a:pt x="0" y="1141458"/>
                </a:lnTo>
                <a:lnTo>
                  <a:pt x="0" y="1052564"/>
                </a:lnTo>
                <a:close/>
                <a:moveTo>
                  <a:pt x="0" y="0"/>
                </a:moveTo>
                <a:lnTo>
                  <a:pt x="901704" y="0"/>
                </a:lnTo>
                <a:lnTo>
                  <a:pt x="0" y="90170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/>
              <a:t>Pict</a:t>
            </a:r>
          </a:p>
        </p:txBody>
      </p:sp>
    </p:spTree>
    <p:extLst>
      <p:ext uri="{BB962C8B-B14F-4D97-AF65-F5344CB8AC3E}">
        <p14:creationId xmlns:p14="http://schemas.microsoft.com/office/powerpoint/2010/main" val="1301231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643027" cy="6223548"/>
          </a:xfrm>
          <a:custGeom>
            <a:avLst/>
            <a:gdLst>
              <a:gd name="connsiteX0" fmla="*/ 0 w 9643027"/>
              <a:gd name="connsiteY0" fmla="*/ 0 h 6223548"/>
              <a:gd name="connsiteX1" fmla="*/ 9643027 w 9643027"/>
              <a:gd name="connsiteY1" fmla="*/ 0 h 6223548"/>
              <a:gd name="connsiteX2" fmla="*/ 3419479 w 9643027"/>
              <a:gd name="connsiteY2" fmla="*/ 6223548 h 6223548"/>
              <a:gd name="connsiteX3" fmla="*/ 1 w 9643027"/>
              <a:gd name="connsiteY3" fmla="*/ 2804069 h 622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43027" h="6223548">
                <a:moveTo>
                  <a:pt x="0" y="0"/>
                </a:moveTo>
                <a:lnTo>
                  <a:pt x="9643027" y="0"/>
                </a:lnTo>
                <a:lnTo>
                  <a:pt x="3419479" y="6223548"/>
                </a:lnTo>
                <a:lnTo>
                  <a:pt x="1" y="280406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1968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8336370" cy="6858000"/>
          </a:xfrm>
          <a:custGeom>
            <a:avLst/>
            <a:gdLst>
              <a:gd name="connsiteX0" fmla="*/ 0 w 7734300"/>
              <a:gd name="connsiteY0" fmla="*/ 0 h 6362700"/>
              <a:gd name="connsiteX1" fmla="*/ 4622749 w 7734300"/>
              <a:gd name="connsiteY1" fmla="*/ 0 h 6362700"/>
              <a:gd name="connsiteX2" fmla="*/ 7734300 w 7734300"/>
              <a:gd name="connsiteY2" fmla="*/ 3181350 h 6362700"/>
              <a:gd name="connsiteX3" fmla="*/ 4622749 w 7734300"/>
              <a:gd name="connsiteY3" fmla="*/ 6362700 h 6362700"/>
              <a:gd name="connsiteX4" fmla="*/ 0 w 7734300"/>
              <a:gd name="connsiteY4" fmla="*/ 6362700 h 636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34300" h="6362700">
                <a:moveTo>
                  <a:pt x="0" y="0"/>
                </a:moveTo>
                <a:lnTo>
                  <a:pt x="4622749" y="0"/>
                </a:lnTo>
                <a:lnTo>
                  <a:pt x="7734300" y="3181350"/>
                </a:lnTo>
                <a:lnTo>
                  <a:pt x="4622749" y="6362700"/>
                </a:lnTo>
                <a:lnTo>
                  <a:pt x="0" y="6362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8461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8128000" cy="6858000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92372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8"/>
            <a:ext cx="12192000" cy="4441371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9222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94200"/>
            <a:ext cx="10972800" cy="590400"/>
          </a:xfrm>
        </p:spPr>
        <p:txBody>
          <a:bodyPr/>
          <a:lstStyle>
            <a:lvl1pPr>
              <a:defRPr sz="220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4" y="907750"/>
            <a:ext cx="1097428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57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3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877955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909349" y="1"/>
            <a:ext cx="9282655" cy="6787244"/>
          </a:xfrm>
          <a:custGeom>
            <a:avLst/>
            <a:gdLst>
              <a:gd name="connsiteX0" fmla="*/ 0 w 9282655"/>
              <a:gd name="connsiteY0" fmla="*/ 0 h 6787244"/>
              <a:gd name="connsiteX1" fmla="*/ 9282655 w 9282655"/>
              <a:gd name="connsiteY1" fmla="*/ 0 h 6787244"/>
              <a:gd name="connsiteX2" fmla="*/ 9282655 w 9282655"/>
              <a:gd name="connsiteY2" fmla="*/ 4291831 h 6787244"/>
              <a:gd name="connsiteX3" fmla="*/ 6787243 w 9282655"/>
              <a:gd name="connsiteY3" fmla="*/ 6787244 h 6787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82655" h="6787244">
                <a:moveTo>
                  <a:pt x="0" y="0"/>
                </a:moveTo>
                <a:lnTo>
                  <a:pt x="9282655" y="0"/>
                </a:lnTo>
                <a:lnTo>
                  <a:pt x="9282655" y="4291831"/>
                </a:lnTo>
                <a:lnTo>
                  <a:pt x="6787243" y="678724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11" name="Freeform: Shape 10"/>
          <p:cNvSpPr/>
          <p:nvPr userDrawn="1"/>
        </p:nvSpPr>
        <p:spPr>
          <a:xfrm>
            <a:off x="1" y="2685151"/>
            <a:ext cx="9535885" cy="4172857"/>
          </a:xfrm>
          <a:custGeom>
            <a:avLst/>
            <a:gdLst>
              <a:gd name="connsiteX0" fmla="*/ 0 w 9535885"/>
              <a:gd name="connsiteY0" fmla="*/ 0 h 4172857"/>
              <a:gd name="connsiteX1" fmla="*/ 5355770 w 9535885"/>
              <a:gd name="connsiteY1" fmla="*/ 0 h 4172857"/>
              <a:gd name="connsiteX2" fmla="*/ 5355771 w 9535885"/>
              <a:gd name="connsiteY2" fmla="*/ 0 h 4172857"/>
              <a:gd name="connsiteX3" fmla="*/ 5355771 w 9535885"/>
              <a:gd name="connsiteY3" fmla="*/ 1 h 4172857"/>
              <a:gd name="connsiteX4" fmla="*/ 9535885 w 9535885"/>
              <a:gd name="connsiteY4" fmla="*/ 4172857 h 4172857"/>
              <a:gd name="connsiteX5" fmla="*/ 5355771 w 9535885"/>
              <a:gd name="connsiteY5" fmla="*/ 4172857 h 4172857"/>
              <a:gd name="connsiteX6" fmla="*/ 5355770 w 9535885"/>
              <a:gd name="connsiteY6" fmla="*/ 4172857 h 4172857"/>
              <a:gd name="connsiteX7" fmla="*/ 0 w 9535885"/>
              <a:gd name="connsiteY7" fmla="*/ 4172857 h 4172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35885" h="4172857">
                <a:moveTo>
                  <a:pt x="0" y="0"/>
                </a:moveTo>
                <a:lnTo>
                  <a:pt x="5355770" y="0"/>
                </a:lnTo>
                <a:lnTo>
                  <a:pt x="5355771" y="0"/>
                </a:lnTo>
                <a:lnTo>
                  <a:pt x="5355771" y="1"/>
                </a:lnTo>
                <a:lnTo>
                  <a:pt x="9535885" y="4172857"/>
                </a:lnTo>
                <a:lnTo>
                  <a:pt x="5355771" y="4172857"/>
                </a:lnTo>
                <a:lnTo>
                  <a:pt x="5355770" y="4172857"/>
                </a:lnTo>
                <a:lnTo>
                  <a:pt x="0" y="41728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1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217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320317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6"/>
          <p:cNvSpPr>
            <a:spLocks noGrp="1"/>
          </p:cNvSpPr>
          <p:nvPr>
            <p:ph type="pic" sz="quarter" idx="10"/>
          </p:nvPr>
        </p:nvSpPr>
        <p:spPr>
          <a:xfrm>
            <a:off x="-25407" y="3"/>
            <a:ext cx="12217409" cy="6817779"/>
          </a:xfrm>
          <a:custGeom>
            <a:avLst/>
            <a:gdLst>
              <a:gd name="connsiteX0" fmla="*/ 5695376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15121 h 6858000"/>
              <a:gd name="connsiteX3" fmla="*/ 5994697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580495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5695376" y="0"/>
                </a:moveTo>
                <a:lnTo>
                  <a:pt x="12192000" y="0"/>
                </a:lnTo>
                <a:lnTo>
                  <a:pt x="12192000" y="515121"/>
                </a:lnTo>
                <a:lnTo>
                  <a:pt x="5994697" y="6858000"/>
                </a:lnTo>
                <a:lnTo>
                  <a:pt x="0" y="6858000"/>
                </a:lnTo>
                <a:lnTo>
                  <a:pt x="0" y="58049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15" name="Diagonal Stripe 14"/>
          <p:cNvSpPr/>
          <p:nvPr userDrawn="1"/>
        </p:nvSpPr>
        <p:spPr>
          <a:xfrm>
            <a:off x="4" y="8"/>
            <a:ext cx="5676901" cy="5810251"/>
          </a:xfrm>
          <a:prstGeom prst="diagStripe">
            <a:avLst>
              <a:gd name="adj" fmla="val 4737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17">
              <a:solidFill>
                <a:prstClr val="black"/>
              </a:solidFill>
            </a:endParaRPr>
          </a:p>
        </p:txBody>
      </p:sp>
      <p:sp>
        <p:nvSpPr>
          <p:cNvPr id="19" name="Diagonal Stripe 18"/>
          <p:cNvSpPr/>
          <p:nvPr userDrawn="1"/>
        </p:nvSpPr>
        <p:spPr>
          <a:xfrm>
            <a:off x="1612901" y="0"/>
            <a:ext cx="4064000" cy="4152900"/>
          </a:xfrm>
          <a:prstGeom prst="diagStripe">
            <a:avLst>
              <a:gd name="adj" fmla="val 77829"/>
            </a:avLst>
          </a:prstGeom>
          <a:solidFill>
            <a:schemeClr val="tx1">
              <a:lumMod val="85000"/>
              <a:lumOff val="15000"/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17">
              <a:solidFill>
                <a:prstClr val="black"/>
              </a:solidFill>
            </a:endParaRPr>
          </a:p>
        </p:txBody>
      </p:sp>
      <p:sp>
        <p:nvSpPr>
          <p:cNvPr id="24" name="Freeform: Shape 23"/>
          <p:cNvSpPr/>
          <p:nvPr userDrawn="1"/>
        </p:nvSpPr>
        <p:spPr>
          <a:xfrm>
            <a:off x="-25407" y="384182"/>
            <a:ext cx="4105296" cy="4195099"/>
          </a:xfrm>
          <a:custGeom>
            <a:avLst/>
            <a:gdLst>
              <a:gd name="connsiteX0" fmla="*/ 3792580 w 4105295"/>
              <a:gd name="connsiteY0" fmla="*/ 0 h 4195099"/>
              <a:gd name="connsiteX1" fmla="*/ 4105295 w 4105295"/>
              <a:gd name="connsiteY1" fmla="*/ 0 h 4195099"/>
              <a:gd name="connsiteX2" fmla="*/ 0 w 4105295"/>
              <a:gd name="connsiteY2" fmla="*/ 4195099 h 4195099"/>
              <a:gd name="connsiteX3" fmla="*/ 0 w 4105295"/>
              <a:gd name="connsiteY3" fmla="*/ 3875543 h 4195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05295" h="4195099">
                <a:moveTo>
                  <a:pt x="3792580" y="0"/>
                </a:moveTo>
                <a:lnTo>
                  <a:pt x="4105295" y="0"/>
                </a:lnTo>
                <a:lnTo>
                  <a:pt x="0" y="4195099"/>
                </a:lnTo>
                <a:lnTo>
                  <a:pt x="0" y="3875543"/>
                </a:lnTo>
                <a:close/>
              </a:path>
            </a:pathLst>
          </a:custGeom>
          <a:solidFill>
            <a:schemeClr val="bg1">
              <a:lumMod val="50000"/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17">
              <a:solidFill>
                <a:prstClr val="black"/>
              </a:solidFill>
            </a:endParaRPr>
          </a:p>
        </p:txBody>
      </p:sp>
      <p:sp>
        <p:nvSpPr>
          <p:cNvPr id="25" name="Freeform: Shape 24"/>
          <p:cNvSpPr/>
          <p:nvPr userDrawn="1"/>
        </p:nvSpPr>
        <p:spPr>
          <a:xfrm>
            <a:off x="546543" y="8"/>
            <a:ext cx="3218888" cy="3289301"/>
          </a:xfrm>
          <a:custGeom>
            <a:avLst/>
            <a:gdLst>
              <a:gd name="connsiteX0" fmla="*/ 3076592 w 3218888"/>
              <a:gd name="connsiteY0" fmla="*/ 0 h 3289301"/>
              <a:gd name="connsiteX1" fmla="*/ 3218888 w 3218888"/>
              <a:gd name="connsiteY1" fmla="*/ 0 h 3289301"/>
              <a:gd name="connsiteX2" fmla="*/ 0 w 3218888"/>
              <a:gd name="connsiteY2" fmla="*/ 3289301 h 3289301"/>
              <a:gd name="connsiteX3" fmla="*/ 0 w 3218888"/>
              <a:gd name="connsiteY3" fmla="*/ 3143893 h 3289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8888" h="3289301">
                <a:moveTo>
                  <a:pt x="3076592" y="0"/>
                </a:moveTo>
                <a:lnTo>
                  <a:pt x="3218888" y="0"/>
                </a:lnTo>
                <a:lnTo>
                  <a:pt x="0" y="3289301"/>
                </a:lnTo>
                <a:lnTo>
                  <a:pt x="0" y="3143893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17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620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003302" y="771533"/>
            <a:ext cx="7785101" cy="676275"/>
          </a:xfrm>
          <a:prstGeom prst="rect">
            <a:avLst/>
          </a:prstGeom>
        </p:spPr>
        <p:txBody>
          <a:bodyPr/>
          <a:lstStyle>
            <a:lvl1pPr>
              <a:defRPr spc="-135">
                <a:solidFill>
                  <a:schemeClr val="bg1">
                    <a:lumMod val="95000"/>
                  </a:schemeClr>
                </a:solidFill>
                <a:latin typeface="Aller Bold" panose="02000803040000020004" pitchFamily="2" charset="0"/>
              </a:defRPr>
            </a:lvl1pPr>
          </a:lstStyle>
          <a:p>
            <a:r>
              <a:rPr lang="en-US"/>
              <a:t>Your Title Text Goes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2" y="1422400"/>
            <a:ext cx="7785101" cy="279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37" spc="27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Your Subtitle Goes He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003301" y="2276475"/>
            <a:ext cx="2286000" cy="2286000"/>
          </a:xfrm>
          <a:prstGeom prst="diamond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581400" y="2276475"/>
            <a:ext cx="2286000" cy="2286000"/>
          </a:xfrm>
          <a:prstGeom prst="diamond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9501" y="2276475"/>
            <a:ext cx="2286000" cy="2286000"/>
          </a:xfrm>
          <a:prstGeom prst="diamond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8737600" y="2276475"/>
            <a:ext cx="2286000" cy="2286000"/>
          </a:xfrm>
          <a:prstGeom prst="diamond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1791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0"/>
          </p:nvPr>
        </p:nvSpPr>
        <p:spPr>
          <a:xfrm>
            <a:off x="7112000" y="0"/>
            <a:ext cx="5080000" cy="6858000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6571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351743" y="-1"/>
            <a:ext cx="9840261" cy="6858001"/>
          </a:xfrm>
          <a:custGeom>
            <a:avLst/>
            <a:gdLst>
              <a:gd name="connsiteX0" fmla="*/ 0 w 9840261"/>
              <a:gd name="connsiteY0" fmla="*/ 0 h 6858001"/>
              <a:gd name="connsiteX1" fmla="*/ 6858001 w 9840261"/>
              <a:gd name="connsiteY1" fmla="*/ 0 h 6858001"/>
              <a:gd name="connsiteX2" fmla="*/ 6858001 w 9840261"/>
              <a:gd name="connsiteY2" fmla="*/ 2 h 6858001"/>
              <a:gd name="connsiteX3" fmla="*/ 9840261 w 9840261"/>
              <a:gd name="connsiteY3" fmla="*/ 2 h 6858001"/>
              <a:gd name="connsiteX4" fmla="*/ 9840261 w 9840261"/>
              <a:gd name="connsiteY4" fmla="*/ 6858001 h 6858001"/>
              <a:gd name="connsiteX5" fmla="*/ 6858001 w 9840261"/>
              <a:gd name="connsiteY5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40261" h="6858001">
                <a:moveTo>
                  <a:pt x="0" y="0"/>
                </a:moveTo>
                <a:lnTo>
                  <a:pt x="6858001" y="0"/>
                </a:lnTo>
                <a:lnTo>
                  <a:pt x="6858001" y="2"/>
                </a:lnTo>
                <a:lnTo>
                  <a:pt x="9840261" y="2"/>
                </a:lnTo>
                <a:lnTo>
                  <a:pt x="9840261" y="6858001"/>
                </a:lnTo>
                <a:lnTo>
                  <a:pt x="6858001" y="685800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9818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2658314"/>
              </p:ext>
            </p:extLst>
          </p:nvPr>
        </p:nvGraphicFramePr>
        <p:xfrm>
          <a:off x="1590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F1A3325-EF35-4644-9436-3B4A2CF97D9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223114" cy="6858000"/>
          </a:xfrm>
          <a:prstGeom prst="rect">
            <a:avLst/>
          </a:prstGeom>
        </p:spPr>
      </p:pic>
      <p:sp>
        <p:nvSpPr>
          <p:cNvPr id="4" name="Hexagon 3">
            <a:extLst>
              <a:ext uri="{FF2B5EF4-FFF2-40B4-BE49-F238E27FC236}">
                <a16:creationId xmlns:a16="http://schemas.microsoft.com/office/drawing/2014/main" id="{ADBDF6F9-184E-47D1-8E30-FDAF13AF81DE}"/>
              </a:ext>
            </a:extLst>
          </p:cNvPr>
          <p:cNvSpPr/>
          <p:nvPr userDrawn="1"/>
        </p:nvSpPr>
        <p:spPr bwMode="gray">
          <a:xfrm flipV="1">
            <a:off x="5529635" y="1295354"/>
            <a:ext cx="5488228" cy="4733694"/>
          </a:xfrm>
          <a:prstGeom prst="hexagon">
            <a:avLst/>
          </a:prstGeom>
          <a:noFill/>
          <a:ln w="12700">
            <a:solidFill>
              <a:srgbClr val="FFE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IN" sz="4420">
              <a:solidFill>
                <a:schemeClr val="bg2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5F882AA3-D2E5-41FA-BAE2-06CC5F30E86D}"/>
              </a:ext>
            </a:extLst>
          </p:cNvPr>
          <p:cNvSpPr/>
          <p:nvPr userDrawn="1"/>
        </p:nvSpPr>
        <p:spPr bwMode="gray">
          <a:xfrm>
            <a:off x="5680643" y="1425604"/>
            <a:ext cx="5186213" cy="4473203"/>
          </a:xfrm>
          <a:prstGeom prst="hexagon">
            <a:avLst/>
          </a:prstGeom>
          <a:solidFill>
            <a:srgbClr val="40404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IN" sz="4420">
                <a:solidFill>
                  <a:srgbClr val="FFE400"/>
                </a:solidFill>
                <a:latin typeface="EYInterstate Light" panose="02000506000000020004" pitchFamily="2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0827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87710" y="1602642"/>
            <a:ext cx="3883250" cy="24503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83258" y="1602642"/>
            <a:ext cx="3883250" cy="24503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785308" y="1340764"/>
            <a:ext cx="4621702" cy="291625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36650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2989946" y="0"/>
            <a:ext cx="9202057" cy="6858000"/>
          </a:xfrm>
          <a:custGeom>
            <a:avLst/>
            <a:gdLst>
              <a:gd name="connsiteX0" fmla="*/ 6850742 w 9202057"/>
              <a:gd name="connsiteY0" fmla="*/ 0 h 6858000"/>
              <a:gd name="connsiteX1" fmla="*/ 9202057 w 9202057"/>
              <a:gd name="connsiteY1" fmla="*/ 0 h 6858000"/>
              <a:gd name="connsiteX2" fmla="*/ 9202057 w 9202057"/>
              <a:gd name="connsiteY2" fmla="*/ 6858000 h 6858000"/>
              <a:gd name="connsiteX3" fmla="*/ 6850742 w 9202057"/>
              <a:gd name="connsiteY3" fmla="*/ 6858000 h 6858000"/>
              <a:gd name="connsiteX4" fmla="*/ 0 w 920205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02057" h="6858000">
                <a:moveTo>
                  <a:pt x="6850742" y="0"/>
                </a:moveTo>
                <a:lnTo>
                  <a:pt x="9202057" y="0"/>
                </a:lnTo>
                <a:lnTo>
                  <a:pt x="9202057" y="6858000"/>
                </a:lnTo>
                <a:lnTo>
                  <a:pt x="685074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940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214662" y="2"/>
            <a:ext cx="6625464" cy="3497943"/>
          </a:xfrm>
          <a:custGeom>
            <a:avLst/>
            <a:gdLst>
              <a:gd name="connsiteX0" fmla="*/ 3466881 w 6625463"/>
              <a:gd name="connsiteY0" fmla="*/ 0 h 3497943"/>
              <a:gd name="connsiteX1" fmla="*/ 6625463 w 6625463"/>
              <a:gd name="connsiteY1" fmla="*/ 0 h 3497943"/>
              <a:gd name="connsiteX2" fmla="*/ 3158582 w 6625463"/>
              <a:gd name="connsiteY2" fmla="*/ 3497943 h 3497943"/>
              <a:gd name="connsiteX3" fmla="*/ 0 w 6625463"/>
              <a:gd name="connsiteY3" fmla="*/ 3497943 h 3497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25463" h="3497943">
                <a:moveTo>
                  <a:pt x="3466881" y="0"/>
                </a:moveTo>
                <a:lnTo>
                  <a:pt x="6625463" y="0"/>
                </a:lnTo>
                <a:lnTo>
                  <a:pt x="3158582" y="3497943"/>
                </a:lnTo>
                <a:lnTo>
                  <a:pt x="0" y="349794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3527394" y="2"/>
            <a:ext cx="6625464" cy="3497943"/>
          </a:xfrm>
          <a:custGeom>
            <a:avLst/>
            <a:gdLst>
              <a:gd name="connsiteX0" fmla="*/ 3466881 w 6625463"/>
              <a:gd name="connsiteY0" fmla="*/ 0 h 3497943"/>
              <a:gd name="connsiteX1" fmla="*/ 6625463 w 6625463"/>
              <a:gd name="connsiteY1" fmla="*/ 0 h 3497943"/>
              <a:gd name="connsiteX2" fmla="*/ 3158582 w 6625463"/>
              <a:gd name="connsiteY2" fmla="*/ 3497943 h 3497943"/>
              <a:gd name="connsiteX3" fmla="*/ 0 w 6625463"/>
              <a:gd name="connsiteY3" fmla="*/ 3497943 h 3497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25463" h="3497943">
                <a:moveTo>
                  <a:pt x="3466881" y="0"/>
                </a:moveTo>
                <a:lnTo>
                  <a:pt x="6625463" y="0"/>
                </a:lnTo>
                <a:lnTo>
                  <a:pt x="3158582" y="3497943"/>
                </a:lnTo>
                <a:lnTo>
                  <a:pt x="0" y="349794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/>
          </p:nvPr>
        </p:nvSpPr>
        <p:spPr>
          <a:xfrm>
            <a:off x="6840126" y="2"/>
            <a:ext cx="6625464" cy="3497943"/>
          </a:xfrm>
          <a:custGeom>
            <a:avLst/>
            <a:gdLst>
              <a:gd name="connsiteX0" fmla="*/ 3466881 w 6625463"/>
              <a:gd name="connsiteY0" fmla="*/ 0 h 3497943"/>
              <a:gd name="connsiteX1" fmla="*/ 6625463 w 6625463"/>
              <a:gd name="connsiteY1" fmla="*/ 0 h 3497943"/>
              <a:gd name="connsiteX2" fmla="*/ 3158582 w 6625463"/>
              <a:gd name="connsiteY2" fmla="*/ 3497943 h 3497943"/>
              <a:gd name="connsiteX3" fmla="*/ 0 w 6625463"/>
              <a:gd name="connsiteY3" fmla="*/ 3497943 h 3497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25463" h="3497943">
                <a:moveTo>
                  <a:pt x="3466881" y="0"/>
                </a:moveTo>
                <a:lnTo>
                  <a:pt x="6625463" y="0"/>
                </a:lnTo>
                <a:lnTo>
                  <a:pt x="3158582" y="3497943"/>
                </a:lnTo>
                <a:lnTo>
                  <a:pt x="0" y="349794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200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/>
          <p:cNvSpPr/>
          <p:nvPr userDrawn="1"/>
        </p:nvSpPr>
        <p:spPr>
          <a:xfrm rot="10800000">
            <a:off x="5334004" y="4"/>
            <a:ext cx="6857999" cy="6857999"/>
          </a:xfrm>
          <a:prstGeom prst="rtTriangl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17">
              <a:solidFill>
                <a:prstClr val="white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334001" y="1"/>
            <a:ext cx="6858000" cy="6858000"/>
          </a:xfrm>
          <a:custGeom>
            <a:avLst/>
            <a:gdLst>
              <a:gd name="connsiteX0" fmla="*/ 0 w 6008915"/>
              <a:gd name="connsiteY0" fmla="*/ 0 h 6008915"/>
              <a:gd name="connsiteX1" fmla="*/ 6008915 w 6008915"/>
              <a:gd name="connsiteY1" fmla="*/ 6008915 h 6008915"/>
              <a:gd name="connsiteX2" fmla="*/ 1959447 w 6008915"/>
              <a:gd name="connsiteY2" fmla="*/ 6008915 h 6008915"/>
              <a:gd name="connsiteX3" fmla="*/ 0 w 6008915"/>
              <a:gd name="connsiteY3" fmla="*/ 4049468 h 600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8915" h="6008915">
                <a:moveTo>
                  <a:pt x="0" y="0"/>
                </a:moveTo>
                <a:lnTo>
                  <a:pt x="6008915" y="6008915"/>
                </a:lnTo>
                <a:lnTo>
                  <a:pt x="1959447" y="6008915"/>
                </a:lnTo>
                <a:lnTo>
                  <a:pt x="0" y="404946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20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DEEE8F-8979-4277-B8CD-851591AB07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91403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6DEEE8F-8979-4277-B8CD-851591AB0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0F55AD-8908-43E8-960C-8F4683535E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rtl="0"/>
            <a:endParaRPr lang="en-US" sz="3498" b="1" i="0" baseline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985704" y="2346733"/>
            <a:ext cx="4595007" cy="860400"/>
          </a:xfrm>
          <a:prstGeom prst="rect">
            <a:avLst/>
          </a:prstGeom>
        </p:spPr>
        <p:txBody>
          <a:bodyPr vert="horz"/>
          <a:lstStyle>
            <a:lvl1pPr rtl="0">
              <a:defRPr cap="none" baseline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985704" y="4647490"/>
            <a:ext cx="4595007" cy="645742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sz="1999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94A4F7-6F77-4E1C-90D2-68A8D06D5F25}"/>
              </a:ext>
            </a:extLst>
          </p:cNvPr>
          <p:cNvSpPr/>
          <p:nvPr userDrawn="1"/>
        </p:nvSpPr>
        <p:spPr>
          <a:xfrm rot="5400000">
            <a:off x="3536871" y="-1823820"/>
            <a:ext cx="6857999" cy="10505637"/>
          </a:xfrm>
          <a:prstGeom prst="rect">
            <a:avLst/>
          </a:prstGeom>
          <a:gradFill>
            <a:gsLst>
              <a:gs pos="21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fr-FR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306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  <p15:guide id="3" pos="731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179714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1904828" y="-1090376"/>
            <a:ext cx="10287174" cy="9616733"/>
            <a:chOff x="1904826" y="-1090376"/>
            <a:chExt cx="10287174" cy="9616733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8926287" y="4535492"/>
              <a:ext cx="3265713" cy="2322508"/>
              <a:chOff x="0" y="-32726"/>
              <a:chExt cx="1790700" cy="1273509"/>
            </a:xfrm>
          </p:grpSpPr>
          <p:sp>
            <p:nvSpPr>
              <p:cNvPr id="16" name="Parallelogram 15"/>
              <p:cNvSpPr/>
              <p:nvPr userDrawn="1"/>
            </p:nvSpPr>
            <p:spPr>
              <a:xfrm>
                <a:off x="486926" y="-32726"/>
                <a:ext cx="1303774" cy="876417"/>
              </a:xfrm>
              <a:prstGeom prst="parallelogram">
                <a:avLst>
                  <a:gd name="adj" fmla="val 99112"/>
                </a:avLst>
              </a:prstGeom>
              <a:solidFill>
                <a:schemeClr val="bg1">
                  <a:lumMod val="85000"/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en-US" sz="1617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Freeform: Shape 16"/>
              <p:cNvSpPr/>
              <p:nvPr userDrawn="1"/>
            </p:nvSpPr>
            <p:spPr>
              <a:xfrm>
                <a:off x="0" y="405483"/>
                <a:ext cx="827882" cy="835300"/>
              </a:xfrm>
              <a:custGeom>
                <a:avLst/>
                <a:gdLst>
                  <a:gd name="connsiteX0" fmla="*/ 392742 w 827882"/>
                  <a:gd name="connsiteY0" fmla="*/ 0 h 835300"/>
                  <a:gd name="connsiteX1" fmla="*/ 827882 w 827882"/>
                  <a:gd name="connsiteY1" fmla="*/ 0 h 835300"/>
                  <a:gd name="connsiteX2" fmla="*/ 0 w 827882"/>
                  <a:gd name="connsiteY2" fmla="*/ 835300 h 835300"/>
                  <a:gd name="connsiteX3" fmla="*/ 0 w 827882"/>
                  <a:gd name="connsiteY3" fmla="*/ 396261 h 83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7882" h="835300">
                    <a:moveTo>
                      <a:pt x="392742" y="0"/>
                    </a:moveTo>
                    <a:lnTo>
                      <a:pt x="827882" y="0"/>
                    </a:lnTo>
                    <a:lnTo>
                      <a:pt x="0" y="835300"/>
                    </a:lnTo>
                    <a:lnTo>
                      <a:pt x="0" y="396261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2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en-US" sz="1617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4" name="Parallelogram 13"/>
            <p:cNvSpPr/>
            <p:nvPr userDrawn="1"/>
          </p:nvSpPr>
          <p:spPr>
            <a:xfrm>
              <a:off x="5061684" y="-1090376"/>
              <a:ext cx="3494603" cy="3590806"/>
            </a:xfrm>
            <a:prstGeom prst="parallelogram">
              <a:avLst>
                <a:gd name="adj" fmla="val 95896"/>
              </a:avLst>
            </a:prstGeom>
            <a:solidFill>
              <a:schemeClr val="bg1">
                <a:lumMod val="95000"/>
                <a:alpha val="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617">
                <a:solidFill>
                  <a:prstClr val="white"/>
                </a:solidFill>
              </a:endParaRPr>
            </a:p>
          </p:txBody>
        </p:sp>
        <p:sp>
          <p:nvSpPr>
            <p:cNvPr id="15" name="Parallelogram 14"/>
            <p:cNvSpPr/>
            <p:nvPr userDrawn="1"/>
          </p:nvSpPr>
          <p:spPr>
            <a:xfrm>
              <a:off x="1904826" y="4935551"/>
              <a:ext cx="3494603" cy="3590806"/>
            </a:xfrm>
            <a:prstGeom prst="parallelogram">
              <a:avLst>
                <a:gd name="adj" fmla="val 95896"/>
              </a:avLst>
            </a:prstGeom>
            <a:solidFill>
              <a:schemeClr val="bg1">
                <a:lumMod val="95000"/>
                <a:alpha val="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617">
                <a:solidFill>
                  <a:prstClr val="white"/>
                </a:solidFill>
              </a:endParaRPr>
            </a:p>
          </p:txBody>
        </p:sp>
      </p:grpSp>
      <p:pic>
        <p:nvPicPr>
          <p:cNvPr id="3" name="pasted-image.tif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3278" y="465796"/>
            <a:ext cx="7361645" cy="4022796"/>
          </a:xfrm>
          <a:prstGeom prst="rect">
            <a:avLst/>
          </a:prstGeom>
          <a:ln w="12700">
            <a:miter lim="400000"/>
          </a:ln>
          <a:effectLst>
            <a:outerShdw blurRad="12700" sx="101000" sy="101000" algn="ctr" rotWithShape="0">
              <a:prstClr val="black">
                <a:alpha val="17000"/>
              </a:prstClr>
            </a:outerShdw>
          </a:effectLst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489326" y="715963"/>
            <a:ext cx="5289550" cy="3306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001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4"/>
            <a:ext cx="12192000" cy="359954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8430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7869717" cy="6858000"/>
          </a:xfrm>
          <a:custGeom>
            <a:avLst/>
            <a:gdLst>
              <a:gd name="connsiteX0" fmla="*/ 0 w 7903028"/>
              <a:gd name="connsiteY0" fmla="*/ 0 h 6887028"/>
              <a:gd name="connsiteX1" fmla="*/ 1016000 w 7903028"/>
              <a:gd name="connsiteY1" fmla="*/ 0 h 6887028"/>
              <a:gd name="connsiteX2" fmla="*/ 7903028 w 7903028"/>
              <a:gd name="connsiteY2" fmla="*/ 0 h 6887028"/>
              <a:gd name="connsiteX3" fmla="*/ 1016000 w 7903028"/>
              <a:gd name="connsiteY3" fmla="*/ 6887028 h 6887028"/>
              <a:gd name="connsiteX4" fmla="*/ 0 w 7903028"/>
              <a:gd name="connsiteY4" fmla="*/ 6887028 h 68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3028" h="6887028">
                <a:moveTo>
                  <a:pt x="0" y="0"/>
                </a:moveTo>
                <a:lnTo>
                  <a:pt x="1016000" y="0"/>
                </a:lnTo>
                <a:lnTo>
                  <a:pt x="7903028" y="0"/>
                </a:lnTo>
                <a:lnTo>
                  <a:pt x="1016000" y="6887028"/>
                </a:lnTo>
                <a:lnTo>
                  <a:pt x="0" y="688702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9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лилиния 21"/>
          <p:cNvSpPr/>
          <p:nvPr userDrawn="1"/>
        </p:nvSpPr>
        <p:spPr bwMode="auto">
          <a:xfrm rot="5400000" flipH="1" flipV="1">
            <a:off x="5465284" y="3583290"/>
            <a:ext cx="2458925" cy="4445446"/>
          </a:xfrm>
          <a:custGeom>
            <a:avLst/>
            <a:gdLst>
              <a:gd name="connsiteX0" fmla="*/ 3576680 w 3576680"/>
              <a:gd name="connsiteY0" fmla="*/ 0 h 6466215"/>
              <a:gd name="connsiteX1" fmla="*/ 3576680 w 3576680"/>
              <a:gd name="connsiteY1" fmla="*/ 2889535 h 6466215"/>
              <a:gd name="connsiteX2" fmla="*/ 0 w 3576680"/>
              <a:gd name="connsiteY2" fmla="*/ 6466215 h 6466215"/>
              <a:gd name="connsiteX3" fmla="*/ 0 w 3576680"/>
              <a:gd name="connsiteY3" fmla="*/ 3576680 h 6466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76680" h="6466215">
                <a:moveTo>
                  <a:pt x="3576680" y="0"/>
                </a:moveTo>
                <a:lnTo>
                  <a:pt x="3576680" y="2889535"/>
                </a:lnTo>
                <a:lnTo>
                  <a:pt x="0" y="6466215"/>
                </a:lnTo>
                <a:lnTo>
                  <a:pt x="0" y="3576680"/>
                </a:lnTo>
                <a:close/>
              </a:path>
            </a:pathLst>
          </a:custGeom>
          <a:solidFill>
            <a:schemeClr val="bg1">
              <a:lumMod val="75000"/>
              <a:alpha val="5000"/>
            </a:schemeClr>
          </a:solidFill>
          <a:ln>
            <a:noFill/>
          </a:ln>
        </p:spPr>
        <p:txBody>
          <a:bodyPr vert="horz" wrap="square" lIns="82131" tIns="41065" rIns="82131" bIns="41065" numCol="1" rtlCol="0" anchor="t" anchorCtr="0" compatLnSpc="1">
            <a:prstTxWarp prst="textNoShape">
              <a:avLst/>
            </a:prstTxWarp>
          </a:bodyPr>
          <a:lstStyle/>
          <a:p>
            <a:pPr algn="ctr" eaLnBrk="1"/>
            <a:endParaRPr lang="en-US" sz="1617">
              <a:solidFill>
                <a:prstClr val="black"/>
              </a:solidFill>
            </a:endParaRP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" y="2346332"/>
            <a:ext cx="6174970" cy="4511675"/>
          </a:xfrm>
          <a:custGeom>
            <a:avLst/>
            <a:gdLst>
              <a:gd name="connsiteX0" fmla="*/ 0 w 6174970"/>
              <a:gd name="connsiteY0" fmla="*/ 0 h 4511675"/>
              <a:gd name="connsiteX1" fmla="*/ 1747364 w 6174970"/>
              <a:gd name="connsiteY1" fmla="*/ 1692613 h 4511675"/>
              <a:gd name="connsiteX2" fmla="*/ 1747364 w 6174970"/>
              <a:gd name="connsiteY2" fmla="*/ 222799 h 4511675"/>
              <a:gd name="connsiteX3" fmla="*/ 6174970 w 6174970"/>
              <a:gd name="connsiteY3" fmla="*/ 4511675 h 4511675"/>
              <a:gd name="connsiteX4" fmla="*/ 5185894 w 6174970"/>
              <a:gd name="connsiteY4" fmla="*/ 4511675 h 4511675"/>
              <a:gd name="connsiteX5" fmla="*/ 2844800 w 6174970"/>
              <a:gd name="connsiteY5" fmla="*/ 2243935 h 4511675"/>
              <a:gd name="connsiteX6" fmla="*/ 2844800 w 6174970"/>
              <a:gd name="connsiteY6" fmla="*/ 2755661 h 4511675"/>
              <a:gd name="connsiteX7" fmla="*/ 4657614 w 6174970"/>
              <a:gd name="connsiteY7" fmla="*/ 4511674 h 4511675"/>
              <a:gd name="connsiteX8" fmla="*/ 4657613 w 6174970"/>
              <a:gd name="connsiteY8" fmla="*/ 4511675 h 4511675"/>
              <a:gd name="connsiteX9" fmla="*/ 2844800 w 6174970"/>
              <a:gd name="connsiteY9" fmla="*/ 4511675 h 4511675"/>
              <a:gd name="connsiteX10" fmla="*/ 2736443 w 6174970"/>
              <a:gd name="connsiteY10" fmla="*/ 4511675 h 4511675"/>
              <a:gd name="connsiteX11" fmla="*/ 2736442 w 6174970"/>
              <a:gd name="connsiteY11" fmla="*/ 4511675 h 4511675"/>
              <a:gd name="connsiteX12" fmla="*/ 2147888 w 6174970"/>
              <a:gd name="connsiteY12" fmla="*/ 4511675 h 4511675"/>
              <a:gd name="connsiteX13" fmla="*/ 0 w 6174970"/>
              <a:gd name="connsiteY13" fmla="*/ 4511675 h 4511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74970" h="4511675">
                <a:moveTo>
                  <a:pt x="0" y="0"/>
                </a:moveTo>
                <a:lnTo>
                  <a:pt x="1747364" y="1692613"/>
                </a:lnTo>
                <a:lnTo>
                  <a:pt x="1747364" y="222799"/>
                </a:lnTo>
                <a:lnTo>
                  <a:pt x="6174970" y="4511675"/>
                </a:lnTo>
                <a:lnTo>
                  <a:pt x="5185894" y="4511675"/>
                </a:lnTo>
                <a:lnTo>
                  <a:pt x="2844800" y="2243935"/>
                </a:lnTo>
                <a:lnTo>
                  <a:pt x="2844800" y="2755661"/>
                </a:lnTo>
                <a:lnTo>
                  <a:pt x="4657614" y="4511674"/>
                </a:lnTo>
                <a:lnTo>
                  <a:pt x="4657613" y="4511675"/>
                </a:lnTo>
                <a:lnTo>
                  <a:pt x="2844800" y="4511675"/>
                </a:lnTo>
                <a:lnTo>
                  <a:pt x="2736443" y="4511675"/>
                </a:lnTo>
                <a:lnTo>
                  <a:pt x="2736442" y="4511675"/>
                </a:lnTo>
                <a:lnTo>
                  <a:pt x="2147888" y="4511675"/>
                </a:lnTo>
                <a:lnTo>
                  <a:pt x="0" y="451167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437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110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1188202"/>
              </p:ext>
            </p:extLst>
          </p:nvPr>
        </p:nvGraphicFramePr>
        <p:xfrm>
          <a:off x="1590" y="159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5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https://tpc.googlesyndication.com/pagead/imgad?id=CICAgKDrvYb37QEQARgBMgjh18LWBAKV8Q"/>
          <p:cNvPicPr>
            <a:picLocks noChangeAspect="1"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64655" y="6728"/>
            <a:ext cx="12256656" cy="6874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9D811AC-9A83-4508-AE62-94E78296A663}"/>
              </a:ext>
            </a:extLst>
          </p:cNvPr>
          <p:cNvSpPr/>
          <p:nvPr userDrawn="1"/>
        </p:nvSpPr>
        <p:spPr>
          <a:xfrm>
            <a:off x="-64655" y="1532356"/>
            <a:ext cx="11389747" cy="164407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711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01600"/>
            <a:ext cx="10972800" cy="674700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425600"/>
            <a:ext cx="10972800" cy="47000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2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5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72206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16431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05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1643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2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62239" indent="-162239" algn="l" defTabSz="91643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2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1643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37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73932" indent="-173932" algn="l" defTabSz="91643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37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538925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hand holding a glowing sphere&#10;&#10;Description automatically generated">
            <a:extLst>
              <a:ext uri="{FF2B5EF4-FFF2-40B4-BE49-F238E27FC236}">
                <a16:creationId xmlns:a16="http://schemas.microsoft.com/office/drawing/2014/main" id="{A1132F16-8EAF-D014-9C06-4EA925FCAA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73404F9-7459-BD52-4377-9FAC176AE14F}"/>
              </a:ext>
            </a:extLst>
          </p:cNvPr>
          <p:cNvSpPr/>
          <p:nvPr userDrawn="1"/>
        </p:nvSpPr>
        <p:spPr>
          <a:xfrm rot="10800000">
            <a:off x="0" y="0"/>
            <a:ext cx="9751697" cy="6858000"/>
          </a:xfrm>
          <a:prstGeom prst="rect">
            <a:avLst/>
          </a:prstGeom>
          <a:gradFill flip="none" rotWithShape="1">
            <a:gsLst>
              <a:gs pos="0">
                <a:srgbClr val="201154">
                  <a:alpha val="88000"/>
                </a:srgbClr>
              </a:gs>
              <a:gs pos="55000">
                <a:srgbClr val="310B32">
                  <a:alpha val="65000"/>
                </a:srgbClr>
              </a:gs>
              <a:gs pos="100000">
                <a:srgbClr val="350E43">
                  <a:alpha val="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3B67CD5-413C-7AAF-8AFC-49F70726B492}"/>
              </a:ext>
            </a:extLst>
          </p:cNvPr>
          <p:cNvGrpSpPr/>
          <p:nvPr userDrawn="1"/>
        </p:nvGrpSpPr>
        <p:grpSpPr>
          <a:xfrm>
            <a:off x="485523" y="6164633"/>
            <a:ext cx="4938363" cy="318770"/>
            <a:chOff x="485775" y="6164633"/>
            <a:chExt cx="4940935" cy="318770"/>
          </a:xfrm>
        </p:grpSpPr>
        <p:sp>
          <p:nvSpPr>
            <p:cNvPr id="3" name="Freeform 296">
              <a:extLst>
                <a:ext uri="{FF2B5EF4-FFF2-40B4-BE49-F238E27FC236}">
                  <a16:creationId xmlns:a16="http://schemas.microsoft.com/office/drawing/2014/main" id="{0CE053C9-427E-78E4-1481-00E37C4BDF51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4" name="Freeform 297">
              <a:extLst>
                <a:ext uri="{FF2B5EF4-FFF2-40B4-BE49-F238E27FC236}">
                  <a16:creationId xmlns:a16="http://schemas.microsoft.com/office/drawing/2014/main" id="{47F88867-F403-AB8D-00F5-6AAD00E21468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</p:grpSp>
      <p:sp>
        <p:nvSpPr>
          <p:cNvPr id="10" name="Title 4">
            <a:extLst>
              <a:ext uri="{FF2B5EF4-FFF2-40B4-BE49-F238E27FC236}">
                <a16:creationId xmlns:a16="http://schemas.microsoft.com/office/drawing/2014/main" id="{A972679B-18DE-8817-1AB9-F94A83D28FC8}"/>
              </a:ext>
            </a:extLst>
          </p:cNvPr>
          <p:cNvSpPr txBox="1">
            <a:spLocks/>
          </p:cNvSpPr>
          <p:nvPr userDrawn="1"/>
        </p:nvSpPr>
        <p:spPr>
          <a:xfrm>
            <a:off x="669431" y="2508982"/>
            <a:ext cx="5025691" cy="1585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200" b="1" i="0" kern="1200">
                <a:solidFill>
                  <a:schemeClr val="tx1"/>
                </a:solidFill>
                <a:latin typeface="EYInterstate Regular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n-IN" sz="3200">
                <a:solidFill>
                  <a:schemeClr val="bg1"/>
                </a:solidFill>
              </a:rPr>
              <a:t>Financial planning &amp; transformation for KFin Technologies Limited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BF1C425-1BEE-0C73-734A-BF89579A5CA0}"/>
              </a:ext>
            </a:extLst>
          </p:cNvPr>
          <p:cNvGrpSpPr/>
          <p:nvPr userDrawn="1"/>
        </p:nvGrpSpPr>
        <p:grpSpPr>
          <a:xfrm>
            <a:off x="485520" y="1679873"/>
            <a:ext cx="4938359" cy="2956820"/>
            <a:chOff x="485774" y="1291008"/>
            <a:chExt cx="5706110" cy="4360545"/>
          </a:xfrm>
        </p:grpSpPr>
        <p:sp>
          <p:nvSpPr>
            <p:cNvPr id="20" name="Freeform 25">
              <a:extLst>
                <a:ext uri="{FF2B5EF4-FFF2-40B4-BE49-F238E27FC236}">
                  <a16:creationId xmlns:a16="http://schemas.microsoft.com/office/drawing/2014/main" id="{9CDA539F-0975-2245-FFF9-CA9F95CCD9D7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1" name="Freeform 26">
              <a:extLst>
                <a:ext uri="{FF2B5EF4-FFF2-40B4-BE49-F238E27FC236}">
                  <a16:creationId xmlns:a16="http://schemas.microsoft.com/office/drawing/2014/main" id="{A0F86D32-6E3A-E481-F7AD-037335556830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799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05A8661-1A09-F827-1127-8995FCA11C21}"/>
              </a:ext>
            </a:extLst>
          </p:cNvPr>
          <p:cNvGrpSpPr/>
          <p:nvPr userDrawn="1"/>
        </p:nvGrpSpPr>
        <p:grpSpPr bwMode="black">
          <a:xfrm>
            <a:off x="10383192" y="5167683"/>
            <a:ext cx="1218565" cy="1284606"/>
            <a:chOff x="10563224" y="5158158"/>
            <a:chExt cx="1219200" cy="1284606"/>
          </a:xfrm>
        </p:grpSpPr>
        <p:sp>
          <p:nvSpPr>
            <p:cNvPr id="7" name="Freeform 310">
              <a:extLst>
                <a:ext uri="{FF2B5EF4-FFF2-40B4-BE49-F238E27FC236}">
                  <a16:creationId xmlns:a16="http://schemas.microsoft.com/office/drawing/2014/main" id="{E68142F7-375F-1CF0-8386-6C759BB86373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8" name="Freeform 311">
              <a:extLst>
                <a:ext uri="{FF2B5EF4-FFF2-40B4-BE49-F238E27FC236}">
                  <a16:creationId xmlns:a16="http://schemas.microsoft.com/office/drawing/2014/main" id="{3F935F28-314E-4008-D73D-B2D93FB6FC1F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415753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79E910-7CFE-41D0-BD32-A43268A790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283" y="1137920"/>
            <a:ext cx="10975022" cy="4756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IN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639664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right yellow circle&#10;&#10;Description automatically generated with medium confidence">
            <a:extLst>
              <a:ext uri="{FF2B5EF4-FFF2-40B4-BE49-F238E27FC236}">
                <a16:creationId xmlns:a16="http://schemas.microsoft.com/office/drawing/2014/main" id="{71B1165E-2D57-378D-54D4-84CE3674EB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5558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- Value Propo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782839F-0D3C-431D-BB21-1DCEC72070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52268" y="603705"/>
            <a:ext cx="8244486" cy="330724"/>
          </a:xfrm>
        </p:spPr>
        <p:txBody>
          <a:bodyPr/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399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WHY E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E57B9B9-0A1D-4C14-A731-E6A3E9C360BA}"/>
              </a:ext>
            </a:extLst>
          </p:cNvPr>
          <p:cNvGrpSpPr/>
          <p:nvPr userDrawn="1"/>
        </p:nvGrpSpPr>
        <p:grpSpPr>
          <a:xfrm>
            <a:off x="256698" y="1011375"/>
            <a:ext cx="1375692" cy="278892"/>
            <a:chOff x="246892" y="1007568"/>
            <a:chExt cx="1376409" cy="278892"/>
          </a:xfrm>
          <a:solidFill>
            <a:srgbClr val="FFE600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44A665B-A438-4496-8262-B069EC659CB4}"/>
                </a:ext>
              </a:extLst>
            </p:cNvPr>
            <p:cNvSpPr/>
            <p:nvPr userDrawn="1"/>
          </p:nvSpPr>
          <p:spPr>
            <a:xfrm>
              <a:off x="246892" y="1007568"/>
              <a:ext cx="1097280" cy="278892"/>
            </a:xfrm>
            <a:prstGeom prst="rect">
              <a:avLst/>
            </a:prstGeom>
            <a:grpFill/>
            <a:ln w="222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1" i="0" u="none" strike="noStrike" kern="120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Why EY </a:t>
              </a:r>
            </a:p>
          </p:txBody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273CB3F2-30B6-4122-9229-470DD50EA012}"/>
                </a:ext>
              </a:extLst>
            </p:cNvPr>
            <p:cNvSpPr/>
            <p:nvPr userDrawn="1"/>
          </p:nvSpPr>
          <p:spPr>
            <a:xfrm rot="5400000">
              <a:off x="1344409" y="993852"/>
              <a:ext cx="265176" cy="29260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FF9DA646-3E60-4FE3-BE3A-7A579748989B}"/>
              </a:ext>
            </a:extLst>
          </p:cNvPr>
          <p:cNvSpPr/>
          <p:nvPr userDrawn="1"/>
        </p:nvSpPr>
        <p:spPr>
          <a:xfrm rot="5400000">
            <a:off x="1353574" y="1432610"/>
            <a:ext cx="265176" cy="292456"/>
          </a:xfrm>
          <a:prstGeom prst="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ADA65472-2BFF-4219-8173-407EC0C56572}"/>
              </a:ext>
            </a:extLst>
          </p:cNvPr>
          <p:cNvSpPr/>
          <p:nvPr userDrawn="1"/>
        </p:nvSpPr>
        <p:spPr>
          <a:xfrm rot="5400000">
            <a:off x="1353573" y="1847477"/>
            <a:ext cx="265176" cy="292455"/>
          </a:xfrm>
          <a:prstGeom prst="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91781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6597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8E1C79A-9B7A-43E2-8801-3A7228170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0"/>
            <a:ext cx="12191999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1076" y="2291374"/>
            <a:ext cx="3753237" cy="860400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1077" y="3706228"/>
            <a:ext cx="3753237" cy="391225"/>
          </a:xfrm>
        </p:spPr>
        <p:txBody>
          <a:bodyPr/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199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599" b="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599"/>
              <a:t>Subtitle (EY Interstate 16 point)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199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BFC09A3-AF94-840D-66A4-2BDECAB05E6E}"/>
              </a:ext>
            </a:extLst>
          </p:cNvPr>
          <p:cNvGrpSpPr/>
          <p:nvPr userDrawn="1"/>
        </p:nvGrpSpPr>
        <p:grpSpPr bwMode="black">
          <a:xfrm>
            <a:off x="10557725" y="5167683"/>
            <a:ext cx="1218565" cy="1284606"/>
            <a:chOff x="10563224" y="5158158"/>
            <a:chExt cx="1219200" cy="1284606"/>
          </a:xfrm>
        </p:grpSpPr>
        <p:sp>
          <p:nvSpPr>
            <p:cNvPr id="7" name="Freeform 310">
              <a:extLst>
                <a:ext uri="{FF2B5EF4-FFF2-40B4-BE49-F238E27FC236}">
                  <a16:creationId xmlns:a16="http://schemas.microsoft.com/office/drawing/2014/main" id="{5DDBB0CE-2525-3B07-C5CF-0C0A9829A8E7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8" name="Freeform 311">
              <a:extLst>
                <a:ext uri="{FF2B5EF4-FFF2-40B4-BE49-F238E27FC236}">
                  <a16:creationId xmlns:a16="http://schemas.microsoft.com/office/drawing/2014/main" id="{8E10D19B-2E55-56CB-A681-5130DC41620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8E917CD-1226-A074-34DE-0572FDE93174}"/>
              </a:ext>
            </a:extLst>
          </p:cNvPr>
          <p:cNvGrpSpPr/>
          <p:nvPr userDrawn="1"/>
        </p:nvGrpSpPr>
        <p:grpSpPr>
          <a:xfrm>
            <a:off x="485523" y="6164633"/>
            <a:ext cx="4938363" cy="318770"/>
            <a:chOff x="485775" y="6164633"/>
            <a:chExt cx="4940935" cy="318770"/>
          </a:xfrm>
        </p:grpSpPr>
        <p:sp>
          <p:nvSpPr>
            <p:cNvPr id="15" name="Freeform 23">
              <a:extLst>
                <a:ext uri="{FF2B5EF4-FFF2-40B4-BE49-F238E27FC236}">
                  <a16:creationId xmlns:a16="http://schemas.microsoft.com/office/drawing/2014/main" id="{8F8B8EF7-6410-DC14-8406-F62CE1CFB5A0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17" name="Freeform 24">
              <a:extLst>
                <a:ext uri="{FF2B5EF4-FFF2-40B4-BE49-F238E27FC236}">
                  <a16:creationId xmlns:a16="http://schemas.microsoft.com/office/drawing/2014/main" id="{84DF6803-7354-F605-8E0C-ED8B750D3206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88B9E97-2A11-1A1E-73A4-5F4F327CC7FB}"/>
              </a:ext>
            </a:extLst>
          </p:cNvPr>
          <p:cNvGrpSpPr/>
          <p:nvPr userDrawn="1"/>
        </p:nvGrpSpPr>
        <p:grpSpPr>
          <a:xfrm>
            <a:off x="678368" y="1291009"/>
            <a:ext cx="4398494" cy="3363030"/>
            <a:chOff x="485774" y="1291008"/>
            <a:chExt cx="5706110" cy="4360545"/>
          </a:xfrm>
        </p:grpSpPr>
        <p:sp>
          <p:nvSpPr>
            <p:cNvPr id="19" name="Freeform 25">
              <a:extLst>
                <a:ext uri="{FF2B5EF4-FFF2-40B4-BE49-F238E27FC236}">
                  <a16:creationId xmlns:a16="http://schemas.microsoft.com/office/drawing/2014/main" id="{52477A30-F6B6-93E8-A4B1-9FDA34E2D8E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0" name="Freeform 26">
              <a:extLst>
                <a:ext uri="{FF2B5EF4-FFF2-40B4-BE49-F238E27FC236}">
                  <a16:creationId xmlns:a16="http://schemas.microsoft.com/office/drawing/2014/main" id="{A047E563-F35D-BD9F-0954-9FBEC783F440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1098007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446685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657755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0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0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671876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744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744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721670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44457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417773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792822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763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 - Objectives &amp; Benef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84EF0DE-2CD0-448B-A6CD-14B1C3017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52268" y="603705"/>
            <a:ext cx="8244486" cy="330724"/>
          </a:xfrm>
          <a:prstGeom prst="rect">
            <a:avLst/>
          </a:prstGeom>
        </p:spPr>
        <p:txBody>
          <a:bodyPr/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399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Objectives and Benefi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FC93110-33CE-4D21-83D6-693C2387DB75}"/>
              </a:ext>
            </a:extLst>
          </p:cNvPr>
          <p:cNvSpPr/>
          <p:nvPr userDrawn="1"/>
        </p:nvSpPr>
        <p:spPr>
          <a:xfrm>
            <a:off x="256698" y="993852"/>
            <a:ext cx="1096708" cy="29260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394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800" b="1" i="0" u="none" strike="noStrike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Objectives &amp; Benefi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E31C92-68F4-4DCF-8CDF-327454927953}"/>
              </a:ext>
            </a:extLst>
          </p:cNvPr>
          <p:cNvSpPr/>
          <p:nvPr userDrawn="1"/>
        </p:nvSpPr>
        <p:spPr>
          <a:xfrm>
            <a:off x="256698" y="1360164"/>
            <a:ext cx="1096708" cy="29260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394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800" b="1" i="0" u="none" strike="noStrike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Consideration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8D82D86-5046-4192-9DF6-B8CE7763C822}"/>
              </a:ext>
            </a:extLst>
          </p:cNvPr>
          <p:cNvSpPr/>
          <p:nvPr userDrawn="1"/>
        </p:nvSpPr>
        <p:spPr>
          <a:xfrm>
            <a:off x="256698" y="1740192"/>
            <a:ext cx="1096708" cy="292608"/>
          </a:xfrm>
          <a:prstGeom prst="rect">
            <a:avLst/>
          </a:prstGeom>
          <a:solidFill>
            <a:srgbClr val="FFE600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394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800" b="1" i="0" u="none" strike="noStrike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</a:rPr>
              <a:t>Delivery Approach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F1EEC72-BABB-48D1-9EFC-22E4694BA034}"/>
              </a:ext>
            </a:extLst>
          </p:cNvPr>
          <p:cNvSpPr/>
          <p:nvPr userDrawn="1"/>
        </p:nvSpPr>
        <p:spPr>
          <a:xfrm>
            <a:off x="321732" y="2120220"/>
            <a:ext cx="1031674" cy="292608"/>
          </a:xfrm>
          <a:prstGeom prst="rect">
            <a:avLst/>
          </a:prstGeom>
          <a:solidFill>
            <a:srgbClr val="FFE600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394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800" b="1" i="0" u="none" strike="noStrike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</a:rPr>
              <a:t>Four Step Proces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B89756-2A30-48A3-997B-22B6BB5733A9}"/>
              </a:ext>
            </a:extLst>
          </p:cNvPr>
          <p:cNvSpPr/>
          <p:nvPr userDrawn="1"/>
        </p:nvSpPr>
        <p:spPr>
          <a:xfrm>
            <a:off x="321732" y="2500248"/>
            <a:ext cx="1031673" cy="29260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394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800" b="1" i="0" u="none" strike="noStrike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Phase I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57BC5A-C624-4CDC-BFFE-99BF442A9457}"/>
              </a:ext>
            </a:extLst>
          </p:cNvPr>
          <p:cNvSpPr/>
          <p:nvPr userDrawn="1"/>
        </p:nvSpPr>
        <p:spPr>
          <a:xfrm>
            <a:off x="321732" y="2880276"/>
            <a:ext cx="1031673" cy="29260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se II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2176F8-C898-412A-82C4-BE64B577FD44}"/>
              </a:ext>
            </a:extLst>
          </p:cNvPr>
          <p:cNvSpPr/>
          <p:nvPr userDrawn="1"/>
        </p:nvSpPr>
        <p:spPr>
          <a:xfrm>
            <a:off x="321732" y="3260304"/>
            <a:ext cx="1031673" cy="29260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394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800" b="1" i="0" u="none" strike="noStrike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Scenario Plann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BDF9C1-DAF9-43DE-A903-D739BE6B858C}"/>
              </a:ext>
            </a:extLst>
          </p:cNvPr>
          <p:cNvSpPr/>
          <p:nvPr userDrawn="1"/>
        </p:nvSpPr>
        <p:spPr>
          <a:xfrm>
            <a:off x="321732" y="3640332"/>
            <a:ext cx="1031673" cy="29260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ject Delivery Mod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CF5C4D1-B989-479B-8322-0DD74BF56236}"/>
              </a:ext>
            </a:extLst>
          </p:cNvPr>
          <p:cNvSpPr/>
          <p:nvPr userDrawn="1"/>
        </p:nvSpPr>
        <p:spPr>
          <a:xfrm>
            <a:off x="321732" y="4020360"/>
            <a:ext cx="1031673" cy="29260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394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800" b="1" i="0" u="none" strike="noStrike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Agile Approach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3308B54-A7B7-41C7-946E-5939950E4B49}"/>
              </a:ext>
            </a:extLst>
          </p:cNvPr>
          <p:cNvSpPr/>
          <p:nvPr userDrawn="1"/>
        </p:nvSpPr>
        <p:spPr>
          <a:xfrm>
            <a:off x="321732" y="4400388"/>
            <a:ext cx="1031673" cy="29260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t to Standard Approac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F59DC1-99D2-4C55-8E5A-FE0942CD7797}"/>
              </a:ext>
            </a:extLst>
          </p:cNvPr>
          <p:cNvSpPr/>
          <p:nvPr userDrawn="1"/>
        </p:nvSpPr>
        <p:spPr>
          <a:xfrm>
            <a:off x="256697" y="4780416"/>
            <a:ext cx="1096708" cy="29260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394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800" b="1" i="0" u="none" strike="noStrike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Delivery Plan</a:t>
            </a: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5A1EB05F-B4BF-4753-8F87-F872F1542B06}"/>
              </a:ext>
            </a:extLst>
          </p:cNvPr>
          <p:cNvSpPr/>
          <p:nvPr userDrawn="1"/>
        </p:nvSpPr>
        <p:spPr>
          <a:xfrm rot="5400000">
            <a:off x="1353498" y="1747126"/>
            <a:ext cx="265176" cy="292456"/>
          </a:xfrm>
          <a:prstGeom prst="triangle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594BEF59-3AB1-4DF1-B35C-63AE84BCB2BA}"/>
              </a:ext>
            </a:extLst>
          </p:cNvPr>
          <p:cNvSpPr/>
          <p:nvPr userDrawn="1"/>
        </p:nvSpPr>
        <p:spPr>
          <a:xfrm rot="5400000">
            <a:off x="1354531" y="2125545"/>
            <a:ext cx="265176" cy="292456"/>
          </a:xfrm>
          <a:prstGeom prst="triangle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459674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81777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09874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95852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CBA94B7-7BDE-4510-A417-A765301D137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0532511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725355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4852929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95387445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6900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900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5543909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78749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507BA1-EA97-432B-8AAE-BE8FEE6245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15743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02760"/>
            <a:ext cx="10972800" cy="590400"/>
          </a:xfrm>
        </p:spPr>
        <p:txBody>
          <a:bodyPr/>
          <a:lstStyle>
            <a:lvl1pPr>
              <a:lnSpc>
                <a:spcPct val="100000"/>
              </a:lnSpc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grpSp>
        <p:nvGrpSpPr>
          <p:cNvPr id="57" name="Group 59">
            <a:extLst>
              <a:ext uri="{FF2B5EF4-FFF2-40B4-BE49-F238E27FC236}">
                <a16:creationId xmlns:a16="http://schemas.microsoft.com/office/drawing/2014/main" id="{257B2EED-8E90-483C-A04A-98FFA4E909D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07891" y="2334229"/>
            <a:ext cx="7906312" cy="2698830"/>
            <a:chOff x="2085" y="1586"/>
            <a:chExt cx="3676" cy="1405"/>
          </a:xfrm>
          <a:solidFill>
            <a:srgbClr val="747480">
              <a:alpha val="10000"/>
            </a:srgbClr>
          </a:solidFill>
        </p:grpSpPr>
        <p:grpSp>
          <p:nvGrpSpPr>
            <p:cNvPr id="58" name="Group 260">
              <a:extLst>
                <a:ext uri="{FF2B5EF4-FFF2-40B4-BE49-F238E27FC236}">
                  <a16:creationId xmlns:a16="http://schemas.microsoft.com/office/drawing/2014/main" id="{0783C655-E6B3-4508-86B3-62060B8331BE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2526" y="1673"/>
              <a:ext cx="2695" cy="1058"/>
              <a:chOff x="2526" y="1673"/>
              <a:chExt cx="2695" cy="1058"/>
            </a:xfrm>
            <a:grpFill/>
          </p:grpSpPr>
          <p:sp>
            <p:nvSpPr>
              <p:cNvPr id="468" name="Freeform 60">
                <a:extLst>
                  <a:ext uri="{FF2B5EF4-FFF2-40B4-BE49-F238E27FC236}">
                    <a16:creationId xmlns:a16="http://schemas.microsoft.com/office/drawing/2014/main" id="{F9C53C48-6EC3-4766-A8BF-8BBBBBB5527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41" y="2008"/>
                <a:ext cx="130" cy="130"/>
              </a:xfrm>
              <a:custGeom>
                <a:avLst/>
                <a:gdLst>
                  <a:gd name="T0" fmla="*/ 130 w 130"/>
                  <a:gd name="T1" fmla="*/ 30 h 130"/>
                  <a:gd name="T2" fmla="*/ 126 w 130"/>
                  <a:gd name="T3" fmla="*/ 30 h 130"/>
                  <a:gd name="T4" fmla="*/ 126 w 130"/>
                  <a:gd name="T5" fmla="*/ 126 h 130"/>
                  <a:gd name="T6" fmla="*/ 4 w 130"/>
                  <a:gd name="T7" fmla="*/ 126 h 130"/>
                  <a:gd name="T8" fmla="*/ 4 w 130"/>
                  <a:gd name="T9" fmla="*/ 30 h 130"/>
                  <a:gd name="T10" fmla="*/ 0 w 130"/>
                  <a:gd name="T11" fmla="*/ 30 h 130"/>
                  <a:gd name="T12" fmla="*/ 0 w 130"/>
                  <a:gd name="T13" fmla="*/ 130 h 130"/>
                  <a:gd name="T14" fmla="*/ 130 w 130"/>
                  <a:gd name="T15" fmla="*/ 130 h 130"/>
                  <a:gd name="T16" fmla="*/ 130 w 130"/>
                  <a:gd name="T17" fmla="*/ 30 h 130"/>
                  <a:gd name="T18" fmla="*/ 130 w 130"/>
                  <a:gd name="T19" fmla="*/ 0 h 130"/>
                  <a:gd name="T20" fmla="*/ 0 w 130"/>
                  <a:gd name="T21" fmla="*/ 0 h 130"/>
                  <a:gd name="T22" fmla="*/ 0 w 130"/>
                  <a:gd name="T23" fmla="*/ 24 h 130"/>
                  <a:gd name="T24" fmla="*/ 4 w 130"/>
                  <a:gd name="T25" fmla="*/ 24 h 130"/>
                  <a:gd name="T26" fmla="*/ 4 w 130"/>
                  <a:gd name="T27" fmla="*/ 4 h 130"/>
                  <a:gd name="T28" fmla="*/ 126 w 130"/>
                  <a:gd name="T29" fmla="*/ 4 h 130"/>
                  <a:gd name="T30" fmla="*/ 126 w 130"/>
                  <a:gd name="T31" fmla="*/ 24 h 130"/>
                  <a:gd name="T32" fmla="*/ 130 w 130"/>
                  <a:gd name="T33" fmla="*/ 24 h 130"/>
                  <a:gd name="T34" fmla="*/ 130 w 130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130">
                    <a:moveTo>
                      <a:pt x="130" y="30"/>
                    </a:moveTo>
                    <a:lnTo>
                      <a:pt x="126" y="30"/>
                    </a:lnTo>
                    <a:lnTo>
                      <a:pt x="126" y="126"/>
                    </a:lnTo>
                    <a:lnTo>
                      <a:pt x="4" y="126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130"/>
                    </a:lnTo>
                    <a:lnTo>
                      <a:pt x="130" y="130"/>
                    </a:lnTo>
                    <a:lnTo>
                      <a:pt x="130" y="30"/>
                    </a:lnTo>
                    <a:close/>
                    <a:moveTo>
                      <a:pt x="130" y="0"/>
                    </a:moveTo>
                    <a:lnTo>
                      <a:pt x="0" y="0"/>
                    </a:lnTo>
                    <a:lnTo>
                      <a:pt x="0" y="24"/>
                    </a:lnTo>
                    <a:lnTo>
                      <a:pt x="4" y="24"/>
                    </a:lnTo>
                    <a:lnTo>
                      <a:pt x="4" y="4"/>
                    </a:lnTo>
                    <a:lnTo>
                      <a:pt x="126" y="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69" name="Freeform 61">
                <a:extLst>
                  <a:ext uri="{FF2B5EF4-FFF2-40B4-BE49-F238E27FC236}">
                    <a16:creationId xmlns:a16="http://schemas.microsoft.com/office/drawing/2014/main" id="{07EE51C1-F368-4318-AE0D-F20DB25085C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41" y="2008"/>
                <a:ext cx="130" cy="130"/>
              </a:xfrm>
              <a:custGeom>
                <a:avLst/>
                <a:gdLst>
                  <a:gd name="T0" fmla="*/ 130 w 130"/>
                  <a:gd name="T1" fmla="*/ 30 h 130"/>
                  <a:gd name="T2" fmla="*/ 126 w 130"/>
                  <a:gd name="T3" fmla="*/ 30 h 130"/>
                  <a:gd name="T4" fmla="*/ 126 w 130"/>
                  <a:gd name="T5" fmla="*/ 126 h 130"/>
                  <a:gd name="T6" fmla="*/ 4 w 130"/>
                  <a:gd name="T7" fmla="*/ 126 h 130"/>
                  <a:gd name="T8" fmla="*/ 4 w 130"/>
                  <a:gd name="T9" fmla="*/ 30 h 130"/>
                  <a:gd name="T10" fmla="*/ 0 w 130"/>
                  <a:gd name="T11" fmla="*/ 30 h 130"/>
                  <a:gd name="T12" fmla="*/ 0 w 130"/>
                  <a:gd name="T13" fmla="*/ 130 h 130"/>
                  <a:gd name="T14" fmla="*/ 130 w 130"/>
                  <a:gd name="T15" fmla="*/ 130 h 130"/>
                  <a:gd name="T16" fmla="*/ 130 w 130"/>
                  <a:gd name="T17" fmla="*/ 30 h 130"/>
                  <a:gd name="T18" fmla="*/ 130 w 130"/>
                  <a:gd name="T19" fmla="*/ 0 h 130"/>
                  <a:gd name="T20" fmla="*/ 0 w 130"/>
                  <a:gd name="T21" fmla="*/ 0 h 130"/>
                  <a:gd name="T22" fmla="*/ 0 w 130"/>
                  <a:gd name="T23" fmla="*/ 24 h 130"/>
                  <a:gd name="T24" fmla="*/ 4 w 130"/>
                  <a:gd name="T25" fmla="*/ 24 h 130"/>
                  <a:gd name="T26" fmla="*/ 4 w 130"/>
                  <a:gd name="T27" fmla="*/ 4 h 130"/>
                  <a:gd name="T28" fmla="*/ 126 w 130"/>
                  <a:gd name="T29" fmla="*/ 4 h 130"/>
                  <a:gd name="T30" fmla="*/ 126 w 130"/>
                  <a:gd name="T31" fmla="*/ 24 h 130"/>
                  <a:gd name="T32" fmla="*/ 130 w 130"/>
                  <a:gd name="T33" fmla="*/ 24 h 130"/>
                  <a:gd name="T34" fmla="*/ 130 w 130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130">
                    <a:moveTo>
                      <a:pt x="130" y="30"/>
                    </a:moveTo>
                    <a:lnTo>
                      <a:pt x="126" y="30"/>
                    </a:lnTo>
                    <a:lnTo>
                      <a:pt x="126" y="126"/>
                    </a:lnTo>
                    <a:lnTo>
                      <a:pt x="4" y="126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130"/>
                    </a:lnTo>
                    <a:lnTo>
                      <a:pt x="130" y="130"/>
                    </a:lnTo>
                    <a:lnTo>
                      <a:pt x="130" y="30"/>
                    </a:lnTo>
                    <a:moveTo>
                      <a:pt x="130" y="0"/>
                    </a:moveTo>
                    <a:lnTo>
                      <a:pt x="0" y="0"/>
                    </a:lnTo>
                    <a:lnTo>
                      <a:pt x="0" y="24"/>
                    </a:lnTo>
                    <a:lnTo>
                      <a:pt x="4" y="24"/>
                    </a:lnTo>
                    <a:lnTo>
                      <a:pt x="4" y="4"/>
                    </a:lnTo>
                    <a:lnTo>
                      <a:pt x="126" y="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70" name="Freeform 62">
                <a:extLst>
                  <a:ext uri="{FF2B5EF4-FFF2-40B4-BE49-F238E27FC236}">
                    <a16:creationId xmlns:a16="http://schemas.microsoft.com/office/drawing/2014/main" id="{A686096A-523E-4128-8B34-450D23E3E1C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567" y="2008"/>
                <a:ext cx="131" cy="130"/>
              </a:xfrm>
              <a:custGeom>
                <a:avLst/>
                <a:gdLst>
                  <a:gd name="T0" fmla="*/ 105 w 131"/>
                  <a:gd name="T1" fmla="*/ 0 h 130"/>
                  <a:gd name="T2" fmla="*/ 0 w 131"/>
                  <a:gd name="T3" fmla="*/ 0 h 130"/>
                  <a:gd name="T4" fmla="*/ 0 w 131"/>
                  <a:gd name="T5" fmla="*/ 130 h 130"/>
                  <a:gd name="T6" fmla="*/ 131 w 131"/>
                  <a:gd name="T7" fmla="*/ 130 h 130"/>
                  <a:gd name="T8" fmla="*/ 131 w 131"/>
                  <a:gd name="T9" fmla="*/ 26 h 130"/>
                  <a:gd name="T10" fmla="*/ 127 w 131"/>
                  <a:gd name="T11" fmla="*/ 22 h 130"/>
                  <a:gd name="T12" fmla="*/ 127 w 131"/>
                  <a:gd name="T13" fmla="*/ 126 h 130"/>
                  <a:gd name="T14" fmla="*/ 4 w 131"/>
                  <a:gd name="T15" fmla="*/ 126 h 130"/>
                  <a:gd name="T16" fmla="*/ 4 w 131"/>
                  <a:gd name="T17" fmla="*/ 4 h 130"/>
                  <a:gd name="T18" fmla="*/ 109 w 131"/>
                  <a:gd name="T19" fmla="*/ 4 h 130"/>
                  <a:gd name="T20" fmla="*/ 105 w 131"/>
                  <a:gd name="T21" fmla="*/ 0 h 130"/>
                  <a:gd name="T22" fmla="*/ 131 w 131"/>
                  <a:gd name="T23" fmla="*/ 0 h 130"/>
                  <a:gd name="T24" fmla="*/ 113 w 131"/>
                  <a:gd name="T25" fmla="*/ 0 h 130"/>
                  <a:gd name="T26" fmla="*/ 117 w 131"/>
                  <a:gd name="T27" fmla="*/ 4 h 130"/>
                  <a:gd name="T28" fmla="*/ 127 w 131"/>
                  <a:gd name="T29" fmla="*/ 4 h 130"/>
                  <a:gd name="T30" fmla="*/ 127 w 131"/>
                  <a:gd name="T31" fmla="*/ 14 h 130"/>
                  <a:gd name="T32" fmla="*/ 131 w 131"/>
                  <a:gd name="T33" fmla="*/ 18 h 130"/>
                  <a:gd name="T34" fmla="*/ 131 w 131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1" h="130">
                    <a:moveTo>
                      <a:pt x="105" y="0"/>
                    </a:moveTo>
                    <a:lnTo>
                      <a:pt x="0" y="0"/>
                    </a:lnTo>
                    <a:lnTo>
                      <a:pt x="0" y="130"/>
                    </a:lnTo>
                    <a:lnTo>
                      <a:pt x="131" y="130"/>
                    </a:lnTo>
                    <a:lnTo>
                      <a:pt x="131" y="26"/>
                    </a:lnTo>
                    <a:lnTo>
                      <a:pt x="127" y="22"/>
                    </a:lnTo>
                    <a:lnTo>
                      <a:pt x="127" y="126"/>
                    </a:lnTo>
                    <a:lnTo>
                      <a:pt x="4" y="126"/>
                    </a:lnTo>
                    <a:lnTo>
                      <a:pt x="4" y="4"/>
                    </a:lnTo>
                    <a:lnTo>
                      <a:pt x="109" y="4"/>
                    </a:lnTo>
                    <a:lnTo>
                      <a:pt x="105" y="0"/>
                    </a:lnTo>
                    <a:close/>
                    <a:moveTo>
                      <a:pt x="131" y="0"/>
                    </a:moveTo>
                    <a:lnTo>
                      <a:pt x="113" y="0"/>
                    </a:lnTo>
                    <a:lnTo>
                      <a:pt x="117" y="4"/>
                    </a:lnTo>
                    <a:lnTo>
                      <a:pt x="127" y="4"/>
                    </a:lnTo>
                    <a:lnTo>
                      <a:pt x="127" y="14"/>
                    </a:lnTo>
                    <a:lnTo>
                      <a:pt x="131" y="18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71" name="Freeform 63">
                <a:extLst>
                  <a:ext uri="{FF2B5EF4-FFF2-40B4-BE49-F238E27FC236}">
                    <a16:creationId xmlns:a16="http://schemas.microsoft.com/office/drawing/2014/main" id="{1F860F00-0EBE-4677-A693-4B64CB3D022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567" y="2008"/>
                <a:ext cx="131" cy="130"/>
              </a:xfrm>
              <a:custGeom>
                <a:avLst/>
                <a:gdLst>
                  <a:gd name="T0" fmla="*/ 105 w 131"/>
                  <a:gd name="T1" fmla="*/ 0 h 130"/>
                  <a:gd name="T2" fmla="*/ 0 w 131"/>
                  <a:gd name="T3" fmla="*/ 0 h 130"/>
                  <a:gd name="T4" fmla="*/ 0 w 131"/>
                  <a:gd name="T5" fmla="*/ 130 h 130"/>
                  <a:gd name="T6" fmla="*/ 131 w 131"/>
                  <a:gd name="T7" fmla="*/ 130 h 130"/>
                  <a:gd name="T8" fmla="*/ 131 w 131"/>
                  <a:gd name="T9" fmla="*/ 26 h 130"/>
                  <a:gd name="T10" fmla="*/ 127 w 131"/>
                  <a:gd name="T11" fmla="*/ 22 h 130"/>
                  <a:gd name="T12" fmla="*/ 127 w 131"/>
                  <a:gd name="T13" fmla="*/ 126 h 130"/>
                  <a:gd name="T14" fmla="*/ 4 w 131"/>
                  <a:gd name="T15" fmla="*/ 126 h 130"/>
                  <a:gd name="T16" fmla="*/ 4 w 131"/>
                  <a:gd name="T17" fmla="*/ 4 h 130"/>
                  <a:gd name="T18" fmla="*/ 109 w 131"/>
                  <a:gd name="T19" fmla="*/ 4 h 130"/>
                  <a:gd name="T20" fmla="*/ 105 w 131"/>
                  <a:gd name="T21" fmla="*/ 0 h 130"/>
                  <a:gd name="T22" fmla="*/ 131 w 131"/>
                  <a:gd name="T23" fmla="*/ 0 h 130"/>
                  <a:gd name="T24" fmla="*/ 113 w 131"/>
                  <a:gd name="T25" fmla="*/ 0 h 130"/>
                  <a:gd name="T26" fmla="*/ 117 w 131"/>
                  <a:gd name="T27" fmla="*/ 4 h 130"/>
                  <a:gd name="T28" fmla="*/ 127 w 131"/>
                  <a:gd name="T29" fmla="*/ 4 h 130"/>
                  <a:gd name="T30" fmla="*/ 127 w 131"/>
                  <a:gd name="T31" fmla="*/ 14 h 130"/>
                  <a:gd name="T32" fmla="*/ 131 w 131"/>
                  <a:gd name="T33" fmla="*/ 18 h 130"/>
                  <a:gd name="T34" fmla="*/ 131 w 131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1" h="130">
                    <a:moveTo>
                      <a:pt x="105" y="0"/>
                    </a:moveTo>
                    <a:lnTo>
                      <a:pt x="0" y="0"/>
                    </a:lnTo>
                    <a:lnTo>
                      <a:pt x="0" y="130"/>
                    </a:lnTo>
                    <a:lnTo>
                      <a:pt x="131" y="130"/>
                    </a:lnTo>
                    <a:lnTo>
                      <a:pt x="131" y="26"/>
                    </a:lnTo>
                    <a:lnTo>
                      <a:pt x="127" y="22"/>
                    </a:lnTo>
                    <a:lnTo>
                      <a:pt x="127" y="126"/>
                    </a:lnTo>
                    <a:lnTo>
                      <a:pt x="4" y="126"/>
                    </a:lnTo>
                    <a:lnTo>
                      <a:pt x="4" y="4"/>
                    </a:lnTo>
                    <a:lnTo>
                      <a:pt x="109" y="4"/>
                    </a:lnTo>
                    <a:lnTo>
                      <a:pt x="105" y="0"/>
                    </a:lnTo>
                    <a:moveTo>
                      <a:pt x="131" y="0"/>
                    </a:moveTo>
                    <a:lnTo>
                      <a:pt x="113" y="0"/>
                    </a:lnTo>
                    <a:lnTo>
                      <a:pt x="117" y="4"/>
                    </a:lnTo>
                    <a:lnTo>
                      <a:pt x="127" y="4"/>
                    </a:lnTo>
                    <a:lnTo>
                      <a:pt x="127" y="14"/>
                    </a:lnTo>
                    <a:lnTo>
                      <a:pt x="131" y="18"/>
                    </a:lnTo>
                    <a:lnTo>
                      <a:pt x="13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72" name="Freeform 64">
                <a:extLst>
                  <a:ext uri="{FF2B5EF4-FFF2-40B4-BE49-F238E27FC236}">
                    <a16:creationId xmlns:a16="http://schemas.microsoft.com/office/drawing/2014/main" id="{C3A8B813-6552-4FD6-A59C-068CB7965E2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94" y="2008"/>
                <a:ext cx="130" cy="130"/>
              </a:xfrm>
              <a:custGeom>
                <a:avLst/>
                <a:gdLst>
                  <a:gd name="T0" fmla="*/ 4 w 130"/>
                  <a:gd name="T1" fmla="*/ 126 h 130"/>
                  <a:gd name="T2" fmla="*/ 4 w 130"/>
                  <a:gd name="T3" fmla="*/ 4 h 130"/>
                  <a:gd name="T4" fmla="*/ 126 w 130"/>
                  <a:gd name="T5" fmla="*/ 4 h 130"/>
                  <a:gd name="T6" fmla="*/ 126 w 130"/>
                  <a:gd name="T7" fmla="*/ 126 h 130"/>
                  <a:gd name="T8" fmla="*/ 4 w 130"/>
                  <a:gd name="T9" fmla="*/ 126 h 130"/>
                  <a:gd name="T10" fmla="*/ 130 w 130"/>
                  <a:gd name="T11" fmla="*/ 0 h 130"/>
                  <a:gd name="T12" fmla="*/ 0 w 130"/>
                  <a:gd name="T13" fmla="*/ 0 h 130"/>
                  <a:gd name="T14" fmla="*/ 0 w 130"/>
                  <a:gd name="T15" fmla="*/ 130 h 130"/>
                  <a:gd name="T16" fmla="*/ 130 w 130"/>
                  <a:gd name="T17" fmla="*/ 130 h 130"/>
                  <a:gd name="T18" fmla="*/ 130 w 130"/>
                  <a:gd name="T1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0">
                    <a:moveTo>
                      <a:pt x="4" y="126"/>
                    </a:moveTo>
                    <a:lnTo>
                      <a:pt x="4" y="4"/>
                    </a:lnTo>
                    <a:lnTo>
                      <a:pt x="126" y="4"/>
                    </a:lnTo>
                    <a:lnTo>
                      <a:pt x="126" y="126"/>
                    </a:lnTo>
                    <a:lnTo>
                      <a:pt x="4" y="126"/>
                    </a:lnTo>
                    <a:close/>
                    <a:moveTo>
                      <a:pt x="130" y="0"/>
                    </a:moveTo>
                    <a:lnTo>
                      <a:pt x="0" y="0"/>
                    </a:lnTo>
                    <a:lnTo>
                      <a:pt x="0" y="130"/>
                    </a:lnTo>
                    <a:lnTo>
                      <a:pt x="130" y="130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73" name="Freeform 65">
                <a:extLst>
                  <a:ext uri="{FF2B5EF4-FFF2-40B4-BE49-F238E27FC236}">
                    <a16:creationId xmlns:a16="http://schemas.microsoft.com/office/drawing/2014/main" id="{EC9C5E1F-F569-4A1E-8050-3DF7CA51BD3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94" y="2008"/>
                <a:ext cx="130" cy="130"/>
              </a:xfrm>
              <a:custGeom>
                <a:avLst/>
                <a:gdLst>
                  <a:gd name="T0" fmla="*/ 4 w 130"/>
                  <a:gd name="T1" fmla="*/ 126 h 130"/>
                  <a:gd name="T2" fmla="*/ 4 w 130"/>
                  <a:gd name="T3" fmla="*/ 4 h 130"/>
                  <a:gd name="T4" fmla="*/ 126 w 130"/>
                  <a:gd name="T5" fmla="*/ 4 h 130"/>
                  <a:gd name="T6" fmla="*/ 126 w 130"/>
                  <a:gd name="T7" fmla="*/ 126 h 130"/>
                  <a:gd name="T8" fmla="*/ 4 w 130"/>
                  <a:gd name="T9" fmla="*/ 126 h 130"/>
                  <a:gd name="T10" fmla="*/ 130 w 130"/>
                  <a:gd name="T11" fmla="*/ 0 h 130"/>
                  <a:gd name="T12" fmla="*/ 0 w 130"/>
                  <a:gd name="T13" fmla="*/ 0 h 130"/>
                  <a:gd name="T14" fmla="*/ 0 w 130"/>
                  <a:gd name="T15" fmla="*/ 130 h 130"/>
                  <a:gd name="T16" fmla="*/ 130 w 130"/>
                  <a:gd name="T17" fmla="*/ 130 h 130"/>
                  <a:gd name="T18" fmla="*/ 130 w 130"/>
                  <a:gd name="T1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0">
                    <a:moveTo>
                      <a:pt x="4" y="126"/>
                    </a:moveTo>
                    <a:lnTo>
                      <a:pt x="4" y="4"/>
                    </a:lnTo>
                    <a:lnTo>
                      <a:pt x="126" y="4"/>
                    </a:lnTo>
                    <a:lnTo>
                      <a:pt x="126" y="126"/>
                    </a:lnTo>
                    <a:lnTo>
                      <a:pt x="4" y="126"/>
                    </a:lnTo>
                    <a:moveTo>
                      <a:pt x="130" y="0"/>
                    </a:moveTo>
                    <a:lnTo>
                      <a:pt x="0" y="0"/>
                    </a:lnTo>
                    <a:lnTo>
                      <a:pt x="0" y="130"/>
                    </a:lnTo>
                    <a:lnTo>
                      <a:pt x="130" y="130"/>
                    </a:lnTo>
                    <a:lnTo>
                      <a:pt x="13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74" name="Freeform 66">
                <a:extLst>
                  <a:ext uri="{FF2B5EF4-FFF2-40B4-BE49-F238E27FC236}">
                    <a16:creationId xmlns:a16="http://schemas.microsoft.com/office/drawing/2014/main" id="{4310F4FB-FA5D-4954-BAFD-6EE46E942F3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20" y="2008"/>
                <a:ext cx="131" cy="130"/>
              </a:xfrm>
              <a:custGeom>
                <a:avLst/>
                <a:gdLst>
                  <a:gd name="T0" fmla="*/ 3 w 131"/>
                  <a:gd name="T1" fmla="*/ 126 h 130"/>
                  <a:gd name="T2" fmla="*/ 3 w 131"/>
                  <a:gd name="T3" fmla="*/ 4 h 130"/>
                  <a:gd name="T4" fmla="*/ 127 w 131"/>
                  <a:gd name="T5" fmla="*/ 4 h 130"/>
                  <a:gd name="T6" fmla="*/ 127 w 131"/>
                  <a:gd name="T7" fmla="*/ 126 h 130"/>
                  <a:gd name="T8" fmla="*/ 3 w 131"/>
                  <a:gd name="T9" fmla="*/ 126 h 130"/>
                  <a:gd name="T10" fmla="*/ 131 w 131"/>
                  <a:gd name="T11" fmla="*/ 0 h 130"/>
                  <a:gd name="T12" fmla="*/ 0 w 131"/>
                  <a:gd name="T13" fmla="*/ 0 h 130"/>
                  <a:gd name="T14" fmla="*/ 0 w 131"/>
                  <a:gd name="T15" fmla="*/ 130 h 130"/>
                  <a:gd name="T16" fmla="*/ 131 w 131"/>
                  <a:gd name="T17" fmla="*/ 130 h 130"/>
                  <a:gd name="T18" fmla="*/ 131 w 131"/>
                  <a:gd name="T1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30">
                    <a:moveTo>
                      <a:pt x="3" y="126"/>
                    </a:moveTo>
                    <a:lnTo>
                      <a:pt x="3" y="4"/>
                    </a:lnTo>
                    <a:lnTo>
                      <a:pt x="127" y="4"/>
                    </a:lnTo>
                    <a:lnTo>
                      <a:pt x="127" y="126"/>
                    </a:lnTo>
                    <a:lnTo>
                      <a:pt x="3" y="126"/>
                    </a:lnTo>
                    <a:close/>
                    <a:moveTo>
                      <a:pt x="131" y="0"/>
                    </a:moveTo>
                    <a:lnTo>
                      <a:pt x="0" y="0"/>
                    </a:lnTo>
                    <a:lnTo>
                      <a:pt x="0" y="130"/>
                    </a:lnTo>
                    <a:lnTo>
                      <a:pt x="131" y="130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75" name="Freeform 67">
                <a:extLst>
                  <a:ext uri="{FF2B5EF4-FFF2-40B4-BE49-F238E27FC236}">
                    <a16:creationId xmlns:a16="http://schemas.microsoft.com/office/drawing/2014/main" id="{DA236D5F-4622-411B-B2F2-3FF00E004E2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20" y="2008"/>
                <a:ext cx="131" cy="130"/>
              </a:xfrm>
              <a:custGeom>
                <a:avLst/>
                <a:gdLst>
                  <a:gd name="T0" fmla="*/ 3 w 131"/>
                  <a:gd name="T1" fmla="*/ 126 h 130"/>
                  <a:gd name="T2" fmla="*/ 3 w 131"/>
                  <a:gd name="T3" fmla="*/ 4 h 130"/>
                  <a:gd name="T4" fmla="*/ 127 w 131"/>
                  <a:gd name="T5" fmla="*/ 4 h 130"/>
                  <a:gd name="T6" fmla="*/ 127 w 131"/>
                  <a:gd name="T7" fmla="*/ 126 h 130"/>
                  <a:gd name="T8" fmla="*/ 3 w 131"/>
                  <a:gd name="T9" fmla="*/ 126 h 130"/>
                  <a:gd name="T10" fmla="*/ 131 w 131"/>
                  <a:gd name="T11" fmla="*/ 0 h 130"/>
                  <a:gd name="T12" fmla="*/ 0 w 131"/>
                  <a:gd name="T13" fmla="*/ 0 h 130"/>
                  <a:gd name="T14" fmla="*/ 0 w 131"/>
                  <a:gd name="T15" fmla="*/ 130 h 130"/>
                  <a:gd name="T16" fmla="*/ 131 w 131"/>
                  <a:gd name="T17" fmla="*/ 130 h 130"/>
                  <a:gd name="T18" fmla="*/ 131 w 131"/>
                  <a:gd name="T1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30">
                    <a:moveTo>
                      <a:pt x="3" y="126"/>
                    </a:moveTo>
                    <a:lnTo>
                      <a:pt x="3" y="4"/>
                    </a:lnTo>
                    <a:lnTo>
                      <a:pt x="127" y="4"/>
                    </a:lnTo>
                    <a:lnTo>
                      <a:pt x="127" y="126"/>
                    </a:lnTo>
                    <a:lnTo>
                      <a:pt x="3" y="126"/>
                    </a:lnTo>
                    <a:moveTo>
                      <a:pt x="131" y="0"/>
                    </a:moveTo>
                    <a:lnTo>
                      <a:pt x="0" y="0"/>
                    </a:lnTo>
                    <a:lnTo>
                      <a:pt x="0" y="130"/>
                    </a:lnTo>
                    <a:lnTo>
                      <a:pt x="131" y="130"/>
                    </a:lnTo>
                    <a:lnTo>
                      <a:pt x="13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76" name="Freeform 68">
                <a:extLst>
                  <a:ext uri="{FF2B5EF4-FFF2-40B4-BE49-F238E27FC236}">
                    <a16:creationId xmlns:a16="http://schemas.microsoft.com/office/drawing/2014/main" id="{C7763472-9962-467F-A4C0-E2B157A6A0C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047" y="2008"/>
                <a:ext cx="130" cy="130"/>
              </a:xfrm>
              <a:custGeom>
                <a:avLst/>
                <a:gdLst>
                  <a:gd name="T0" fmla="*/ 3 w 130"/>
                  <a:gd name="T1" fmla="*/ 126 h 130"/>
                  <a:gd name="T2" fmla="*/ 3 w 130"/>
                  <a:gd name="T3" fmla="*/ 4 h 130"/>
                  <a:gd name="T4" fmla="*/ 126 w 130"/>
                  <a:gd name="T5" fmla="*/ 4 h 130"/>
                  <a:gd name="T6" fmla="*/ 126 w 130"/>
                  <a:gd name="T7" fmla="*/ 126 h 130"/>
                  <a:gd name="T8" fmla="*/ 3 w 130"/>
                  <a:gd name="T9" fmla="*/ 126 h 130"/>
                  <a:gd name="T10" fmla="*/ 130 w 130"/>
                  <a:gd name="T11" fmla="*/ 0 h 130"/>
                  <a:gd name="T12" fmla="*/ 0 w 130"/>
                  <a:gd name="T13" fmla="*/ 0 h 130"/>
                  <a:gd name="T14" fmla="*/ 0 w 130"/>
                  <a:gd name="T15" fmla="*/ 130 h 130"/>
                  <a:gd name="T16" fmla="*/ 130 w 130"/>
                  <a:gd name="T17" fmla="*/ 130 h 130"/>
                  <a:gd name="T18" fmla="*/ 130 w 130"/>
                  <a:gd name="T1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0">
                    <a:moveTo>
                      <a:pt x="3" y="126"/>
                    </a:moveTo>
                    <a:lnTo>
                      <a:pt x="3" y="4"/>
                    </a:lnTo>
                    <a:lnTo>
                      <a:pt x="126" y="4"/>
                    </a:lnTo>
                    <a:lnTo>
                      <a:pt x="126" y="126"/>
                    </a:lnTo>
                    <a:lnTo>
                      <a:pt x="3" y="126"/>
                    </a:lnTo>
                    <a:close/>
                    <a:moveTo>
                      <a:pt x="130" y="0"/>
                    </a:moveTo>
                    <a:lnTo>
                      <a:pt x="0" y="0"/>
                    </a:lnTo>
                    <a:lnTo>
                      <a:pt x="0" y="130"/>
                    </a:lnTo>
                    <a:lnTo>
                      <a:pt x="130" y="130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77" name="Freeform 69">
                <a:extLst>
                  <a:ext uri="{FF2B5EF4-FFF2-40B4-BE49-F238E27FC236}">
                    <a16:creationId xmlns:a16="http://schemas.microsoft.com/office/drawing/2014/main" id="{381F797D-5B6B-4D07-85AE-D4FB873015D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047" y="2008"/>
                <a:ext cx="130" cy="130"/>
              </a:xfrm>
              <a:custGeom>
                <a:avLst/>
                <a:gdLst>
                  <a:gd name="T0" fmla="*/ 3 w 130"/>
                  <a:gd name="T1" fmla="*/ 126 h 130"/>
                  <a:gd name="T2" fmla="*/ 3 w 130"/>
                  <a:gd name="T3" fmla="*/ 4 h 130"/>
                  <a:gd name="T4" fmla="*/ 126 w 130"/>
                  <a:gd name="T5" fmla="*/ 4 h 130"/>
                  <a:gd name="T6" fmla="*/ 126 w 130"/>
                  <a:gd name="T7" fmla="*/ 126 h 130"/>
                  <a:gd name="T8" fmla="*/ 3 w 130"/>
                  <a:gd name="T9" fmla="*/ 126 h 130"/>
                  <a:gd name="T10" fmla="*/ 130 w 130"/>
                  <a:gd name="T11" fmla="*/ 0 h 130"/>
                  <a:gd name="T12" fmla="*/ 0 w 130"/>
                  <a:gd name="T13" fmla="*/ 0 h 130"/>
                  <a:gd name="T14" fmla="*/ 0 w 130"/>
                  <a:gd name="T15" fmla="*/ 130 h 130"/>
                  <a:gd name="T16" fmla="*/ 130 w 130"/>
                  <a:gd name="T17" fmla="*/ 130 h 130"/>
                  <a:gd name="T18" fmla="*/ 130 w 130"/>
                  <a:gd name="T1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0">
                    <a:moveTo>
                      <a:pt x="3" y="126"/>
                    </a:moveTo>
                    <a:lnTo>
                      <a:pt x="3" y="4"/>
                    </a:lnTo>
                    <a:lnTo>
                      <a:pt x="126" y="4"/>
                    </a:lnTo>
                    <a:lnTo>
                      <a:pt x="126" y="126"/>
                    </a:lnTo>
                    <a:lnTo>
                      <a:pt x="3" y="126"/>
                    </a:lnTo>
                    <a:moveTo>
                      <a:pt x="130" y="0"/>
                    </a:moveTo>
                    <a:lnTo>
                      <a:pt x="0" y="0"/>
                    </a:lnTo>
                    <a:lnTo>
                      <a:pt x="0" y="130"/>
                    </a:lnTo>
                    <a:lnTo>
                      <a:pt x="130" y="130"/>
                    </a:lnTo>
                    <a:lnTo>
                      <a:pt x="13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78" name="Freeform 70">
                <a:extLst>
                  <a:ext uri="{FF2B5EF4-FFF2-40B4-BE49-F238E27FC236}">
                    <a16:creationId xmlns:a16="http://schemas.microsoft.com/office/drawing/2014/main" id="{83B4FC8C-B831-4B89-A411-3A0C9A3D073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00" y="2008"/>
                <a:ext cx="130" cy="130"/>
              </a:xfrm>
              <a:custGeom>
                <a:avLst/>
                <a:gdLst>
                  <a:gd name="T0" fmla="*/ 3 w 130"/>
                  <a:gd name="T1" fmla="*/ 126 h 130"/>
                  <a:gd name="T2" fmla="*/ 3 w 130"/>
                  <a:gd name="T3" fmla="*/ 4 h 130"/>
                  <a:gd name="T4" fmla="*/ 126 w 130"/>
                  <a:gd name="T5" fmla="*/ 4 h 130"/>
                  <a:gd name="T6" fmla="*/ 126 w 130"/>
                  <a:gd name="T7" fmla="*/ 126 h 130"/>
                  <a:gd name="T8" fmla="*/ 3 w 130"/>
                  <a:gd name="T9" fmla="*/ 126 h 130"/>
                  <a:gd name="T10" fmla="*/ 130 w 130"/>
                  <a:gd name="T11" fmla="*/ 0 h 130"/>
                  <a:gd name="T12" fmla="*/ 0 w 130"/>
                  <a:gd name="T13" fmla="*/ 0 h 130"/>
                  <a:gd name="T14" fmla="*/ 0 w 130"/>
                  <a:gd name="T15" fmla="*/ 130 h 130"/>
                  <a:gd name="T16" fmla="*/ 130 w 130"/>
                  <a:gd name="T17" fmla="*/ 130 h 130"/>
                  <a:gd name="T18" fmla="*/ 130 w 130"/>
                  <a:gd name="T1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0">
                    <a:moveTo>
                      <a:pt x="3" y="126"/>
                    </a:moveTo>
                    <a:lnTo>
                      <a:pt x="3" y="4"/>
                    </a:lnTo>
                    <a:lnTo>
                      <a:pt x="126" y="4"/>
                    </a:lnTo>
                    <a:lnTo>
                      <a:pt x="126" y="126"/>
                    </a:lnTo>
                    <a:lnTo>
                      <a:pt x="3" y="126"/>
                    </a:lnTo>
                    <a:close/>
                    <a:moveTo>
                      <a:pt x="130" y="0"/>
                    </a:moveTo>
                    <a:lnTo>
                      <a:pt x="0" y="0"/>
                    </a:lnTo>
                    <a:lnTo>
                      <a:pt x="0" y="130"/>
                    </a:lnTo>
                    <a:lnTo>
                      <a:pt x="130" y="130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79" name="Freeform 71">
                <a:extLst>
                  <a:ext uri="{FF2B5EF4-FFF2-40B4-BE49-F238E27FC236}">
                    <a16:creationId xmlns:a16="http://schemas.microsoft.com/office/drawing/2014/main" id="{5097A69A-E77B-45A0-8878-2FB95F266CF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00" y="2008"/>
                <a:ext cx="130" cy="130"/>
              </a:xfrm>
              <a:custGeom>
                <a:avLst/>
                <a:gdLst>
                  <a:gd name="T0" fmla="*/ 3 w 130"/>
                  <a:gd name="T1" fmla="*/ 126 h 130"/>
                  <a:gd name="T2" fmla="*/ 3 w 130"/>
                  <a:gd name="T3" fmla="*/ 4 h 130"/>
                  <a:gd name="T4" fmla="*/ 126 w 130"/>
                  <a:gd name="T5" fmla="*/ 4 h 130"/>
                  <a:gd name="T6" fmla="*/ 126 w 130"/>
                  <a:gd name="T7" fmla="*/ 126 h 130"/>
                  <a:gd name="T8" fmla="*/ 3 w 130"/>
                  <a:gd name="T9" fmla="*/ 126 h 130"/>
                  <a:gd name="T10" fmla="*/ 130 w 130"/>
                  <a:gd name="T11" fmla="*/ 0 h 130"/>
                  <a:gd name="T12" fmla="*/ 0 w 130"/>
                  <a:gd name="T13" fmla="*/ 0 h 130"/>
                  <a:gd name="T14" fmla="*/ 0 w 130"/>
                  <a:gd name="T15" fmla="*/ 130 h 130"/>
                  <a:gd name="T16" fmla="*/ 130 w 130"/>
                  <a:gd name="T17" fmla="*/ 130 h 130"/>
                  <a:gd name="T18" fmla="*/ 130 w 130"/>
                  <a:gd name="T1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0">
                    <a:moveTo>
                      <a:pt x="3" y="126"/>
                    </a:moveTo>
                    <a:lnTo>
                      <a:pt x="3" y="4"/>
                    </a:lnTo>
                    <a:lnTo>
                      <a:pt x="126" y="4"/>
                    </a:lnTo>
                    <a:lnTo>
                      <a:pt x="126" y="126"/>
                    </a:lnTo>
                    <a:lnTo>
                      <a:pt x="3" y="126"/>
                    </a:lnTo>
                    <a:moveTo>
                      <a:pt x="130" y="0"/>
                    </a:moveTo>
                    <a:lnTo>
                      <a:pt x="0" y="0"/>
                    </a:lnTo>
                    <a:lnTo>
                      <a:pt x="0" y="130"/>
                    </a:lnTo>
                    <a:lnTo>
                      <a:pt x="130" y="130"/>
                    </a:lnTo>
                    <a:lnTo>
                      <a:pt x="13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80" name="Freeform 72">
                <a:extLst>
                  <a:ext uri="{FF2B5EF4-FFF2-40B4-BE49-F238E27FC236}">
                    <a16:creationId xmlns:a16="http://schemas.microsoft.com/office/drawing/2014/main" id="{12C955A3-5306-4E2C-9054-4BD78D485C7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26" y="2008"/>
                <a:ext cx="131" cy="130"/>
              </a:xfrm>
              <a:custGeom>
                <a:avLst/>
                <a:gdLst>
                  <a:gd name="T0" fmla="*/ 74 w 130"/>
                  <a:gd name="T1" fmla="*/ 126 h 130"/>
                  <a:gd name="T2" fmla="*/ 50 w 130"/>
                  <a:gd name="T3" fmla="*/ 126 h 130"/>
                  <a:gd name="T4" fmla="*/ 51 w 130"/>
                  <a:gd name="T5" fmla="*/ 130 h 130"/>
                  <a:gd name="T6" fmla="*/ 73 w 130"/>
                  <a:gd name="T7" fmla="*/ 130 h 130"/>
                  <a:gd name="T8" fmla="*/ 74 w 130"/>
                  <a:gd name="T9" fmla="*/ 126 h 130"/>
                  <a:gd name="T10" fmla="*/ 130 w 130"/>
                  <a:gd name="T11" fmla="*/ 0 h 130"/>
                  <a:gd name="T12" fmla="*/ 0 w 130"/>
                  <a:gd name="T13" fmla="*/ 0 h 130"/>
                  <a:gd name="T14" fmla="*/ 0 w 130"/>
                  <a:gd name="T15" fmla="*/ 130 h 130"/>
                  <a:gd name="T16" fmla="*/ 41 w 130"/>
                  <a:gd name="T17" fmla="*/ 130 h 130"/>
                  <a:gd name="T18" fmla="*/ 40 w 130"/>
                  <a:gd name="T19" fmla="*/ 126 h 130"/>
                  <a:gd name="T20" fmla="*/ 3 w 130"/>
                  <a:gd name="T21" fmla="*/ 126 h 130"/>
                  <a:gd name="T22" fmla="*/ 3 w 130"/>
                  <a:gd name="T23" fmla="*/ 4 h 130"/>
                  <a:gd name="T24" fmla="*/ 126 w 130"/>
                  <a:gd name="T25" fmla="*/ 4 h 130"/>
                  <a:gd name="T26" fmla="*/ 126 w 130"/>
                  <a:gd name="T27" fmla="*/ 126 h 130"/>
                  <a:gd name="T28" fmla="*/ 83 w 130"/>
                  <a:gd name="T29" fmla="*/ 126 h 130"/>
                  <a:gd name="T30" fmla="*/ 83 w 130"/>
                  <a:gd name="T31" fmla="*/ 130 h 130"/>
                  <a:gd name="T32" fmla="*/ 130 w 130"/>
                  <a:gd name="T33" fmla="*/ 130 h 130"/>
                  <a:gd name="T34" fmla="*/ 130 w 130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130">
                    <a:moveTo>
                      <a:pt x="74" y="126"/>
                    </a:moveTo>
                    <a:cubicBezTo>
                      <a:pt x="50" y="126"/>
                      <a:pt x="50" y="126"/>
                      <a:pt x="50" y="126"/>
                    </a:cubicBezTo>
                    <a:cubicBezTo>
                      <a:pt x="50" y="128"/>
                      <a:pt x="51" y="129"/>
                      <a:pt x="51" y="130"/>
                    </a:cubicBezTo>
                    <a:cubicBezTo>
                      <a:pt x="73" y="130"/>
                      <a:pt x="73" y="130"/>
                      <a:pt x="73" y="130"/>
                    </a:cubicBezTo>
                    <a:cubicBezTo>
                      <a:pt x="73" y="129"/>
                      <a:pt x="74" y="128"/>
                      <a:pt x="74" y="126"/>
                    </a:cubicBezTo>
                    <a:moveTo>
                      <a:pt x="1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30"/>
                      <a:pt x="0" y="130"/>
                      <a:pt x="0" y="130"/>
                    </a:cubicBezTo>
                    <a:cubicBezTo>
                      <a:pt x="41" y="130"/>
                      <a:pt x="41" y="130"/>
                      <a:pt x="41" y="130"/>
                    </a:cubicBezTo>
                    <a:cubicBezTo>
                      <a:pt x="41" y="129"/>
                      <a:pt x="40" y="128"/>
                      <a:pt x="40" y="126"/>
                    </a:cubicBezTo>
                    <a:cubicBezTo>
                      <a:pt x="3" y="126"/>
                      <a:pt x="3" y="126"/>
                      <a:pt x="3" y="12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26" y="4"/>
                      <a:pt x="126" y="4"/>
                      <a:pt x="126" y="4"/>
                    </a:cubicBezTo>
                    <a:cubicBezTo>
                      <a:pt x="126" y="126"/>
                      <a:pt x="126" y="126"/>
                      <a:pt x="126" y="126"/>
                    </a:cubicBezTo>
                    <a:cubicBezTo>
                      <a:pt x="83" y="126"/>
                      <a:pt x="83" y="126"/>
                      <a:pt x="83" y="126"/>
                    </a:cubicBezTo>
                    <a:cubicBezTo>
                      <a:pt x="83" y="128"/>
                      <a:pt x="83" y="129"/>
                      <a:pt x="83" y="130"/>
                    </a:cubicBezTo>
                    <a:cubicBezTo>
                      <a:pt x="130" y="130"/>
                      <a:pt x="130" y="130"/>
                      <a:pt x="130" y="130"/>
                    </a:cubicBezTo>
                    <a:cubicBezTo>
                      <a:pt x="130" y="0"/>
                      <a:pt x="130" y="0"/>
                      <a:pt x="13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81" name="Freeform 73">
                <a:extLst>
                  <a:ext uri="{FF2B5EF4-FFF2-40B4-BE49-F238E27FC236}">
                    <a16:creationId xmlns:a16="http://schemas.microsoft.com/office/drawing/2014/main" id="{B3CDDED7-61B2-4007-A2FB-97862328FEB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41" y="1841"/>
                <a:ext cx="130" cy="131"/>
              </a:xfrm>
              <a:custGeom>
                <a:avLst/>
                <a:gdLst>
                  <a:gd name="T0" fmla="*/ 4 w 130"/>
                  <a:gd name="T1" fmla="*/ 127 h 131"/>
                  <a:gd name="T2" fmla="*/ 4 w 130"/>
                  <a:gd name="T3" fmla="*/ 4 h 131"/>
                  <a:gd name="T4" fmla="*/ 126 w 130"/>
                  <a:gd name="T5" fmla="*/ 4 h 131"/>
                  <a:gd name="T6" fmla="*/ 126 w 130"/>
                  <a:gd name="T7" fmla="*/ 127 h 131"/>
                  <a:gd name="T8" fmla="*/ 4 w 130"/>
                  <a:gd name="T9" fmla="*/ 127 h 131"/>
                  <a:gd name="T10" fmla="*/ 130 w 130"/>
                  <a:gd name="T11" fmla="*/ 0 h 131"/>
                  <a:gd name="T12" fmla="*/ 0 w 130"/>
                  <a:gd name="T13" fmla="*/ 0 h 131"/>
                  <a:gd name="T14" fmla="*/ 0 w 130"/>
                  <a:gd name="T15" fmla="*/ 131 h 131"/>
                  <a:gd name="T16" fmla="*/ 130 w 130"/>
                  <a:gd name="T17" fmla="*/ 131 h 131"/>
                  <a:gd name="T18" fmla="*/ 130 w 130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1">
                    <a:moveTo>
                      <a:pt x="4" y="127"/>
                    </a:moveTo>
                    <a:lnTo>
                      <a:pt x="4" y="4"/>
                    </a:lnTo>
                    <a:lnTo>
                      <a:pt x="126" y="4"/>
                    </a:lnTo>
                    <a:lnTo>
                      <a:pt x="126" y="127"/>
                    </a:lnTo>
                    <a:lnTo>
                      <a:pt x="4" y="127"/>
                    </a:lnTo>
                    <a:close/>
                    <a:moveTo>
                      <a:pt x="130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0" y="131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82" name="Freeform 74">
                <a:extLst>
                  <a:ext uri="{FF2B5EF4-FFF2-40B4-BE49-F238E27FC236}">
                    <a16:creationId xmlns:a16="http://schemas.microsoft.com/office/drawing/2014/main" id="{ED1484B6-57E9-4787-BC7F-328FE0A6B3C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41" y="1841"/>
                <a:ext cx="130" cy="131"/>
              </a:xfrm>
              <a:custGeom>
                <a:avLst/>
                <a:gdLst>
                  <a:gd name="T0" fmla="*/ 4 w 130"/>
                  <a:gd name="T1" fmla="*/ 127 h 131"/>
                  <a:gd name="T2" fmla="*/ 4 w 130"/>
                  <a:gd name="T3" fmla="*/ 4 h 131"/>
                  <a:gd name="T4" fmla="*/ 126 w 130"/>
                  <a:gd name="T5" fmla="*/ 4 h 131"/>
                  <a:gd name="T6" fmla="*/ 126 w 130"/>
                  <a:gd name="T7" fmla="*/ 127 h 131"/>
                  <a:gd name="T8" fmla="*/ 4 w 130"/>
                  <a:gd name="T9" fmla="*/ 127 h 131"/>
                  <a:gd name="T10" fmla="*/ 130 w 130"/>
                  <a:gd name="T11" fmla="*/ 0 h 131"/>
                  <a:gd name="T12" fmla="*/ 0 w 130"/>
                  <a:gd name="T13" fmla="*/ 0 h 131"/>
                  <a:gd name="T14" fmla="*/ 0 w 130"/>
                  <a:gd name="T15" fmla="*/ 131 h 131"/>
                  <a:gd name="T16" fmla="*/ 130 w 130"/>
                  <a:gd name="T17" fmla="*/ 131 h 131"/>
                  <a:gd name="T18" fmla="*/ 130 w 130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1">
                    <a:moveTo>
                      <a:pt x="4" y="127"/>
                    </a:moveTo>
                    <a:lnTo>
                      <a:pt x="4" y="4"/>
                    </a:lnTo>
                    <a:lnTo>
                      <a:pt x="126" y="4"/>
                    </a:lnTo>
                    <a:lnTo>
                      <a:pt x="126" y="127"/>
                    </a:lnTo>
                    <a:lnTo>
                      <a:pt x="4" y="127"/>
                    </a:lnTo>
                    <a:moveTo>
                      <a:pt x="130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0" y="131"/>
                    </a:lnTo>
                    <a:lnTo>
                      <a:pt x="13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83" name="Freeform 75">
                <a:extLst>
                  <a:ext uri="{FF2B5EF4-FFF2-40B4-BE49-F238E27FC236}">
                    <a16:creationId xmlns:a16="http://schemas.microsoft.com/office/drawing/2014/main" id="{116D013D-5931-41CF-A195-CA9A751EB01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567" y="1841"/>
                <a:ext cx="131" cy="131"/>
              </a:xfrm>
              <a:custGeom>
                <a:avLst/>
                <a:gdLst>
                  <a:gd name="T0" fmla="*/ 79 w 130"/>
                  <a:gd name="T1" fmla="*/ 126 h 130"/>
                  <a:gd name="T2" fmla="*/ 72 w 130"/>
                  <a:gd name="T3" fmla="*/ 126 h 130"/>
                  <a:gd name="T4" fmla="*/ 76 w 130"/>
                  <a:gd name="T5" fmla="*/ 130 h 130"/>
                  <a:gd name="T6" fmla="*/ 85 w 130"/>
                  <a:gd name="T7" fmla="*/ 130 h 130"/>
                  <a:gd name="T8" fmla="*/ 79 w 130"/>
                  <a:gd name="T9" fmla="*/ 126 h 130"/>
                  <a:gd name="T10" fmla="*/ 4 w 130"/>
                  <a:gd name="T11" fmla="*/ 124 h 130"/>
                  <a:gd name="T12" fmla="*/ 0 w 130"/>
                  <a:gd name="T13" fmla="*/ 124 h 130"/>
                  <a:gd name="T14" fmla="*/ 0 w 130"/>
                  <a:gd name="T15" fmla="*/ 130 h 130"/>
                  <a:gd name="T16" fmla="*/ 68 w 130"/>
                  <a:gd name="T17" fmla="*/ 130 h 130"/>
                  <a:gd name="T18" fmla="*/ 64 w 130"/>
                  <a:gd name="T19" fmla="*/ 126 h 130"/>
                  <a:gd name="T20" fmla="*/ 4 w 130"/>
                  <a:gd name="T21" fmla="*/ 126 h 130"/>
                  <a:gd name="T22" fmla="*/ 4 w 130"/>
                  <a:gd name="T23" fmla="*/ 124 h 130"/>
                  <a:gd name="T24" fmla="*/ 130 w 130"/>
                  <a:gd name="T25" fmla="*/ 113 h 130"/>
                  <a:gd name="T26" fmla="*/ 126 w 130"/>
                  <a:gd name="T27" fmla="*/ 120 h 130"/>
                  <a:gd name="T28" fmla="*/ 126 w 130"/>
                  <a:gd name="T29" fmla="*/ 126 h 130"/>
                  <a:gd name="T30" fmla="*/ 120 w 130"/>
                  <a:gd name="T31" fmla="*/ 126 h 130"/>
                  <a:gd name="T32" fmla="*/ 114 w 130"/>
                  <a:gd name="T33" fmla="*/ 130 h 130"/>
                  <a:gd name="T34" fmla="*/ 130 w 130"/>
                  <a:gd name="T35" fmla="*/ 130 h 130"/>
                  <a:gd name="T36" fmla="*/ 130 w 130"/>
                  <a:gd name="T37" fmla="*/ 113 h 130"/>
                  <a:gd name="T38" fmla="*/ 130 w 130"/>
                  <a:gd name="T39" fmla="*/ 0 h 130"/>
                  <a:gd name="T40" fmla="*/ 0 w 130"/>
                  <a:gd name="T41" fmla="*/ 0 h 130"/>
                  <a:gd name="T42" fmla="*/ 0 w 130"/>
                  <a:gd name="T43" fmla="*/ 118 h 130"/>
                  <a:gd name="T44" fmla="*/ 4 w 130"/>
                  <a:gd name="T45" fmla="*/ 118 h 130"/>
                  <a:gd name="T46" fmla="*/ 4 w 130"/>
                  <a:gd name="T47" fmla="*/ 4 h 130"/>
                  <a:gd name="T48" fmla="*/ 126 w 130"/>
                  <a:gd name="T49" fmla="*/ 4 h 130"/>
                  <a:gd name="T50" fmla="*/ 126 w 130"/>
                  <a:gd name="T51" fmla="*/ 82 h 130"/>
                  <a:gd name="T52" fmla="*/ 130 w 130"/>
                  <a:gd name="T53" fmla="*/ 89 h 130"/>
                  <a:gd name="T54" fmla="*/ 130 w 130"/>
                  <a:gd name="T5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0" h="130">
                    <a:moveTo>
                      <a:pt x="79" y="126"/>
                    </a:moveTo>
                    <a:cubicBezTo>
                      <a:pt x="72" y="126"/>
                      <a:pt x="72" y="126"/>
                      <a:pt x="72" y="126"/>
                    </a:cubicBezTo>
                    <a:cubicBezTo>
                      <a:pt x="76" y="130"/>
                      <a:pt x="76" y="130"/>
                      <a:pt x="76" y="130"/>
                    </a:cubicBezTo>
                    <a:cubicBezTo>
                      <a:pt x="85" y="130"/>
                      <a:pt x="85" y="130"/>
                      <a:pt x="85" y="130"/>
                    </a:cubicBezTo>
                    <a:cubicBezTo>
                      <a:pt x="83" y="129"/>
                      <a:pt x="81" y="127"/>
                      <a:pt x="79" y="126"/>
                    </a:cubicBezTo>
                    <a:moveTo>
                      <a:pt x="4" y="124"/>
                    </a:move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30"/>
                      <a:pt x="0" y="130"/>
                      <a:pt x="0" y="130"/>
                    </a:cubicBezTo>
                    <a:cubicBezTo>
                      <a:pt x="68" y="130"/>
                      <a:pt x="68" y="130"/>
                      <a:pt x="68" y="130"/>
                    </a:cubicBezTo>
                    <a:cubicBezTo>
                      <a:pt x="64" y="126"/>
                      <a:pt x="64" y="126"/>
                      <a:pt x="64" y="126"/>
                    </a:cubicBezTo>
                    <a:cubicBezTo>
                      <a:pt x="4" y="126"/>
                      <a:pt x="4" y="126"/>
                      <a:pt x="4" y="126"/>
                    </a:cubicBezTo>
                    <a:cubicBezTo>
                      <a:pt x="4" y="124"/>
                      <a:pt x="4" y="124"/>
                      <a:pt x="4" y="124"/>
                    </a:cubicBezTo>
                    <a:moveTo>
                      <a:pt x="130" y="113"/>
                    </a:moveTo>
                    <a:cubicBezTo>
                      <a:pt x="129" y="116"/>
                      <a:pt x="127" y="118"/>
                      <a:pt x="126" y="120"/>
                    </a:cubicBezTo>
                    <a:cubicBezTo>
                      <a:pt x="126" y="126"/>
                      <a:pt x="126" y="126"/>
                      <a:pt x="126" y="126"/>
                    </a:cubicBezTo>
                    <a:cubicBezTo>
                      <a:pt x="120" y="126"/>
                      <a:pt x="120" y="126"/>
                      <a:pt x="120" y="126"/>
                    </a:cubicBezTo>
                    <a:cubicBezTo>
                      <a:pt x="118" y="127"/>
                      <a:pt x="116" y="129"/>
                      <a:pt x="114" y="130"/>
                    </a:cubicBezTo>
                    <a:cubicBezTo>
                      <a:pt x="130" y="130"/>
                      <a:pt x="130" y="130"/>
                      <a:pt x="130" y="130"/>
                    </a:cubicBezTo>
                    <a:cubicBezTo>
                      <a:pt x="130" y="113"/>
                      <a:pt x="130" y="113"/>
                      <a:pt x="130" y="113"/>
                    </a:cubicBezTo>
                    <a:moveTo>
                      <a:pt x="1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4" y="118"/>
                      <a:pt x="4" y="118"/>
                      <a:pt x="4" y="118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126" y="4"/>
                      <a:pt x="126" y="4"/>
                      <a:pt x="126" y="4"/>
                    </a:cubicBezTo>
                    <a:cubicBezTo>
                      <a:pt x="126" y="82"/>
                      <a:pt x="126" y="82"/>
                      <a:pt x="126" y="82"/>
                    </a:cubicBezTo>
                    <a:cubicBezTo>
                      <a:pt x="127" y="84"/>
                      <a:pt x="129" y="86"/>
                      <a:pt x="130" y="89"/>
                    </a:cubicBezTo>
                    <a:cubicBezTo>
                      <a:pt x="130" y="0"/>
                      <a:pt x="130" y="0"/>
                      <a:pt x="13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84" name="Freeform 76">
                <a:extLst>
                  <a:ext uri="{FF2B5EF4-FFF2-40B4-BE49-F238E27FC236}">
                    <a16:creationId xmlns:a16="http://schemas.microsoft.com/office/drawing/2014/main" id="{7D7B8716-19B6-4280-9110-6BEE7A3F70F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20" y="1841"/>
                <a:ext cx="131" cy="131"/>
              </a:xfrm>
              <a:custGeom>
                <a:avLst/>
                <a:gdLst>
                  <a:gd name="T0" fmla="*/ 131 w 131"/>
                  <a:gd name="T1" fmla="*/ 125 h 131"/>
                  <a:gd name="T2" fmla="*/ 127 w 131"/>
                  <a:gd name="T3" fmla="*/ 125 h 131"/>
                  <a:gd name="T4" fmla="*/ 127 w 131"/>
                  <a:gd name="T5" fmla="*/ 127 h 131"/>
                  <a:gd name="T6" fmla="*/ 3 w 131"/>
                  <a:gd name="T7" fmla="*/ 127 h 131"/>
                  <a:gd name="T8" fmla="*/ 3 w 131"/>
                  <a:gd name="T9" fmla="*/ 125 h 131"/>
                  <a:gd name="T10" fmla="*/ 0 w 131"/>
                  <a:gd name="T11" fmla="*/ 125 h 131"/>
                  <a:gd name="T12" fmla="*/ 0 w 131"/>
                  <a:gd name="T13" fmla="*/ 131 h 131"/>
                  <a:gd name="T14" fmla="*/ 131 w 131"/>
                  <a:gd name="T15" fmla="*/ 131 h 131"/>
                  <a:gd name="T16" fmla="*/ 131 w 131"/>
                  <a:gd name="T17" fmla="*/ 125 h 131"/>
                  <a:gd name="T18" fmla="*/ 131 w 131"/>
                  <a:gd name="T19" fmla="*/ 0 h 131"/>
                  <a:gd name="T20" fmla="*/ 0 w 131"/>
                  <a:gd name="T21" fmla="*/ 0 h 131"/>
                  <a:gd name="T22" fmla="*/ 0 w 131"/>
                  <a:gd name="T23" fmla="*/ 119 h 131"/>
                  <a:gd name="T24" fmla="*/ 3 w 131"/>
                  <a:gd name="T25" fmla="*/ 119 h 131"/>
                  <a:gd name="T26" fmla="*/ 3 w 131"/>
                  <a:gd name="T27" fmla="*/ 4 h 131"/>
                  <a:gd name="T28" fmla="*/ 127 w 131"/>
                  <a:gd name="T29" fmla="*/ 4 h 131"/>
                  <a:gd name="T30" fmla="*/ 127 w 131"/>
                  <a:gd name="T31" fmla="*/ 119 h 131"/>
                  <a:gd name="T32" fmla="*/ 131 w 131"/>
                  <a:gd name="T33" fmla="*/ 119 h 131"/>
                  <a:gd name="T34" fmla="*/ 131 w 131"/>
                  <a:gd name="T3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1" h="131">
                    <a:moveTo>
                      <a:pt x="131" y="125"/>
                    </a:moveTo>
                    <a:lnTo>
                      <a:pt x="127" y="125"/>
                    </a:lnTo>
                    <a:lnTo>
                      <a:pt x="127" y="127"/>
                    </a:lnTo>
                    <a:lnTo>
                      <a:pt x="3" y="127"/>
                    </a:lnTo>
                    <a:lnTo>
                      <a:pt x="3" y="125"/>
                    </a:lnTo>
                    <a:lnTo>
                      <a:pt x="0" y="125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125"/>
                    </a:lnTo>
                    <a:close/>
                    <a:moveTo>
                      <a:pt x="131" y="0"/>
                    </a:moveTo>
                    <a:lnTo>
                      <a:pt x="0" y="0"/>
                    </a:lnTo>
                    <a:lnTo>
                      <a:pt x="0" y="119"/>
                    </a:lnTo>
                    <a:lnTo>
                      <a:pt x="3" y="119"/>
                    </a:lnTo>
                    <a:lnTo>
                      <a:pt x="3" y="4"/>
                    </a:lnTo>
                    <a:lnTo>
                      <a:pt x="127" y="4"/>
                    </a:lnTo>
                    <a:lnTo>
                      <a:pt x="127" y="119"/>
                    </a:lnTo>
                    <a:lnTo>
                      <a:pt x="131" y="119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85" name="Freeform 77">
                <a:extLst>
                  <a:ext uri="{FF2B5EF4-FFF2-40B4-BE49-F238E27FC236}">
                    <a16:creationId xmlns:a16="http://schemas.microsoft.com/office/drawing/2014/main" id="{FCE8E142-5FD9-486B-9B9E-0DF025DFBFE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20" y="1841"/>
                <a:ext cx="131" cy="131"/>
              </a:xfrm>
              <a:custGeom>
                <a:avLst/>
                <a:gdLst>
                  <a:gd name="T0" fmla="*/ 131 w 131"/>
                  <a:gd name="T1" fmla="*/ 125 h 131"/>
                  <a:gd name="T2" fmla="*/ 127 w 131"/>
                  <a:gd name="T3" fmla="*/ 125 h 131"/>
                  <a:gd name="T4" fmla="*/ 127 w 131"/>
                  <a:gd name="T5" fmla="*/ 127 h 131"/>
                  <a:gd name="T6" fmla="*/ 3 w 131"/>
                  <a:gd name="T7" fmla="*/ 127 h 131"/>
                  <a:gd name="T8" fmla="*/ 3 w 131"/>
                  <a:gd name="T9" fmla="*/ 125 h 131"/>
                  <a:gd name="T10" fmla="*/ 0 w 131"/>
                  <a:gd name="T11" fmla="*/ 125 h 131"/>
                  <a:gd name="T12" fmla="*/ 0 w 131"/>
                  <a:gd name="T13" fmla="*/ 131 h 131"/>
                  <a:gd name="T14" fmla="*/ 131 w 131"/>
                  <a:gd name="T15" fmla="*/ 131 h 131"/>
                  <a:gd name="T16" fmla="*/ 131 w 131"/>
                  <a:gd name="T17" fmla="*/ 125 h 131"/>
                  <a:gd name="T18" fmla="*/ 131 w 131"/>
                  <a:gd name="T19" fmla="*/ 0 h 131"/>
                  <a:gd name="T20" fmla="*/ 0 w 131"/>
                  <a:gd name="T21" fmla="*/ 0 h 131"/>
                  <a:gd name="T22" fmla="*/ 0 w 131"/>
                  <a:gd name="T23" fmla="*/ 119 h 131"/>
                  <a:gd name="T24" fmla="*/ 3 w 131"/>
                  <a:gd name="T25" fmla="*/ 119 h 131"/>
                  <a:gd name="T26" fmla="*/ 3 w 131"/>
                  <a:gd name="T27" fmla="*/ 4 h 131"/>
                  <a:gd name="T28" fmla="*/ 127 w 131"/>
                  <a:gd name="T29" fmla="*/ 4 h 131"/>
                  <a:gd name="T30" fmla="*/ 127 w 131"/>
                  <a:gd name="T31" fmla="*/ 119 h 131"/>
                  <a:gd name="T32" fmla="*/ 131 w 131"/>
                  <a:gd name="T33" fmla="*/ 119 h 131"/>
                  <a:gd name="T34" fmla="*/ 131 w 131"/>
                  <a:gd name="T3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1" h="131">
                    <a:moveTo>
                      <a:pt x="131" y="125"/>
                    </a:moveTo>
                    <a:lnTo>
                      <a:pt x="127" y="125"/>
                    </a:lnTo>
                    <a:lnTo>
                      <a:pt x="127" y="127"/>
                    </a:lnTo>
                    <a:lnTo>
                      <a:pt x="3" y="127"/>
                    </a:lnTo>
                    <a:lnTo>
                      <a:pt x="3" y="125"/>
                    </a:lnTo>
                    <a:lnTo>
                      <a:pt x="0" y="125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125"/>
                    </a:lnTo>
                    <a:moveTo>
                      <a:pt x="131" y="0"/>
                    </a:moveTo>
                    <a:lnTo>
                      <a:pt x="0" y="0"/>
                    </a:lnTo>
                    <a:lnTo>
                      <a:pt x="0" y="119"/>
                    </a:lnTo>
                    <a:lnTo>
                      <a:pt x="3" y="119"/>
                    </a:lnTo>
                    <a:lnTo>
                      <a:pt x="3" y="4"/>
                    </a:lnTo>
                    <a:lnTo>
                      <a:pt x="127" y="4"/>
                    </a:lnTo>
                    <a:lnTo>
                      <a:pt x="127" y="119"/>
                    </a:lnTo>
                    <a:lnTo>
                      <a:pt x="131" y="119"/>
                    </a:lnTo>
                    <a:lnTo>
                      <a:pt x="13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86" name="Freeform 78">
                <a:extLst>
                  <a:ext uri="{FF2B5EF4-FFF2-40B4-BE49-F238E27FC236}">
                    <a16:creationId xmlns:a16="http://schemas.microsoft.com/office/drawing/2014/main" id="{DA7B825A-5142-4A92-8A8B-2BF61B7D507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047" y="1841"/>
                <a:ext cx="130" cy="131"/>
              </a:xfrm>
              <a:custGeom>
                <a:avLst/>
                <a:gdLst>
                  <a:gd name="T0" fmla="*/ 3 w 130"/>
                  <a:gd name="T1" fmla="*/ 44 h 131"/>
                  <a:gd name="T2" fmla="*/ 0 w 130"/>
                  <a:gd name="T3" fmla="*/ 44 h 131"/>
                  <a:gd name="T4" fmla="*/ 0 w 130"/>
                  <a:gd name="T5" fmla="*/ 131 h 131"/>
                  <a:gd name="T6" fmla="*/ 130 w 130"/>
                  <a:gd name="T7" fmla="*/ 131 h 131"/>
                  <a:gd name="T8" fmla="*/ 130 w 130"/>
                  <a:gd name="T9" fmla="*/ 125 h 131"/>
                  <a:gd name="T10" fmla="*/ 126 w 130"/>
                  <a:gd name="T11" fmla="*/ 125 h 131"/>
                  <a:gd name="T12" fmla="*/ 126 w 130"/>
                  <a:gd name="T13" fmla="*/ 127 h 131"/>
                  <a:gd name="T14" fmla="*/ 3 w 130"/>
                  <a:gd name="T15" fmla="*/ 127 h 131"/>
                  <a:gd name="T16" fmla="*/ 3 w 130"/>
                  <a:gd name="T17" fmla="*/ 44 h 131"/>
                  <a:gd name="T18" fmla="*/ 130 w 130"/>
                  <a:gd name="T19" fmla="*/ 0 h 131"/>
                  <a:gd name="T20" fmla="*/ 0 w 130"/>
                  <a:gd name="T21" fmla="*/ 0 h 131"/>
                  <a:gd name="T22" fmla="*/ 0 w 130"/>
                  <a:gd name="T23" fmla="*/ 38 h 131"/>
                  <a:gd name="T24" fmla="*/ 3 w 130"/>
                  <a:gd name="T25" fmla="*/ 38 h 131"/>
                  <a:gd name="T26" fmla="*/ 3 w 130"/>
                  <a:gd name="T27" fmla="*/ 4 h 131"/>
                  <a:gd name="T28" fmla="*/ 126 w 130"/>
                  <a:gd name="T29" fmla="*/ 4 h 131"/>
                  <a:gd name="T30" fmla="*/ 126 w 130"/>
                  <a:gd name="T31" fmla="*/ 119 h 131"/>
                  <a:gd name="T32" fmla="*/ 130 w 130"/>
                  <a:gd name="T33" fmla="*/ 119 h 131"/>
                  <a:gd name="T34" fmla="*/ 130 w 130"/>
                  <a:gd name="T3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131">
                    <a:moveTo>
                      <a:pt x="3" y="44"/>
                    </a:moveTo>
                    <a:lnTo>
                      <a:pt x="0" y="44"/>
                    </a:lnTo>
                    <a:lnTo>
                      <a:pt x="0" y="131"/>
                    </a:lnTo>
                    <a:lnTo>
                      <a:pt x="130" y="131"/>
                    </a:lnTo>
                    <a:lnTo>
                      <a:pt x="130" y="125"/>
                    </a:lnTo>
                    <a:lnTo>
                      <a:pt x="126" y="125"/>
                    </a:lnTo>
                    <a:lnTo>
                      <a:pt x="126" y="127"/>
                    </a:lnTo>
                    <a:lnTo>
                      <a:pt x="3" y="127"/>
                    </a:lnTo>
                    <a:lnTo>
                      <a:pt x="3" y="44"/>
                    </a:lnTo>
                    <a:close/>
                    <a:moveTo>
                      <a:pt x="130" y="0"/>
                    </a:moveTo>
                    <a:lnTo>
                      <a:pt x="0" y="0"/>
                    </a:lnTo>
                    <a:lnTo>
                      <a:pt x="0" y="38"/>
                    </a:lnTo>
                    <a:lnTo>
                      <a:pt x="3" y="38"/>
                    </a:lnTo>
                    <a:lnTo>
                      <a:pt x="3" y="4"/>
                    </a:lnTo>
                    <a:lnTo>
                      <a:pt x="126" y="4"/>
                    </a:lnTo>
                    <a:lnTo>
                      <a:pt x="126" y="119"/>
                    </a:lnTo>
                    <a:lnTo>
                      <a:pt x="130" y="119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87" name="Freeform 79">
                <a:extLst>
                  <a:ext uri="{FF2B5EF4-FFF2-40B4-BE49-F238E27FC236}">
                    <a16:creationId xmlns:a16="http://schemas.microsoft.com/office/drawing/2014/main" id="{394A18E6-3C9A-4054-93D6-396852667A0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047" y="1841"/>
                <a:ext cx="130" cy="131"/>
              </a:xfrm>
              <a:custGeom>
                <a:avLst/>
                <a:gdLst>
                  <a:gd name="T0" fmla="*/ 3 w 130"/>
                  <a:gd name="T1" fmla="*/ 44 h 131"/>
                  <a:gd name="T2" fmla="*/ 0 w 130"/>
                  <a:gd name="T3" fmla="*/ 44 h 131"/>
                  <a:gd name="T4" fmla="*/ 0 w 130"/>
                  <a:gd name="T5" fmla="*/ 131 h 131"/>
                  <a:gd name="T6" fmla="*/ 130 w 130"/>
                  <a:gd name="T7" fmla="*/ 131 h 131"/>
                  <a:gd name="T8" fmla="*/ 130 w 130"/>
                  <a:gd name="T9" fmla="*/ 125 h 131"/>
                  <a:gd name="T10" fmla="*/ 126 w 130"/>
                  <a:gd name="T11" fmla="*/ 125 h 131"/>
                  <a:gd name="T12" fmla="*/ 126 w 130"/>
                  <a:gd name="T13" fmla="*/ 127 h 131"/>
                  <a:gd name="T14" fmla="*/ 3 w 130"/>
                  <a:gd name="T15" fmla="*/ 127 h 131"/>
                  <a:gd name="T16" fmla="*/ 3 w 130"/>
                  <a:gd name="T17" fmla="*/ 44 h 131"/>
                  <a:gd name="T18" fmla="*/ 130 w 130"/>
                  <a:gd name="T19" fmla="*/ 0 h 131"/>
                  <a:gd name="T20" fmla="*/ 0 w 130"/>
                  <a:gd name="T21" fmla="*/ 0 h 131"/>
                  <a:gd name="T22" fmla="*/ 0 w 130"/>
                  <a:gd name="T23" fmla="*/ 38 h 131"/>
                  <a:gd name="T24" fmla="*/ 3 w 130"/>
                  <a:gd name="T25" fmla="*/ 38 h 131"/>
                  <a:gd name="T26" fmla="*/ 3 w 130"/>
                  <a:gd name="T27" fmla="*/ 4 h 131"/>
                  <a:gd name="T28" fmla="*/ 126 w 130"/>
                  <a:gd name="T29" fmla="*/ 4 h 131"/>
                  <a:gd name="T30" fmla="*/ 126 w 130"/>
                  <a:gd name="T31" fmla="*/ 119 h 131"/>
                  <a:gd name="T32" fmla="*/ 130 w 130"/>
                  <a:gd name="T33" fmla="*/ 119 h 131"/>
                  <a:gd name="T34" fmla="*/ 130 w 130"/>
                  <a:gd name="T3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131">
                    <a:moveTo>
                      <a:pt x="3" y="44"/>
                    </a:moveTo>
                    <a:lnTo>
                      <a:pt x="0" y="44"/>
                    </a:lnTo>
                    <a:lnTo>
                      <a:pt x="0" y="131"/>
                    </a:lnTo>
                    <a:lnTo>
                      <a:pt x="130" y="131"/>
                    </a:lnTo>
                    <a:lnTo>
                      <a:pt x="130" y="125"/>
                    </a:lnTo>
                    <a:lnTo>
                      <a:pt x="126" y="125"/>
                    </a:lnTo>
                    <a:lnTo>
                      <a:pt x="126" y="127"/>
                    </a:lnTo>
                    <a:lnTo>
                      <a:pt x="3" y="127"/>
                    </a:lnTo>
                    <a:lnTo>
                      <a:pt x="3" y="44"/>
                    </a:lnTo>
                    <a:moveTo>
                      <a:pt x="130" y="0"/>
                    </a:moveTo>
                    <a:lnTo>
                      <a:pt x="0" y="0"/>
                    </a:lnTo>
                    <a:lnTo>
                      <a:pt x="0" y="38"/>
                    </a:lnTo>
                    <a:lnTo>
                      <a:pt x="3" y="38"/>
                    </a:lnTo>
                    <a:lnTo>
                      <a:pt x="3" y="4"/>
                    </a:lnTo>
                    <a:lnTo>
                      <a:pt x="126" y="4"/>
                    </a:lnTo>
                    <a:lnTo>
                      <a:pt x="126" y="119"/>
                    </a:lnTo>
                    <a:lnTo>
                      <a:pt x="130" y="119"/>
                    </a:lnTo>
                    <a:lnTo>
                      <a:pt x="13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88" name="Freeform 80">
                <a:extLst>
                  <a:ext uri="{FF2B5EF4-FFF2-40B4-BE49-F238E27FC236}">
                    <a16:creationId xmlns:a16="http://schemas.microsoft.com/office/drawing/2014/main" id="{B02FC37C-96BA-431B-BBA6-CE8F4AA02B2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00" y="1841"/>
                <a:ext cx="130" cy="131"/>
              </a:xfrm>
              <a:custGeom>
                <a:avLst/>
                <a:gdLst>
                  <a:gd name="T0" fmla="*/ 130 w 130"/>
                  <a:gd name="T1" fmla="*/ 44 h 131"/>
                  <a:gd name="T2" fmla="*/ 126 w 130"/>
                  <a:gd name="T3" fmla="*/ 44 h 131"/>
                  <a:gd name="T4" fmla="*/ 126 w 130"/>
                  <a:gd name="T5" fmla="*/ 127 h 131"/>
                  <a:gd name="T6" fmla="*/ 3 w 130"/>
                  <a:gd name="T7" fmla="*/ 127 h 131"/>
                  <a:gd name="T8" fmla="*/ 3 w 130"/>
                  <a:gd name="T9" fmla="*/ 44 h 131"/>
                  <a:gd name="T10" fmla="*/ 0 w 130"/>
                  <a:gd name="T11" fmla="*/ 44 h 131"/>
                  <a:gd name="T12" fmla="*/ 0 w 130"/>
                  <a:gd name="T13" fmla="*/ 131 h 131"/>
                  <a:gd name="T14" fmla="*/ 130 w 130"/>
                  <a:gd name="T15" fmla="*/ 131 h 131"/>
                  <a:gd name="T16" fmla="*/ 130 w 130"/>
                  <a:gd name="T17" fmla="*/ 44 h 131"/>
                  <a:gd name="T18" fmla="*/ 130 w 130"/>
                  <a:gd name="T19" fmla="*/ 0 h 131"/>
                  <a:gd name="T20" fmla="*/ 0 w 130"/>
                  <a:gd name="T21" fmla="*/ 0 h 131"/>
                  <a:gd name="T22" fmla="*/ 0 w 130"/>
                  <a:gd name="T23" fmla="*/ 38 h 131"/>
                  <a:gd name="T24" fmla="*/ 3 w 130"/>
                  <a:gd name="T25" fmla="*/ 38 h 131"/>
                  <a:gd name="T26" fmla="*/ 3 w 130"/>
                  <a:gd name="T27" fmla="*/ 4 h 131"/>
                  <a:gd name="T28" fmla="*/ 126 w 130"/>
                  <a:gd name="T29" fmla="*/ 4 h 131"/>
                  <a:gd name="T30" fmla="*/ 126 w 130"/>
                  <a:gd name="T31" fmla="*/ 38 h 131"/>
                  <a:gd name="T32" fmla="*/ 130 w 130"/>
                  <a:gd name="T33" fmla="*/ 38 h 131"/>
                  <a:gd name="T34" fmla="*/ 130 w 130"/>
                  <a:gd name="T3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131">
                    <a:moveTo>
                      <a:pt x="130" y="44"/>
                    </a:moveTo>
                    <a:lnTo>
                      <a:pt x="126" y="44"/>
                    </a:lnTo>
                    <a:lnTo>
                      <a:pt x="126" y="127"/>
                    </a:lnTo>
                    <a:lnTo>
                      <a:pt x="3" y="127"/>
                    </a:lnTo>
                    <a:lnTo>
                      <a:pt x="3" y="44"/>
                    </a:lnTo>
                    <a:lnTo>
                      <a:pt x="0" y="44"/>
                    </a:lnTo>
                    <a:lnTo>
                      <a:pt x="0" y="131"/>
                    </a:lnTo>
                    <a:lnTo>
                      <a:pt x="130" y="131"/>
                    </a:lnTo>
                    <a:lnTo>
                      <a:pt x="130" y="44"/>
                    </a:lnTo>
                    <a:close/>
                    <a:moveTo>
                      <a:pt x="130" y="0"/>
                    </a:moveTo>
                    <a:lnTo>
                      <a:pt x="0" y="0"/>
                    </a:lnTo>
                    <a:lnTo>
                      <a:pt x="0" y="38"/>
                    </a:lnTo>
                    <a:lnTo>
                      <a:pt x="3" y="38"/>
                    </a:lnTo>
                    <a:lnTo>
                      <a:pt x="3" y="4"/>
                    </a:lnTo>
                    <a:lnTo>
                      <a:pt x="126" y="4"/>
                    </a:lnTo>
                    <a:lnTo>
                      <a:pt x="126" y="38"/>
                    </a:lnTo>
                    <a:lnTo>
                      <a:pt x="130" y="38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89" name="Freeform 81">
                <a:extLst>
                  <a:ext uri="{FF2B5EF4-FFF2-40B4-BE49-F238E27FC236}">
                    <a16:creationId xmlns:a16="http://schemas.microsoft.com/office/drawing/2014/main" id="{D5435A54-E147-42B7-A5E2-C3C9B58B13B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00" y="1841"/>
                <a:ext cx="130" cy="131"/>
              </a:xfrm>
              <a:custGeom>
                <a:avLst/>
                <a:gdLst>
                  <a:gd name="T0" fmla="*/ 130 w 130"/>
                  <a:gd name="T1" fmla="*/ 44 h 131"/>
                  <a:gd name="T2" fmla="*/ 126 w 130"/>
                  <a:gd name="T3" fmla="*/ 44 h 131"/>
                  <a:gd name="T4" fmla="*/ 126 w 130"/>
                  <a:gd name="T5" fmla="*/ 127 h 131"/>
                  <a:gd name="T6" fmla="*/ 3 w 130"/>
                  <a:gd name="T7" fmla="*/ 127 h 131"/>
                  <a:gd name="T8" fmla="*/ 3 w 130"/>
                  <a:gd name="T9" fmla="*/ 44 h 131"/>
                  <a:gd name="T10" fmla="*/ 0 w 130"/>
                  <a:gd name="T11" fmla="*/ 44 h 131"/>
                  <a:gd name="T12" fmla="*/ 0 w 130"/>
                  <a:gd name="T13" fmla="*/ 131 h 131"/>
                  <a:gd name="T14" fmla="*/ 130 w 130"/>
                  <a:gd name="T15" fmla="*/ 131 h 131"/>
                  <a:gd name="T16" fmla="*/ 130 w 130"/>
                  <a:gd name="T17" fmla="*/ 44 h 131"/>
                  <a:gd name="T18" fmla="*/ 130 w 130"/>
                  <a:gd name="T19" fmla="*/ 0 h 131"/>
                  <a:gd name="T20" fmla="*/ 0 w 130"/>
                  <a:gd name="T21" fmla="*/ 0 h 131"/>
                  <a:gd name="T22" fmla="*/ 0 w 130"/>
                  <a:gd name="T23" fmla="*/ 38 h 131"/>
                  <a:gd name="T24" fmla="*/ 3 w 130"/>
                  <a:gd name="T25" fmla="*/ 38 h 131"/>
                  <a:gd name="T26" fmla="*/ 3 w 130"/>
                  <a:gd name="T27" fmla="*/ 4 h 131"/>
                  <a:gd name="T28" fmla="*/ 126 w 130"/>
                  <a:gd name="T29" fmla="*/ 4 h 131"/>
                  <a:gd name="T30" fmla="*/ 126 w 130"/>
                  <a:gd name="T31" fmla="*/ 38 h 131"/>
                  <a:gd name="T32" fmla="*/ 130 w 130"/>
                  <a:gd name="T33" fmla="*/ 38 h 131"/>
                  <a:gd name="T34" fmla="*/ 130 w 130"/>
                  <a:gd name="T3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131">
                    <a:moveTo>
                      <a:pt x="130" y="44"/>
                    </a:moveTo>
                    <a:lnTo>
                      <a:pt x="126" y="44"/>
                    </a:lnTo>
                    <a:lnTo>
                      <a:pt x="126" y="127"/>
                    </a:lnTo>
                    <a:lnTo>
                      <a:pt x="3" y="127"/>
                    </a:lnTo>
                    <a:lnTo>
                      <a:pt x="3" y="44"/>
                    </a:lnTo>
                    <a:lnTo>
                      <a:pt x="0" y="44"/>
                    </a:lnTo>
                    <a:lnTo>
                      <a:pt x="0" y="131"/>
                    </a:lnTo>
                    <a:lnTo>
                      <a:pt x="130" y="131"/>
                    </a:lnTo>
                    <a:lnTo>
                      <a:pt x="130" y="44"/>
                    </a:lnTo>
                    <a:moveTo>
                      <a:pt x="130" y="0"/>
                    </a:moveTo>
                    <a:lnTo>
                      <a:pt x="0" y="0"/>
                    </a:lnTo>
                    <a:lnTo>
                      <a:pt x="0" y="38"/>
                    </a:lnTo>
                    <a:lnTo>
                      <a:pt x="3" y="38"/>
                    </a:lnTo>
                    <a:lnTo>
                      <a:pt x="3" y="4"/>
                    </a:lnTo>
                    <a:lnTo>
                      <a:pt x="126" y="4"/>
                    </a:lnTo>
                    <a:lnTo>
                      <a:pt x="126" y="38"/>
                    </a:lnTo>
                    <a:lnTo>
                      <a:pt x="130" y="38"/>
                    </a:lnTo>
                    <a:lnTo>
                      <a:pt x="13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90" name="Freeform 82">
                <a:extLst>
                  <a:ext uri="{FF2B5EF4-FFF2-40B4-BE49-F238E27FC236}">
                    <a16:creationId xmlns:a16="http://schemas.microsoft.com/office/drawing/2014/main" id="{0A30D267-36FF-47AC-AB71-0F83883D679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26" y="1841"/>
                <a:ext cx="131" cy="131"/>
              </a:xfrm>
              <a:custGeom>
                <a:avLst/>
                <a:gdLst>
                  <a:gd name="T0" fmla="*/ 131 w 131"/>
                  <a:gd name="T1" fmla="*/ 44 h 131"/>
                  <a:gd name="T2" fmla="*/ 127 w 131"/>
                  <a:gd name="T3" fmla="*/ 44 h 131"/>
                  <a:gd name="T4" fmla="*/ 127 w 131"/>
                  <a:gd name="T5" fmla="*/ 127 h 131"/>
                  <a:gd name="T6" fmla="*/ 3 w 131"/>
                  <a:gd name="T7" fmla="*/ 127 h 131"/>
                  <a:gd name="T8" fmla="*/ 3 w 131"/>
                  <a:gd name="T9" fmla="*/ 116 h 131"/>
                  <a:gd name="T10" fmla="*/ 0 w 131"/>
                  <a:gd name="T11" fmla="*/ 119 h 131"/>
                  <a:gd name="T12" fmla="*/ 0 w 131"/>
                  <a:gd name="T13" fmla="*/ 131 h 131"/>
                  <a:gd name="T14" fmla="*/ 131 w 131"/>
                  <a:gd name="T15" fmla="*/ 131 h 131"/>
                  <a:gd name="T16" fmla="*/ 131 w 131"/>
                  <a:gd name="T17" fmla="*/ 44 h 131"/>
                  <a:gd name="T18" fmla="*/ 131 w 131"/>
                  <a:gd name="T19" fmla="*/ 0 h 131"/>
                  <a:gd name="T20" fmla="*/ 0 w 131"/>
                  <a:gd name="T21" fmla="*/ 0 h 131"/>
                  <a:gd name="T22" fmla="*/ 0 w 131"/>
                  <a:gd name="T23" fmla="*/ 112 h 131"/>
                  <a:gd name="T24" fmla="*/ 3 w 131"/>
                  <a:gd name="T25" fmla="*/ 108 h 131"/>
                  <a:gd name="T26" fmla="*/ 3 w 131"/>
                  <a:gd name="T27" fmla="*/ 4 h 131"/>
                  <a:gd name="T28" fmla="*/ 127 w 131"/>
                  <a:gd name="T29" fmla="*/ 4 h 131"/>
                  <a:gd name="T30" fmla="*/ 127 w 131"/>
                  <a:gd name="T31" fmla="*/ 38 h 131"/>
                  <a:gd name="T32" fmla="*/ 131 w 131"/>
                  <a:gd name="T33" fmla="*/ 38 h 131"/>
                  <a:gd name="T34" fmla="*/ 131 w 131"/>
                  <a:gd name="T3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1" h="131">
                    <a:moveTo>
                      <a:pt x="131" y="44"/>
                    </a:moveTo>
                    <a:lnTo>
                      <a:pt x="127" y="44"/>
                    </a:lnTo>
                    <a:lnTo>
                      <a:pt x="127" y="127"/>
                    </a:lnTo>
                    <a:lnTo>
                      <a:pt x="3" y="127"/>
                    </a:lnTo>
                    <a:lnTo>
                      <a:pt x="3" y="116"/>
                    </a:lnTo>
                    <a:lnTo>
                      <a:pt x="0" y="119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44"/>
                    </a:lnTo>
                    <a:close/>
                    <a:moveTo>
                      <a:pt x="131" y="0"/>
                    </a:moveTo>
                    <a:lnTo>
                      <a:pt x="0" y="0"/>
                    </a:lnTo>
                    <a:lnTo>
                      <a:pt x="0" y="112"/>
                    </a:lnTo>
                    <a:lnTo>
                      <a:pt x="3" y="108"/>
                    </a:lnTo>
                    <a:lnTo>
                      <a:pt x="3" y="4"/>
                    </a:lnTo>
                    <a:lnTo>
                      <a:pt x="127" y="4"/>
                    </a:lnTo>
                    <a:lnTo>
                      <a:pt x="127" y="38"/>
                    </a:lnTo>
                    <a:lnTo>
                      <a:pt x="131" y="38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91" name="Freeform 83">
                <a:extLst>
                  <a:ext uri="{FF2B5EF4-FFF2-40B4-BE49-F238E27FC236}">
                    <a16:creationId xmlns:a16="http://schemas.microsoft.com/office/drawing/2014/main" id="{26866BC9-2A37-428B-A804-A4EF81C73BB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26" y="1841"/>
                <a:ext cx="131" cy="131"/>
              </a:xfrm>
              <a:custGeom>
                <a:avLst/>
                <a:gdLst>
                  <a:gd name="T0" fmla="*/ 131 w 131"/>
                  <a:gd name="T1" fmla="*/ 44 h 131"/>
                  <a:gd name="T2" fmla="*/ 127 w 131"/>
                  <a:gd name="T3" fmla="*/ 44 h 131"/>
                  <a:gd name="T4" fmla="*/ 127 w 131"/>
                  <a:gd name="T5" fmla="*/ 127 h 131"/>
                  <a:gd name="T6" fmla="*/ 3 w 131"/>
                  <a:gd name="T7" fmla="*/ 127 h 131"/>
                  <a:gd name="T8" fmla="*/ 3 w 131"/>
                  <a:gd name="T9" fmla="*/ 116 h 131"/>
                  <a:gd name="T10" fmla="*/ 0 w 131"/>
                  <a:gd name="T11" fmla="*/ 119 h 131"/>
                  <a:gd name="T12" fmla="*/ 0 w 131"/>
                  <a:gd name="T13" fmla="*/ 131 h 131"/>
                  <a:gd name="T14" fmla="*/ 131 w 131"/>
                  <a:gd name="T15" fmla="*/ 131 h 131"/>
                  <a:gd name="T16" fmla="*/ 131 w 131"/>
                  <a:gd name="T17" fmla="*/ 44 h 131"/>
                  <a:gd name="T18" fmla="*/ 131 w 131"/>
                  <a:gd name="T19" fmla="*/ 0 h 131"/>
                  <a:gd name="T20" fmla="*/ 0 w 131"/>
                  <a:gd name="T21" fmla="*/ 0 h 131"/>
                  <a:gd name="T22" fmla="*/ 0 w 131"/>
                  <a:gd name="T23" fmla="*/ 112 h 131"/>
                  <a:gd name="T24" fmla="*/ 3 w 131"/>
                  <a:gd name="T25" fmla="*/ 108 h 131"/>
                  <a:gd name="T26" fmla="*/ 3 w 131"/>
                  <a:gd name="T27" fmla="*/ 4 h 131"/>
                  <a:gd name="T28" fmla="*/ 127 w 131"/>
                  <a:gd name="T29" fmla="*/ 4 h 131"/>
                  <a:gd name="T30" fmla="*/ 127 w 131"/>
                  <a:gd name="T31" fmla="*/ 38 h 131"/>
                  <a:gd name="T32" fmla="*/ 131 w 131"/>
                  <a:gd name="T33" fmla="*/ 38 h 131"/>
                  <a:gd name="T34" fmla="*/ 131 w 131"/>
                  <a:gd name="T3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1" h="131">
                    <a:moveTo>
                      <a:pt x="131" y="44"/>
                    </a:moveTo>
                    <a:lnTo>
                      <a:pt x="127" y="44"/>
                    </a:lnTo>
                    <a:lnTo>
                      <a:pt x="127" y="127"/>
                    </a:lnTo>
                    <a:lnTo>
                      <a:pt x="3" y="127"/>
                    </a:lnTo>
                    <a:lnTo>
                      <a:pt x="3" y="116"/>
                    </a:lnTo>
                    <a:lnTo>
                      <a:pt x="0" y="119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44"/>
                    </a:lnTo>
                    <a:moveTo>
                      <a:pt x="131" y="0"/>
                    </a:moveTo>
                    <a:lnTo>
                      <a:pt x="0" y="0"/>
                    </a:lnTo>
                    <a:lnTo>
                      <a:pt x="0" y="112"/>
                    </a:lnTo>
                    <a:lnTo>
                      <a:pt x="3" y="108"/>
                    </a:lnTo>
                    <a:lnTo>
                      <a:pt x="3" y="4"/>
                    </a:lnTo>
                    <a:lnTo>
                      <a:pt x="127" y="4"/>
                    </a:lnTo>
                    <a:lnTo>
                      <a:pt x="127" y="38"/>
                    </a:lnTo>
                    <a:lnTo>
                      <a:pt x="131" y="38"/>
                    </a:lnTo>
                    <a:lnTo>
                      <a:pt x="13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92" name="Freeform 84">
                <a:extLst>
                  <a:ext uri="{FF2B5EF4-FFF2-40B4-BE49-F238E27FC236}">
                    <a16:creationId xmlns:a16="http://schemas.microsoft.com/office/drawing/2014/main" id="{AFDBDA36-AD6B-4C6A-B742-A9CB447201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41" y="1673"/>
                <a:ext cx="130" cy="131"/>
              </a:xfrm>
              <a:custGeom>
                <a:avLst/>
                <a:gdLst>
                  <a:gd name="T0" fmla="*/ 130 w 130"/>
                  <a:gd name="T1" fmla="*/ 0 h 131"/>
                  <a:gd name="T2" fmla="*/ 0 w 130"/>
                  <a:gd name="T3" fmla="*/ 0 h 131"/>
                  <a:gd name="T4" fmla="*/ 0 w 130"/>
                  <a:gd name="T5" fmla="*/ 131 h 131"/>
                  <a:gd name="T6" fmla="*/ 130 w 130"/>
                  <a:gd name="T7" fmla="*/ 131 h 131"/>
                  <a:gd name="T8" fmla="*/ 130 w 130"/>
                  <a:gd name="T9" fmla="*/ 40 h 131"/>
                  <a:gd name="T10" fmla="*/ 126 w 130"/>
                  <a:gd name="T11" fmla="*/ 38 h 131"/>
                  <a:gd name="T12" fmla="*/ 126 w 130"/>
                  <a:gd name="T13" fmla="*/ 128 h 131"/>
                  <a:gd name="T14" fmla="*/ 4 w 130"/>
                  <a:gd name="T15" fmla="*/ 128 h 131"/>
                  <a:gd name="T16" fmla="*/ 4 w 130"/>
                  <a:gd name="T17" fmla="*/ 4 h 131"/>
                  <a:gd name="T18" fmla="*/ 126 w 130"/>
                  <a:gd name="T19" fmla="*/ 4 h 131"/>
                  <a:gd name="T20" fmla="*/ 126 w 130"/>
                  <a:gd name="T21" fmla="*/ 32 h 131"/>
                  <a:gd name="T22" fmla="*/ 130 w 130"/>
                  <a:gd name="T23" fmla="*/ 30 h 131"/>
                  <a:gd name="T24" fmla="*/ 130 w 130"/>
                  <a:gd name="T2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" h="131">
                    <a:moveTo>
                      <a:pt x="130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0" y="131"/>
                    </a:lnTo>
                    <a:lnTo>
                      <a:pt x="130" y="40"/>
                    </a:lnTo>
                    <a:lnTo>
                      <a:pt x="126" y="38"/>
                    </a:lnTo>
                    <a:lnTo>
                      <a:pt x="126" y="128"/>
                    </a:lnTo>
                    <a:lnTo>
                      <a:pt x="4" y="128"/>
                    </a:lnTo>
                    <a:lnTo>
                      <a:pt x="4" y="4"/>
                    </a:lnTo>
                    <a:lnTo>
                      <a:pt x="126" y="4"/>
                    </a:lnTo>
                    <a:lnTo>
                      <a:pt x="126" y="32"/>
                    </a:lnTo>
                    <a:lnTo>
                      <a:pt x="130" y="30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93" name="Freeform 85">
                <a:extLst>
                  <a:ext uri="{FF2B5EF4-FFF2-40B4-BE49-F238E27FC236}">
                    <a16:creationId xmlns:a16="http://schemas.microsoft.com/office/drawing/2014/main" id="{A850A55E-494F-448B-B2EB-B72C47F8C7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41" y="1673"/>
                <a:ext cx="130" cy="131"/>
              </a:xfrm>
              <a:custGeom>
                <a:avLst/>
                <a:gdLst>
                  <a:gd name="T0" fmla="*/ 130 w 130"/>
                  <a:gd name="T1" fmla="*/ 0 h 131"/>
                  <a:gd name="T2" fmla="*/ 0 w 130"/>
                  <a:gd name="T3" fmla="*/ 0 h 131"/>
                  <a:gd name="T4" fmla="*/ 0 w 130"/>
                  <a:gd name="T5" fmla="*/ 131 h 131"/>
                  <a:gd name="T6" fmla="*/ 130 w 130"/>
                  <a:gd name="T7" fmla="*/ 131 h 131"/>
                  <a:gd name="T8" fmla="*/ 130 w 130"/>
                  <a:gd name="T9" fmla="*/ 40 h 131"/>
                  <a:gd name="T10" fmla="*/ 126 w 130"/>
                  <a:gd name="T11" fmla="*/ 38 h 131"/>
                  <a:gd name="T12" fmla="*/ 126 w 130"/>
                  <a:gd name="T13" fmla="*/ 128 h 131"/>
                  <a:gd name="T14" fmla="*/ 4 w 130"/>
                  <a:gd name="T15" fmla="*/ 128 h 131"/>
                  <a:gd name="T16" fmla="*/ 4 w 130"/>
                  <a:gd name="T17" fmla="*/ 4 h 131"/>
                  <a:gd name="T18" fmla="*/ 126 w 130"/>
                  <a:gd name="T19" fmla="*/ 4 h 131"/>
                  <a:gd name="T20" fmla="*/ 126 w 130"/>
                  <a:gd name="T21" fmla="*/ 32 h 131"/>
                  <a:gd name="T22" fmla="*/ 130 w 130"/>
                  <a:gd name="T23" fmla="*/ 30 h 131"/>
                  <a:gd name="T24" fmla="*/ 130 w 130"/>
                  <a:gd name="T2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" h="131">
                    <a:moveTo>
                      <a:pt x="130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0" y="131"/>
                    </a:lnTo>
                    <a:lnTo>
                      <a:pt x="130" y="40"/>
                    </a:lnTo>
                    <a:lnTo>
                      <a:pt x="126" y="38"/>
                    </a:lnTo>
                    <a:lnTo>
                      <a:pt x="126" y="128"/>
                    </a:lnTo>
                    <a:lnTo>
                      <a:pt x="4" y="128"/>
                    </a:lnTo>
                    <a:lnTo>
                      <a:pt x="4" y="4"/>
                    </a:lnTo>
                    <a:lnTo>
                      <a:pt x="126" y="4"/>
                    </a:lnTo>
                    <a:lnTo>
                      <a:pt x="126" y="32"/>
                    </a:lnTo>
                    <a:lnTo>
                      <a:pt x="130" y="30"/>
                    </a:lnTo>
                    <a:lnTo>
                      <a:pt x="13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94" name="Freeform 86">
                <a:extLst>
                  <a:ext uri="{FF2B5EF4-FFF2-40B4-BE49-F238E27FC236}">
                    <a16:creationId xmlns:a16="http://schemas.microsoft.com/office/drawing/2014/main" id="{93505CC4-DA02-4F92-9AE7-1CB9707995E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567" y="1673"/>
                <a:ext cx="131" cy="131"/>
              </a:xfrm>
              <a:custGeom>
                <a:avLst/>
                <a:gdLst>
                  <a:gd name="T0" fmla="*/ 4 w 131"/>
                  <a:gd name="T1" fmla="*/ 128 h 131"/>
                  <a:gd name="T2" fmla="*/ 4 w 131"/>
                  <a:gd name="T3" fmla="*/ 4 h 131"/>
                  <a:gd name="T4" fmla="*/ 127 w 131"/>
                  <a:gd name="T5" fmla="*/ 4 h 131"/>
                  <a:gd name="T6" fmla="*/ 127 w 131"/>
                  <a:gd name="T7" fmla="*/ 128 h 131"/>
                  <a:gd name="T8" fmla="*/ 4 w 131"/>
                  <a:gd name="T9" fmla="*/ 128 h 131"/>
                  <a:gd name="T10" fmla="*/ 131 w 131"/>
                  <a:gd name="T11" fmla="*/ 0 h 131"/>
                  <a:gd name="T12" fmla="*/ 0 w 131"/>
                  <a:gd name="T13" fmla="*/ 0 h 131"/>
                  <a:gd name="T14" fmla="*/ 0 w 131"/>
                  <a:gd name="T15" fmla="*/ 131 h 131"/>
                  <a:gd name="T16" fmla="*/ 131 w 131"/>
                  <a:gd name="T17" fmla="*/ 131 h 131"/>
                  <a:gd name="T18" fmla="*/ 131 w 131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31">
                    <a:moveTo>
                      <a:pt x="4" y="128"/>
                    </a:moveTo>
                    <a:lnTo>
                      <a:pt x="4" y="4"/>
                    </a:lnTo>
                    <a:lnTo>
                      <a:pt x="127" y="4"/>
                    </a:lnTo>
                    <a:lnTo>
                      <a:pt x="127" y="128"/>
                    </a:lnTo>
                    <a:lnTo>
                      <a:pt x="4" y="128"/>
                    </a:lnTo>
                    <a:close/>
                    <a:moveTo>
                      <a:pt x="131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95" name="Freeform 87">
                <a:extLst>
                  <a:ext uri="{FF2B5EF4-FFF2-40B4-BE49-F238E27FC236}">
                    <a16:creationId xmlns:a16="http://schemas.microsoft.com/office/drawing/2014/main" id="{3B964777-446B-49B5-9995-3C107435FEC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567" y="1673"/>
                <a:ext cx="131" cy="131"/>
              </a:xfrm>
              <a:custGeom>
                <a:avLst/>
                <a:gdLst>
                  <a:gd name="T0" fmla="*/ 4 w 131"/>
                  <a:gd name="T1" fmla="*/ 128 h 131"/>
                  <a:gd name="T2" fmla="*/ 4 w 131"/>
                  <a:gd name="T3" fmla="*/ 4 h 131"/>
                  <a:gd name="T4" fmla="*/ 127 w 131"/>
                  <a:gd name="T5" fmla="*/ 4 h 131"/>
                  <a:gd name="T6" fmla="*/ 127 w 131"/>
                  <a:gd name="T7" fmla="*/ 128 h 131"/>
                  <a:gd name="T8" fmla="*/ 4 w 131"/>
                  <a:gd name="T9" fmla="*/ 128 h 131"/>
                  <a:gd name="T10" fmla="*/ 131 w 131"/>
                  <a:gd name="T11" fmla="*/ 0 h 131"/>
                  <a:gd name="T12" fmla="*/ 0 w 131"/>
                  <a:gd name="T13" fmla="*/ 0 h 131"/>
                  <a:gd name="T14" fmla="*/ 0 w 131"/>
                  <a:gd name="T15" fmla="*/ 131 h 131"/>
                  <a:gd name="T16" fmla="*/ 131 w 131"/>
                  <a:gd name="T17" fmla="*/ 131 h 131"/>
                  <a:gd name="T18" fmla="*/ 131 w 131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31">
                    <a:moveTo>
                      <a:pt x="4" y="128"/>
                    </a:moveTo>
                    <a:lnTo>
                      <a:pt x="4" y="4"/>
                    </a:lnTo>
                    <a:lnTo>
                      <a:pt x="127" y="4"/>
                    </a:lnTo>
                    <a:lnTo>
                      <a:pt x="127" y="128"/>
                    </a:lnTo>
                    <a:lnTo>
                      <a:pt x="4" y="128"/>
                    </a:lnTo>
                    <a:moveTo>
                      <a:pt x="131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96" name="Freeform 88">
                <a:extLst>
                  <a:ext uri="{FF2B5EF4-FFF2-40B4-BE49-F238E27FC236}">
                    <a16:creationId xmlns:a16="http://schemas.microsoft.com/office/drawing/2014/main" id="{D473ADED-3FC2-4BA5-92F9-C135B7F185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94" y="1673"/>
                <a:ext cx="130" cy="131"/>
              </a:xfrm>
              <a:custGeom>
                <a:avLst/>
                <a:gdLst>
                  <a:gd name="T0" fmla="*/ 130 w 130"/>
                  <a:gd name="T1" fmla="*/ 0 h 131"/>
                  <a:gd name="T2" fmla="*/ 0 w 130"/>
                  <a:gd name="T3" fmla="*/ 0 h 131"/>
                  <a:gd name="T4" fmla="*/ 0 w 130"/>
                  <a:gd name="T5" fmla="*/ 110 h 131"/>
                  <a:gd name="T6" fmla="*/ 4 w 130"/>
                  <a:gd name="T7" fmla="*/ 113 h 131"/>
                  <a:gd name="T8" fmla="*/ 4 w 130"/>
                  <a:gd name="T9" fmla="*/ 4 h 131"/>
                  <a:gd name="T10" fmla="*/ 126 w 130"/>
                  <a:gd name="T11" fmla="*/ 4 h 131"/>
                  <a:gd name="T12" fmla="*/ 126 w 130"/>
                  <a:gd name="T13" fmla="*/ 128 h 131"/>
                  <a:gd name="T14" fmla="*/ 30 w 130"/>
                  <a:gd name="T15" fmla="*/ 128 h 131"/>
                  <a:gd name="T16" fmla="*/ 36 w 130"/>
                  <a:gd name="T17" fmla="*/ 131 h 131"/>
                  <a:gd name="T18" fmla="*/ 35 w 130"/>
                  <a:gd name="T19" fmla="*/ 131 h 131"/>
                  <a:gd name="T20" fmla="*/ 130 w 130"/>
                  <a:gd name="T21" fmla="*/ 131 h 131"/>
                  <a:gd name="T22" fmla="*/ 130 w 130"/>
                  <a:gd name="T23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0" h="131">
                    <a:moveTo>
                      <a:pt x="130" y="0"/>
                    </a:moveTo>
                    <a:lnTo>
                      <a:pt x="0" y="0"/>
                    </a:lnTo>
                    <a:lnTo>
                      <a:pt x="0" y="110"/>
                    </a:lnTo>
                    <a:lnTo>
                      <a:pt x="4" y="113"/>
                    </a:lnTo>
                    <a:lnTo>
                      <a:pt x="4" y="4"/>
                    </a:lnTo>
                    <a:lnTo>
                      <a:pt x="126" y="4"/>
                    </a:lnTo>
                    <a:lnTo>
                      <a:pt x="126" y="128"/>
                    </a:lnTo>
                    <a:lnTo>
                      <a:pt x="30" y="128"/>
                    </a:lnTo>
                    <a:lnTo>
                      <a:pt x="36" y="131"/>
                    </a:lnTo>
                    <a:lnTo>
                      <a:pt x="35" y="131"/>
                    </a:lnTo>
                    <a:lnTo>
                      <a:pt x="130" y="131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97" name="Freeform 89">
                <a:extLst>
                  <a:ext uri="{FF2B5EF4-FFF2-40B4-BE49-F238E27FC236}">
                    <a16:creationId xmlns:a16="http://schemas.microsoft.com/office/drawing/2014/main" id="{91A7D6B6-363F-41BE-B893-2C5EA55AD1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94" y="1673"/>
                <a:ext cx="130" cy="131"/>
              </a:xfrm>
              <a:custGeom>
                <a:avLst/>
                <a:gdLst>
                  <a:gd name="T0" fmla="*/ 130 w 130"/>
                  <a:gd name="T1" fmla="*/ 0 h 131"/>
                  <a:gd name="T2" fmla="*/ 0 w 130"/>
                  <a:gd name="T3" fmla="*/ 0 h 131"/>
                  <a:gd name="T4" fmla="*/ 0 w 130"/>
                  <a:gd name="T5" fmla="*/ 110 h 131"/>
                  <a:gd name="T6" fmla="*/ 4 w 130"/>
                  <a:gd name="T7" fmla="*/ 113 h 131"/>
                  <a:gd name="T8" fmla="*/ 4 w 130"/>
                  <a:gd name="T9" fmla="*/ 4 h 131"/>
                  <a:gd name="T10" fmla="*/ 126 w 130"/>
                  <a:gd name="T11" fmla="*/ 4 h 131"/>
                  <a:gd name="T12" fmla="*/ 126 w 130"/>
                  <a:gd name="T13" fmla="*/ 128 h 131"/>
                  <a:gd name="T14" fmla="*/ 30 w 130"/>
                  <a:gd name="T15" fmla="*/ 128 h 131"/>
                  <a:gd name="T16" fmla="*/ 36 w 130"/>
                  <a:gd name="T17" fmla="*/ 131 h 131"/>
                  <a:gd name="T18" fmla="*/ 35 w 130"/>
                  <a:gd name="T19" fmla="*/ 131 h 131"/>
                  <a:gd name="T20" fmla="*/ 130 w 130"/>
                  <a:gd name="T21" fmla="*/ 131 h 131"/>
                  <a:gd name="T22" fmla="*/ 130 w 130"/>
                  <a:gd name="T23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0" h="131">
                    <a:moveTo>
                      <a:pt x="130" y="0"/>
                    </a:moveTo>
                    <a:lnTo>
                      <a:pt x="0" y="0"/>
                    </a:lnTo>
                    <a:lnTo>
                      <a:pt x="0" y="110"/>
                    </a:lnTo>
                    <a:lnTo>
                      <a:pt x="4" y="113"/>
                    </a:lnTo>
                    <a:lnTo>
                      <a:pt x="4" y="4"/>
                    </a:lnTo>
                    <a:lnTo>
                      <a:pt x="126" y="4"/>
                    </a:lnTo>
                    <a:lnTo>
                      <a:pt x="126" y="128"/>
                    </a:lnTo>
                    <a:lnTo>
                      <a:pt x="30" y="128"/>
                    </a:lnTo>
                    <a:lnTo>
                      <a:pt x="36" y="131"/>
                    </a:lnTo>
                    <a:lnTo>
                      <a:pt x="35" y="131"/>
                    </a:lnTo>
                    <a:lnTo>
                      <a:pt x="130" y="131"/>
                    </a:lnTo>
                    <a:lnTo>
                      <a:pt x="13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98" name="Freeform 90">
                <a:extLst>
                  <a:ext uri="{FF2B5EF4-FFF2-40B4-BE49-F238E27FC236}">
                    <a16:creationId xmlns:a16="http://schemas.microsoft.com/office/drawing/2014/main" id="{FC6E38BB-CEA9-455C-93BC-A9CB5F0896C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20" y="1673"/>
                <a:ext cx="131" cy="131"/>
              </a:xfrm>
              <a:custGeom>
                <a:avLst/>
                <a:gdLst>
                  <a:gd name="T0" fmla="*/ 3 w 131"/>
                  <a:gd name="T1" fmla="*/ 128 h 131"/>
                  <a:gd name="T2" fmla="*/ 3 w 131"/>
                  <a:gd name="T3" fmla="*/ 4 h 131"/>
                  <a:gd name="T4" fmla="*/ 127 w 131"/>
                  <a:gd name="T5" fmla="*/ 4 h 131"/>
                  <a:gd name="T6" fmla="*/ 127 w 131"/>
                  <a:gd name="T7" fmla="*/ 128 h 131"/>
                  <a:gd name="T8" fmla="*/ 3 w 131"/>
                  <a:gd name="T9" fmla="*/ 128 h 131"/>
                  <a:gd name="T10" fmla="*/ 131 w 131"/>
                  <a:gd name="T11" fmla="*/ 0 h 131"/>
                  <a:gd name="T12" fmla="*/ 0 w 131"/>
                  <a:gd name="T13" fmla="*/ 0 h 131"/>
                  <a:gd name="T14" fmla="*/ 0 w 131"/>
                  <a:gd name="T15" fmla="*/ 131 h 131"/>
                  <a:gd name="T16" fmla="*/ 131 w 131"/>
                  <a:gd name="T17" fmla="*/ 131 h 131"/>
                  <a:gd name="T18" fmla="*/ 131 w 131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31">
                    <a:moveTo>
                      <a:pt x="3" y="128"/>
                    </a:moveTo>
                    <a:lnTo>
                      <a:pt x="3" y="4"/>
                    </a:lnTo>
                    <a:lnTo>
                      <a:pt x="127" y="4"/>
                    </a:lnTo>
                    <a:lnTo>
                      <a:pt x="127" y="128"/>
                    </a:lnTo>
                    <a:lnTo>
                      <a:pt x="3" y="128"/>
                    </a:lnTo>
                    <a:close/>
                    <a:moveTo>
                      <a:pt x="131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99" name="Freeform 91">
                <a:extLst>
                  <a:ext uri="{FF2B5EF4-FFF2-40B4-BE49-F238E27FC236}">
                    <a16:creationId xmlns:a16="http://schemas.microsoft.com/office/drawing/2014/main" id="{D8C71D11-707B-4AED-85AE-EF49127CE74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20" y="1673"/>
                <a:ext cx="131" cy="131"/>
              </a:xfrm>
              <a:custGeom>
                <a:avLst/>
                <a:gdLst>
                  <a:gd name="T0" fmla="*/ 3 w 131"/>
                  <a:gd name="T1" fmla="*/ 128 h 131"/>
                  <a:gd name="T2" fmla="*/ 3 w 131"/>
                  <a:gd name="T3" fmla="*/ 4 h 131"/>
                  <a:gd name="T4" fmla="*/ 127 w 131"/>
                  <a:gd name="T5" fmla="*/ 4 h 131"/>
                  <a:gd name="T6" fmla="*/ 127 w 131"/>
                  <a:gd name="T7" fmla="*/ 128 h 131"/>
                  <a:gd name="T8" fmla="*/ 3 w 131"/>
                  <a:gd name="T9" fmla="*/ 128 h 131"/>
                  <a:gd name="T10" fmla="*/ 131 w 131"/>
                  <a:gd name="T11" fmla="*/ 0 h 131"/>
                  <a:gd name="T12" fmla="*/ 0 w 131"/>
                  <a:gd name="T13" fmla="*/ 0 h 131"/>
                  <a:gd name="T14" fmla="*/ 0 w 131"/>
                  <a:gd name="T15" fmla="*/ 131 h 131"/>
                  <a:gd name="T16" fmla="*/ 131 w 131"/>
                  <a:gd name="T17" fmla="*/ 131 h 131"/>
                  <a:gd name="T18" fmla="*/ 131 w 131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31">
                    <a:moveTo>
                      <a:pt x="3" y="128"/>
                    </a:moveTo>
                    <a:lnTo>
                      <a:pt x="3" y="4"/>
                    </a:lnTo>
                    <a:lnTo>
                      <a:pt x="127" y="4"/>
                    </a:lnTo>
                    <a:lnTo>
                      <a:pt x="127" y="128"/>
                    </a:lnTo>
                    <a:lnTo>
                      <a:pt x="3" y="128"/>
                    </a:lnTo>
                    <a:moveTo>
                      <a:pt x="131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00" name="Freeform 92">
                <a:extLst>
                  <a:ext uri="{FF2B5EF4-FFF2-40B4-BE49-F238E27FC236}">
                    <a16:creationId xmlns:a16="http://schemas.microsoft.com/office/drawing/2014/main" id="{E829264F-0750-4827-B0D5-7BBF74C56BB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047" y="1673"/>
                <a:ext cx="130" cy="131"/>
              </a:xfrm>
              <a:custGeom>
                <a:avLst/>
                <a:gdLst>
                  <a:gd name="T0" fmla="*/ 3 w 130"/>
                  <a:gd name="T1" fmla="*/ 128 h 131"/>
                  <a:gd name="T2" fmla="*/ 3 w 130"/>
                  <a:gd name="T3" fmla="*/ 4 h 131"/>
                  <a:gd name="T4" fmla="*/ 126 w 130"/>
                  <a:gd name="T5" fmla="*/ 4 h 131"/>
                  <a:gd name="T6" fmla="*/ 126 w 130"/>
                  <a:gd name="T7" fmla="*/ 128 h 131"/>
                  <a:gd name="T8" fmla="*/ 3 w 130"/>
                  <a:gd name="T9" fmla="*/ 128 h 131"/>
                  <a:gd name="T10" fmla="*/ 130 w 130"/>
                  <a:gd name="T11" fmla="*/ 0 h 131"/>
                  <a:gd name="T12" fmla="*/ 0 w 130"/>
                  <a:gd name="T13" fmla="*/ 0 h 131"/>
                  <a:gd name="T14" fmla="*/ 0 w 130"/>
                  <a:gd name="T15" fmla="*/ 131 h 131"/>
                  <a:gd name="T16" fmla="*/ 130 w 130"/>
                  <a:gd name="T17" fmla="*/ 131 h 131"/>
                  <a:gd name="T18" fmla="*/ 130 w 130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1">
                    <a:moveTo>
                      <a:pt x="3" y="128"/>
                    </a:moveTo>
                    <a:lnTo>
                      <a:pt x="3" y="4"/>
                    </a:lnTo>
                    <a:lnTo>
                      <a:pt x="126" y="4"/>
                    </a:lnTo>
                    <a:lnTo>
                      <a:pt x="126" y="128"/>
                    </a:lnTo>
                    <a:lnTo>
                      <a:pt x="3" y="128"/>
                    </a:lnTo>
                    <a:close/>
                    <a:moveTo>
                      <a:pt x="130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0" y="131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01" name="Freeform 93">
                <a:extLst>
                  <a:ext uri="{FF2B5EF4-FFF2-40B4-BE49-F238E27FC236}">
                    <a16:creationId xmlns:a16="http://schemas.microsoft.com/office/drawing/2014/main" id="{5A4024DB-4B2D-4AF0-A758-515CA2F7F38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047" y="1673"/>
                <a:ext cx="130" cy="131"/>
              </a:xfrm>
              <a:custGeom>
                <a:avLst/>
                <a:gdLst>
                  <a:gd name="T0" fmla="*/ 3 w 130"/>
                  <a:gd name="T1" fmla="*/ 128 h 131"/>
                  <a:gd name="T2" fmla="*/ 3 w 130"/>
                  <a:gd name="T3" fmla="*/ 4 h 131"/>
                  <a:gd name="T4" fmla="*/ 126 w 130"/>
                  <a:gd name="T5" fmla="*/ 4 h 131"/>
                  <a:gd name="T6" fmla="*/ 126 w 130"/>
                  <a:gd name="T7" fmla="*/ 128 h 131"/>
                  <a:gd name="T8" fmla="*/ 3 w 130"/>
                  <a:gd name="T9" fmla="*/ 128 h 131"/>
                  <a:gd name="T10" fmla="*/ 130 w 130"/>
                  <a:gd name="T11" fmla="*/ 0 h 131"/>
                  <a:gd name="T12" fmla="*/ 0 w 130"/>
                  <a:gd name="T13" fmla="*/ 0 h 131"/>
                  <a:gd name="T14" fmla="*/ 0 w 130"/>
                  <a:gd name="T15" fmla="*/ 131 h 131"/>
                  <a:gd name="T16" fmla="*/ 130 w 130"/>
                  <a:gd name="T17" fmla="*/ 131 h 131"/>
                  <a:gd name="T18" fmla="*/ 130 w 130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1">
                    <a:moveTo>
                      <a:pt x="3" y="128"/>
                    </a:moveTo>
                    <a:lnTo>
                      <a:pt x="3" y="4"/>
                    </a:lnTo>
                    <a:lnTo>
                      <a:pt x="126" y="4"/>
                    </a:lnTo>
                    <a:lnTo>
                      <a:pt x="126" y="128"/>
                    </a:lnTo>
                    <a:lnTo>
                      <a:pt x="3" y="128"/>
                    </a:lnTo>
                    <a:moveTo>
                      <a:pt x="130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0" y="131"/>
                    </a:lnTo>
                    <a:lnTo>
                      <a:pt x="13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02" name="Freeform 94">
                <a:extLst>
                  <a:ext uri="{FF2B5EF4-FFF2-40B4-BE49-F238E27FC236}">
                    <a16:creationId xmlns:a16="http://schemas.microsoft.com/office/drawing/2014/main" id="{AD679BDC-9743-4E6F-A987-189198DA977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73" y="1673"/>
                <a:ext cx="131" cy="131"/>
              </a:xfrm>
              <a:custGeom>
                <a:avLst/>
                <a:gdLst>
                  <a:gd name="T0" fmla="*/ 3 w 131"/>
                  <a:gd name="T1" fmla="*/ 128 h 131"/>
                  <a:gd name="T2" fmla="*/ 3 w 131"/>
                  <a:gd name="T3" fmla="*/ 4 h 131"/>
                  <a:gd name="T4" fmla="*/ 127 w 131"/>
                  <a:gd name="T5" fmla="*/ 4 h 131"/>
                  <a:gd name="T6" fmla="*/ 127 w 131"/>
                  <a:gd name="T7" fmla="*/ 128 h 131"/>
                  <a:gd name="T8" fmla="*/ 3 w 131"/>
                  <a:gd name="T9" fmla="*/ 128 h 131"/>
                  <a:gd name="T10" fmla="*/ 131 w 131"/>
                  <a:gd name="T11" fmla="*/ 0 h 131"/>
                  <a:gd name="T12" fmla="*/ 0 w 131"/>
                  <a:gd name="T13" fmla="*/ 0 h 131"/>
                  <a:gd name="T14" fmla="*/ 0 w 131"/>
                  <a:gd name="T15" fmla="*/ 131 h 131"/>
                  <a:gd name="T16" fmla="*/ 131 w 131"/>
                  <a:gd name="T17" fmla="*/ 131 h 131"/>
                  <a:gd name="T18" fmla="*/ 131 w 131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31">
                    <a:moveTo>
                      <a:pt x="3" y="128"/>
                    </a:moveTo>
                    <a:lnTo>
                      <a:pt x="3" y="4"/>
                    </a:lnTo>
                    <a:lnTo>
                      <a:pt x="127" y="4"/>
                    </a:lnTo>
                    <a:lnTo>
                      <a:pt x="127" y="128"/>
                    </a:lnTo>
                    <a:lnTo>
                      <a:pt x="3" y="128"/>
                    </a:lnTo>
                    <a:close/>
                    <a:moveTo>
                      <a:pt x="131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03" name="Freeform 95">
                <a:extLst>
                  <a:ext uri="{FF2B5EF4-FFF2-40B4-BE49-F238E27FC236}">
                    <a16:creationId xmlns:a16="http://schemas.microsoft.com/office/drawing/2014/main" id="{870BBED5-E2B9-461E-B757-67BD0AECD98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73" y="1673"/>
                <a:ext cx="131" cy="131"/>
              </a:xfrm>
              <a:custGeom>
                <a:avLst/>
                <a:gdLst>
                  <a:gd name="T0" fmla="*/ 3 w 131"/>
                  <a:gd name="T1" fmla="*/ 128 h 131"/>
                  <a:gd name="T2" fmla="*/ 3 w 131"/>
                  <a:gd name="T3" fmla="*/ 4 h 131"/>
                  <a:gd name="T4" fmla="*/ 127 w 131"/>
                  <a:gd name="T5" fmla="*/ 4 h 131"/>
                  <a:gd name="T6" fmla="*/ 127 w 131"/>
                  <a:gd name="T7" fmla="*/ 128 h 131"/>
                  <a:gd name="T8" fmla="*/ 3 w 131"/>
                  <a:gd name="T9" fmla="*/ 128 h 131"/>
                  <a:gd name="T10" fmla="*/ 131 w 131"/>
                  <a:gd name="T11" fmla="*/ 0 h 131"/>
                  <a:gd name="T12" fmla="*/ 0 w 131"/>
                  <a:gd name="T13" fmla="*/ 0 h 131"/>
                  <a:gd name="T14" fmla="*/ 0 w 131"/>
                  <a:gd name="T15" fmla="*/ 131 h 131"/>
                  <a:gd name="T16" fmla="*/ 131 w 131"/>
                  <a:gd name="T17" fmla="*/ 131 h 131"/>
                  <a:gd name="T18" fmla="*/ 131 w 131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31">
                    <a:moveTo>
                      <a:pt x="3" y="128"/>
                    </a:moveTo>
                    <a:lnTo>
                      <a:pt x="3" y="4"/>
                    </a:lnTo>
                    <a:lnTo>
                      <a:pt x="127" y="4"/>
                    </a:lnTo>
                    <a:lnTo>
                      <a:pt x="127" y="128"/>
                    </a:lnTo>
                    <a:lnTo>
                      <a:pt x="3" y="128"/>
                    </a:lnTo>
                    <a:moveTo>
                      <a:pt x="131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04" name="Freeform 96">
                <a:extLst>
                  <a:ext uri="{FF2B5EF4-FFF2-40B4-BE49-F238E27FC236}">
                    <a16:creationId xmlns:a16="http://schemas.microsoft.com/office/drawing/2014/main" id="{CEE1BCE8-C592-4AED-9270-BE6D2BC4F0C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00" y="1673"/>
                <a:ext cx="130" cy="131"/>
              </a:xfrm>
              <a:custGeom>
                <a:avLst/>
                <a:gdLst>
                  <a:gd name="T0" fmla="*/ 130 w 130"/>
                  <a:gd name="T1" fmla="*/ 108 h 130"/>
                  <a:gd name="T2" fmla="*/ 126 w 130"/>
                  <a:gd name="T3" fmla="*/ 117 h 130"/>
                  <a:gd name="T4" fmla="*/ 126 w 130"/>
                  <a:gd name="T5" fmla="*/ 125 h 130"/>
                  <a:gd name="T6" fmla="*/ 128 w 130"/>
                  <a:gd name="T7" fmla="*/ 130 h 130"/>
                  <a:gd name="T8" fmla="*/ 130 w 130"/>
                  <a:gd name="T9" fmla="*/ 130 h 130"/>
                  <a:gd name="T10" fmla="*/ 130 w 130"/>
                  <a:gd name="T11" fmla="*/ 108 h 130"/>
                  <a:gd name="T12" fmla="*/ 130 w 130"/>
                  <a:gd name="T13" fmla="*/ 0 h 130"/>
                  <a:gd name="T14" fmla="*/ 0 w 130"/>
                  <a:gd name="T15" fmla="*/ 0 h 130"/>
                  <a:gd name="T16" fmla="*/ 0 w 130"/>
                  <a:gd name="T17" fmla="*/ 130 h 130"/>
                  <a:gd name="T18" fmla="*/ 124 w 130"/>
                  <a:gd name="T19" fmla="*/ 130 h 130"/>
                  <a:gd name="T20" fmla="*/ 122 w 130"/>
                  <a:gd name="T21" fmla="*/ 127 h 130"/>
                  <a:gd name="T22" fmla="*/ 3 w 130"/>
                  <a:gd name="T23" fmla="*/ 127 h 130"/>
                  <a:gd name="T24" fmla="*/ 3 w 130"/>
                  <a:gd name="T25" fmla="*/ 4 h 130"/>
                  <a:gd name="T26" fmla="*/ 126 w 130"/>
                  <a:gd name="T27" fmla="*/ 4 h 130"/>
                  <a:gd name="T28" fmla="*/ 126 w 130"/>
                  <a:gd name="T29" fmla="*/ 107 h 130"/>
                  <a:gd name="T30" fmla="*/ 130 w 130"/>
                  <a:gd name="T31" fmla="*/ 102 h 130"/>
                  <a:gd name="T32" fmla="*/ 130 w 130"/>
                  <a:gd name="T33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0" h="130">
                    <a:moveTo>
                      <a:pt x="130" y="108"/>
                    </a:moveTo>
                    <a:cubicBezTo>
                      <a:pt x="128" y="111"/>
                      <a:pt x="126" y="114"/>
                      <a:pt x="126" y="117"/>
                    </a:cubicBezTo>
                    <a:cubicBezTo>
                      <a:pt x="126" y="125"/>
                      <a:pt x="126" y="125"/>
                      <a:pt x="126" y="125"/>
                    </a:cubicBezTo>
                    <a:cubicBezTo>
                      <a:pt x="126" y="127"/>
                      <a:pt x="127" y="129"/>
                      <a:pt x="128" y="130"/>
                    </a:cubicBezTo>
                    <a:cubicBezTo>
                      <a:pt x="130" y="130"/>
                      <a:pt x="130" y="130"/>
                      <a:pt x="130" y="130"/>
                    </a:cubicBezTo>
                    <a:cubicBezTo>
                      <a:pt x="130" y="108"/>
                      <a:pt x="130" y="108"/>
                      <a:pt x="130" y="108"/>
                    </a:cubicBezTo>
                    <a:moveTo>
                      <a:pt x="1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30"/>
                      <a:pt x="0" y="130"/>
                      <a:pt x="0" y="130"/>
                    </a:cubicBezTo>
                    <a:cubicBezTo>
                      <a:pt x="124" y="130"/>
                      <a:pt x="124" y="130"/>
                      <a:pt x="124" y="130"/>
                    </a:cubicBezTo>
                    <a:cubicBezTo>
                      <a:pt x="123" y="129"/>
                      <a:pt x="123" y="128"/>
                      <a:pt x="122" y="127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26" y="4"/>
                      <a:pt x="126" y="4"/>
                      <a:pt x="126" y="4"/>
                    </a:cubicBezTo>
                    <a:cubicBezTo>
                      <a:pt x="126" y="107"/>
                      <a:pt x="126" y="107"/>
                      <a:pt x="126" y="107"/>
                    </a:cubicBezTo>
                    <a:cubicBezTo>
                      <a:pt x="127" y="105"/>
                      <a:pt x="128" y="104"/>
                      <a:pt x="130" y="102"/>
                    </a:cubicBezTo>
                    <a:cubicBezTo>
                      <a:pt x="130" y="0"/>
                      <a:pt x="130" y="0"/>
                      <a:pt x="13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05" name="Freeform 97">
                <a:extLst>
                  <a:ext uri="{FF2B5EF4-FFF2-40B4-BE49-F238E27FC236}">
                    <a16:creationId xmlns:a16="http://schemas.microsoft.com/office/drawing/2014/main" id="{940AB46A-8211-4C4B-8AFD-77977E42D89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26" y="1673"/>
                <a:ext cx="131" cy="131"/>
              </a:xfrm>
              <a:custGeom>
                <a:avLst/>
                <a:gdLst>
                  <a:gd name="T0" fmla="*/ 3 w 131"/>
                  <a:gd name="T1" fmla="*/ 128 h 131"/>
                  <a:gd name="T2" fmla="*/ 3 w 131"/>
                  <a:gd name="T3" fmla="*/ 4 h 131"/>
                  <a:gd name="T4" fmla="*/ 127 w 131"/>
                  <a:gd name="T5" fmla="*/ 4 h 131"/>
                  <a:gd name="T6" fmla="*/ 127 w 131"/>
                  <a:gd name="T7" fmla="*/ 128 h 131"/>
                  <a:gd name="T8" fmla="*/ 3 w 131"/>
                  <a:gd name="T9" fmla="*/ 128 h 131"/>
                  <a:gd name="T10" fmla="*/ 131 w 131"/>
                  <a:gd name="T11" fmla="*/ 0 h 131"/>
                  <a:gd name="T12" fmla="*/ 0 w 131"/>
                  <a:gd name="T13" fmla="*/ 0 h 131"/>
                  <a:gd name="T14" fmla="*/ 0 w 131"/>
                  <a:gd name="T15" fmla="*/ 131 h 131"/>
                  <a:gd name="T16" fmla="*/ 131 w 131"/>
                  <a:gd name="T17" fmla="*/ 131 h 131"/>
                  <a:gd name="T18" fmla="*/ 131 w 131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31">
                    <a:moveTo>
                      <a:pt x="3" y="128"/>
                    </a:moveTo>
                    <a:lnTo>
                      <a:pt x="3" y="4"/>
                    </a:lnTo>
                    <a:lnTo>
                      <a:pt x="127" y="4"/>
                    </a:lnTo>
                    <a:lnTo>
                      <a:pt x="127" y="128"/>
                    </a:lnTo>
                    <a:lnTo>
                      <a:pt x="3" y="128"/>
                    </a:lnTo>
                    <a:close/>
                    <a:moveTo>
                      <a:pt x="131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06" name="Freeform 98">
                <a:extLst>
                  <a:ext uri="{FF2B5EF4-FFF2-40B4-BE49-F238E27FC236}">
                    <a16:creationId xmlns:a16="http://schemas.microsoft.com/office/drawing/2014/main" id="{0B058152-62B2-40C0-B4C2-895A823D86E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26" y="1673"/>
                <a:ext cx="131" cy="131"/>
              </a:xfrm>
              <a:custGeom>
                <a:avLst/>
                <a:gdLst>
                  <a:gd name="T0" fmla="*/ 3 w 131"/>
                  <a:gd name="T1" fmla="*/ 128 h 131"/>
                  <a:gd name="T2" fmla="*/ 3 w 131"/>
                  <a:gd name="T3" fmla="*/ 4 h 131"/>
                  <a:gd name="T4" fmla="*/ 127 w 131"/>
                  <a:gd name="T5" fmla="*/ 4 h 131"/>
                  <a:gd name="T6" fmla="*/ 127 w 131"/>
                  <a:gd name="T7" fmla="*/ 128 h 131"/>
                  <a:gd name="T8" fmla="*/ 3 w 131"/>
                  <a:gd name="T9" fmla="*/ 128 h 131"/>
                  <a:gd name="T10" fmla="*/ 131 w 131"/>
                  <a:gd name="T11" fmla="*/ 0 h 131"/>
                  <a:gd name="T12" fmla="*/ 0 w 131"/>
                  <a:gd name="T13" fmla="*/ 0 h 131"/>
                  <a:gd name="T14" fmla="*/ 0 w 131"/>
                  <a:gd name="T15" fmla="*/ 131 h 131"/>
                  <a:gd name="T16" fmla="*/ 131 w 131"/>
                  <a:gd name="T17" fmla="*/ 131 h 131"/>
                  <a:gd name="T18" fmla="*/ 131 w 131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31">
                    <a:moveTo>
                      <a:pt x="3" y="128"/>
                    </a:moveTo>
                    <a:lnTo>
                      <a:pt x="3" y="4"/>
                    </a:lnTo>
                    <a:lnTo>
                      <a:pt x="127" y="4"/>
                    </a:lnTo>
                    <a:lnTo>
                      <a:pt x="127" y="128"/>
                    </a:lnTo>
                    <a:lnTo>
                      <a:pt x="3" y="128"/>
                    </a:lnTo>
                    <a:moveTo>
                      <a:pt x="131" y="0"/>
                    </a:moveTo>
                    <a:lnTo>
                      <a:pt x="0" y="0"/>
                    </a:lnTo>
                    <a:lnTo>
                      <a:pt x="0" y="131"/>
                    </a:lnTo>
                    <a:lnTo>
                      <a:pt x="131" y="131"/>
                    </a:lnTo>
                    <a:lnTo>
                      <a:pt x="13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07" name="Freeform 99">
                <a:extLst>
                  <a:ext uri="{FF2B5EF4-FFF2-40B4-BE49-F238E27FC236}">
                    <a16:creationId xmlns:a16="http://schemas.microsoft.com/office/drawing/2014/main" id="{0219E384-BE98-4FC4-8BC1-33CD5E29F6E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245" y="2640"/>
                <a:ext cx="92" cy="91"/>
              </a:xfrm>
              <a:custGeom>
                <a:avLst/>
                <a:gdLst>
                  <a:gd name="T0" fmla="*/ 3 w 92"/>
                  <a:gd name="T1" fmla="*/ 88 h 91"/>
                  <a:gd name="T2" fmla="*/ 3 w 92"/>
                  <a:gd name="T3" fmla="*/ 3 h 91"/>
                  <a:gd name="T4" fmla="*/ 89 w 92"/>
                  <a:gd name="T5" fmla="*/ 3 h 91"/>
                  <a:gd name="T6" fmla="*/ 89 w 92"/>
                  <a:gd name="T7" fmla="*/ 88 h 91"/>
                  <a:gd name="T8" fmla="*/ 3 w 92"/>
                  <a:gd name="T9" fmla="*/ 88 h 91"/>
                  <a:gd name="T10" fmla="*/ 92 w 92"/>
                  <a:gd name="T11" fmla="*/ 0 h 91"/>
                  <a:gd name="T12" fmla="*/ 0 w 92"/>
                  <a:gd name="T13" fmla="*/ 0 h 91"/>
                  <a:gd name="T14" fmla="*/ 0 w 92"/>
                  <a:gd name="T15" fmla="*/ 91 h 91"/>
                  <a:gd name="T16" fmla="*/ 92 w 92"/>
                  <a:gd name="T17" fmla="*/ 91 h 91"/>
                  <a:gd name="T18" fmla="*/ 92 w 92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1">
                    <a:moveTo>
                      <a:pt x="3" y="88"/>
                    </a:moveTo>
                    <a:lnTo>
                      <a:pt x="3" y="3"/>
                    </a:lnTo>
                    <a:lnTo>
                      <a:pt x="89" y="3"/>
                    </a:lnTo>
                    <a:lnTo>
                      <a:pt x="89" y="88"/>
                    </a:lnTo>
                    <a:lnTo>
                      <a:pt x="3" y="88"/>
                    </a:lnTo>
                    <a:close/>
                    <a:moveTo>
                      <a:pt x="92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2" y="91"/>
                    </a:lnTo>
                    <a:lnTo>
                      <a:pt x="9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08" name="Freeform 100">
                <a:extLst>
                  <a:ext uri="{FF2B5EF4-FFF2-40B4-BE49-F238E27FC236}">
                    <a16:creationId xmlns:a16="http://schemas.microsoft.com/office/drawing/2014/main" id="{C2D27259-567A-4C29-82BA-52118CE0164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245" y="2640"/>
                <a:ext cx="92" cy="91"/>
              </a:xfrm>
              <a:custGeom>
                <a:avLst/>
                <a:gdLst>
                  <a:gd name="T0" fmla="*/ 3 w 92"/>
                  <a:gd name="T1" fmla="*/ 88 h 91"/>
                  <a:gd name="T2" fmla="*/ 3 w 92"/>
                  <a:gd name="T3" fmla="*/ 3 h 91"/>
                  <a:gd name="T4" fmla="*/ 89 w 92"/>
                  <a:gd name="T5" fmla="*/ 3 h 91"/>
                  <a:gd name="T6" fmla="*/ 89 w 92"/>
                  <a:gd name="T7" fmla="*/ 88 h 91"/>
                  <a:gd name="T8" fmla="*/ 3 w 92"/>
                  <a:gd name="T9" fmla="*/ 88 h 91"/>
                  <a:gd name="T10" fmla="*/ 92 w 92"/>
                  <a:gd name="T11" fmla="*/ 0 h 91"/>
                  <a:gd name="T12" fmla="*/ 0 w 92"/>
                  <a:gd name="T13" fmla="*/ 0 h 91"/>
                  <a:gd name="T14" fmla="*/ 0 w 92"/>
                  <a:gd name="T15" fmla="*/ 91 h 91"/>
                  <a:gd name="T16" fmla="*/ 92 w 92"/>
                  <a:gd name="T17" fmla="*/ 91 h 91"/>
                  <a:gd name="T18" fmla="*/ 92 w 92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1">
                    <a:moveTo>
                      <a:pt x="3" y="88"/>
                    </a:moveTo>
                    <a:lnTo>
                      <a:pt x="3" y="3"/>
                    </a:lnTo>
                    <a:lnTo>
                      <a:pt x="89" y="3"/>
                    </a:lnTo>
                    <a:lnTo>
                      <a:pt x="89" y="88"/>
                    </a:lnTo>
                    <a:lnTo>
                      <a:pt x="3" y="88"/>
                    </a:lnTo>
                    <a:moveTo>
                      <a:pt x="92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2" y="91"/>
                    </a:lnTo>
                    <a:lnTo>
                      <a:pt x="92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09" name="Freeform 101">
                <a:extLst>
                  <a:ext uri="{FF2B5EF4-FFF2-40B4-BE49-F238E27FC236}">
                    <a16:creationId xmlns:a16="http://schemas.microsoft.com/office/drawing/2014/main" id="{22E64ACC-7FA3-436C-B590-E7021B1BA9A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124" y="2640"/>
                <a:ext cx="91" cy="91"/>
              </a:xfrm>
              <a:custGeom>
                <a:avLst/>
                <a:gdLst>
                  <a:gd name="T0" fmla="*/ 3 w 91"/>
                  <a:gd name="T1" fmla="*/ 88 h 91"/>
                  <a:gd name="T2" fmla="*/ 3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3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close/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10" name="Freeform 102">
                <a:extLst>
                  <a:ext uri="{FF2B5EF4-FFF2-40B4-BE49-F238E27FC236}">
                    <a16:creationId xmlns:a16="http://schemas.microsoft.com/office/drawing/2014/main" id="{4D67251A-41A7-403E-BA1F-506600D490F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124" y="2640"/>
                <a:ext cx="91" cy="91"/>
              </a:xfrm>
              <a:custGeom>
                <a:avLst/>
                <a:gdLst>
                  <a:gd name="T0" fmla="*/ 3 w 91"/>
                  <a:gd name="T1" fmla="*/ 88 h 91"/>
                  <a:gd name="T2" fmla="*/ 3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3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11" name="Freeform 103">
                <a:extLst>
                  <a:ext uri="{FF2B5EF4-FFF2-40B4-BE49-F238E27FC236}">
                    <a16:creationId xmlns:a16="http://schemas.microsoft.com/office/drawing/2014/main" id="{9116D178-87AC-418E-95BB-C26102DA818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004" y="2640"/>
                <a:ext cx="90" cy="91"/>
              </a:xfrm>
              <a:custGeom>
                <a:avLst/>
                <a:gdLst>
                  <a:gd name="T0" fmla="*/ 2 w 90"/>
                  <a:gd name="T1" fmla="*/ 88 h 91"/>
                  <a:gd name="T2" fmla="*/ 2 w 90"/>
                  <a:gd name="T3" fmla="*/ 3 h 91"/>
                  <a:gd name="T4" fmla="*/ 88 w 90"/>
                  <a:gd name="T5" fmla="*/ 3 h 91"/>
                  <a:gd name="T6" fmla="*/ 88 w 90"/>
                  <a:gd name="T7" fmla="*/ 88 h 91"/>
                  <a:gd name="T8" fmla="*/ 2 w 90"/>
                  <a:gd name="T9" fmla="*/ 88 h 91"/>
                  <a:gd name="T10" fmla="*/ 90 w 90"/>
                  <a:gd name="T11" fmla="*/ 0 h 91"/>
                  <a:gd name="T12" fmla="*/ 0 w 90"/>
                  <a:gd name="T13" fmla="*/ 0 h 91"/>
                  <a:gd name="T14" fmla="*/ 0 w 90"/>
                  <a:gd name="T15" fmla="*/ 91 h 91"/>
                  <a:gd name="T16" fmla="*/ 90 w 90"/>
                  <a:gd name="T17" fmla="*/ 91 h 91"/>
                  <a:gd name="T18" fmla="*/ 90 w 90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0" h="91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close/>
                    <a:moveTo>
                      <a:pt x="90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0" y="91"/>
                    </a:lnTo>
                    <a:lnTo>
                      <a:pt x="9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12" name="Freeform 104">
                <a:extLst>
                  <a:ext uri="{FF2B5EF4-FFF2-40B4-BE49-F238E27FC236}">
                    <a16:creationId xmlns:a16="http://schemas.microsoft.com/office/drawing/2014/main" id="{9A7C286E-9B2D-45BD-A845-D495D3F4608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004" y="2640"/>
                <a:ext cx="90" cy="91"/>
              </a:xfrm>
              <a:custGeom>
                <a:avLst/>
                <a:gdLst>
                  <a:gd name="T0" fmla="*/ 2 w 90"/>
                  <a:gd name="T1" fmla="*/ 88 h 91"/>
                  <a:gd name="T2" fmla="*/ 2 w 90"/>
                  <a:gd name="T3" fmla="*/ 3 h 91"/>
                  <a:gd name="T4" fmla="*/ 88 w 90"/>
                  <a:gd name="T5" fmla="*/ 3 h 91"/>
                  <a:gd name="T6" fmla="*/ 88 w 90"/>
                  <a:gd name="T7" fmla="*/ 88 h 91"/>
                  <a:gd name="T8" fmla="*/ 2 w 90"/>
                  <a:gd name="T9" fmla="*/ 88 h 91"/>
                  <a:gd name="T10" fmla="*/ 90 w 90"/>
                  <a:gd name="T11" fmla="*/ 0 h 91"/>
                  <a:gd name="T12" fmla="*/ 0 w 90"/>
                  <a:gd name="T13" fmla="*/ 0 h 91"/>
                  <a:gd name="T14" fmla="*/ 0 w 90"/>
                  <a:gd name="T15" fmla="*/ 91 h 91"/>
                  <a:gd name="T16" fmla="*/ 90 w 90"/>
                  <a:gd name="T17" fmla="*/ 91 h 91"/>
                  <a:gd name="T18" fmla="*/ 90 w 90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0" h="91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moveTo>
                      <a:pt x="90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0" y="91"/>
                    </a:lnTo>
                    <a:lnTo>
                      <a:pt x="9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13" name="Freeform 105">
                <a:extLst>
                  <a:ext uri="{FF2B5EF4-FFF2-40B4-BE49-F238E27FC236}">
                    <a16:creationId xmlns:a16="http://schemas.microsoft.com/office/drawing/2014/main" id="{E1D9950E-0801-428B-B744-A1BDF5CCEDE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882" y="2640"/>
                <a:ext cx="91" cy="91"/>
              </a:xfrm>
              <a:custGeom>
                <a:avLst/>
                <a:gdLst>
                  <a:gd name="T0" fmla="*/ 85 w 90"/>
                  <a:gd name="T1" fmla="*/ 0 h 91"/>
                  <a:gd name="T2" fmla="*/ 0 w 90"/>
                  <a:gd name="T3" fmla="*/ 0 h 91"/>
                  <a:gd name="T4" fmla="*/ 0 w 90"/>
                  <a:gd name="T5" fmla="*/ 91 h 91"/>
                  <a:gd name="T6" fmla="*/ 90 w 90"/>
                  <a:gd name="T7" fmla="*/ 91 h 91"/>
                  <a:gd name="T8" fmla="*/ 90 w 90"/>
                  <a:gd name="T9" fmla="*/ 5 h 91"/>
                  <a:gd name="T10" fmla="*/ 88 w 90"/>
                  <a:gd name="T11" fmla="*/ 3 h 91"/>
                  <a:gd name="T12" fmla="*/ 88 w 90"/>
                  <a:gd name="T13" fmla="*/ 88 h 91"/>
                  <a:gd name="T14" fmla="*/ 2 w 90"/>
                  <a:gd name="T15" fmla="*/ 88 h 91"/>
                  <a:gd name="T16" fmla="*/ 2 w 90"/>
                  <a:gd name="T17" fmla="*/ 3 h 91"/>
                  <a:gd name="T18" fmla="*/ 88 w 90"/>
                  <a:gd name="T19" fmla="*/ 3 h 91"/>
                  <a:gd name="T20" fmla="*/ 85 w 90"/>
                  <a:gd name="T21" fmla="*/ 0 h 91"/>
                  <a:gd name="T22" fmla="*/ 90 w 90"/>
                  <a:gd name="T23" fmla="*/ 0 h 91"/>
                  <a:gd name="T24" fmla="*/ 90 w 90"/>
                  <a:gd name="T25" fmla="*/ 0 h 91"/>
                  <a:gd name="T26" fmla="*/ 90 w 90"/>
                  <a:gd name="T27" fmla="*/ 1 h 91"/>
                  <a:gd name="T28" fmla="*/ 90 w 90"/>
                  <a:gd name="T2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0" h="91">
                    <a:moveTo>
                      <a:pt x="8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90" y="91"/>
                      <a:pt x="90" y="91"/>
                      <a:pt x="90" y="91"/>
                    </a:cubicBezTo>
                    <a:cubicBezTo>
                      <a:pt x="90" y="5"/>
                      <a:pt x="90" y="5"/>
                      <a:pt x="90" y="5"/>
                    </a:cubicBezTo>
                    <a:cubicBezTo>
                      <a:pt x="90" y="4"/>
                      <a:pt x="89" y="4"/>
                      <a:pt x="88" y="3"/>
                    </a:cubicBezTo>
                    <a:cubicBezTo>
                      <a:pt x="88" y="88"/>
                      <a:pt x="88" y="88"/>
                      <a:pt x="88" y="88"/>
                    </a:cubicBezTo>
                    <a:cubicBezTo>
                      <a:pt x="2" y="88"/>
                      <a:pt x="2" y="88"/>
                      <a:pt x="2" y="88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88" y="3"/>
                      <a:pt x="88" y="3"/>
                      <a:pt x="88" y="3"/>
                    </a:cubicBezTo>
                    <a:cubicBezTo>
                      <a:pt x="86" y="2"/>
                      <a:pt x="85" y="1"/>
                      <a:pt x="85" y="0"/>
                    </a:cubicBezTo>
                    <a:moveTo>
                      <a:pt x="90" y="0"/>
                    </a:moveTo>
                    <a:cubicBezTo>
                      <a:pt x="90" y="0"/>
                      <a:pt x="90" y="0"/>
                      <a:pt x="90" y="0"/>
                    </a:cubicBezTo>
                    <a:cubicBezTo>
                      <a:pt x="90" y="0"/>
                      <a:pt x="90" y="1"/>
                      <a:pt x="90" y="1"/>
                    </a:cubicBezTo>
                    <a:cubicBezTo>
                      <a:pt x="90" y="0"/>
                      <a:pt x="90" y="0"/>
                      <a:pt x="9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14" name="Freeform 106">
                <a:extLst>
                  <a:ext uri="{FF2B5EF4-FFF2-40B4-BE49-F238E27FC236}">
                    <a16:creationId xmlns:a16="http://schemas.microsoft.com/office/drawing/2014/main" id="{0FE64072-D2A0-4597-BDC5-311075E1579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61" y="2640"/>
                <a:ext cx="91" cy="91"/>
              </a:xfrm>
              <a:custGeom>
                <a:avLst/>
                <a:gdLst>
                  <a:gd name="T0" fmla="*/ 3 w 91"/>
                  <a:gd name="T1" fmla="*/ 88 h 91"/>
                  <a:gd name="T2" fmla="*/ 3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3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close/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15" name="Freeform 107">
                <a:extLst>
                  <a:ext uri="{FF2B5EF4-FFF2-40B4-BE49-F238E27FC236}">
                    <a16:creationId xmlns:a16="http://schemas.microsoft.com/office/drawing/2014/main" id="{5B4BBBE0-875F-454D-8660-67862236A19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61" y="2640"/>
                <a:ext cx="91" cy="91"/>
              </a:xfrm>
              <a:custGeom>
                <a:avLst/>
                <a:gdLst>
                  <a:gd name="T0" fmla="*/ 3 w 91"/>
                  <a:gd name="T1" fmla="*/ 88 h 91"/>
                  <a:gd name="T2" fmla="*/ 3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3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16" name="Freeform 108">
                <a:extLst>
                  <a:ext uri="{FF2B5EF4-FFF2-40B4-BE49-F238E27FC236}">
                    <a16:creationId xmlns:a16="http://schemas.microsoft.com/office/drawing/2014/main" id="{1C332F9A-07A1-4F83-8CB8-EC6B5561C99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519" y="2640"/>
                <a:ext cx="90" cy="91"/>
              </a:xfrm>
              <a:custGeom>
                <a:avLst/>
                <a:gdLst>
                  <a:gd name="T0" fmla="*/ 2 w 90"/>
                  <a:gd name="T1" fmla="*/ 88 h 91"/>
                  <a:gd name="T2" fmla="*/ 2 w 90"/>
                  <a:gd name="T3" fmla="*/ 3 h 91"/>
                  <a:gd name="T4" fmla="*/ 88 w 90"/>
                  <a:gd name="T5" fmla="*/ 3 h 91"/>
                  <a:gd name="T6" fmla="*/ 88 w 90"/>
                  <a:gd name="T7" fmla="*/ 88 h 91"/>
                  <a:gd name="T8" fmla="*/ 2 w 90"/>
                  <a:gd name="T9" fmla="*/ 88 h 91"/>
                  <a:gd name="T10" fmla="*/ 90 w 90"/>
                  <a:gd name="T11" fmla="*/ 0 h 91"/>
                  <a:gd name="T12" fmla="*/ 0 w 90"/>
                  <a:gd name="T13" fmla="*/ 0 h 91"/>
                  <a:gd name="T14" fmla="*/ 0 w 90"/>
                  <a:gd name="T15" fmla="*/ 91 h 91"/>
                  <a:gd name="T16" fmla="*/ 90 w 90"/>
                  <a:gd name="T17" fmla="*/ 91 h 91"/>
                  <a:gd name="T18" fmla="*/ 90 w 90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0" h="91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close/>
                    <a:moveTo>
                      <a:pt x="90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0" y="91"/>
                    </a:lnTo>
                    <a:lnTo>
                      <a:pt x="9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17" name="Freeform 109">
                <a:extLst>
                  <a:ext uri="{FF2B5EF4-FFF2-40B4-BE49-F238E27FC236}">
                    <a16:creationId xmlns:a16="http://schemas.microsoft.com/office/drawing/2014/main" id="{037C4688-66E9-4ADC-977C-082901B5E6A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519" y="2640"/>
                <a:ext cx="90" cy="91"/>
              </a:xfrm>
              <a:custGeom>
                <a:avLst/>
                <a:gdLst>
                  <a:gd name="T0" fmla="*/ 2 w 90"/>
                  <a:gd name="T1" fmla="*/ 88 h 91"/>
                  <a:gd name="T2" fmla="*/ 2 w 90"/>
                  <a:gd name="T3" fmla="*/ 3 h 91"/>
                  <a:gd name="T4" fmla="*/ 88 w 90"/>
                  <a:gd name="T5" fmla="*/ 3 h 91"/>
                  <a:gd name="T6" fmla="*/ 88 w 90"/>
                  <a:gd name="T7" fmla="*/ 88 h 91"/>
                  <a:gd name="T8" fmla="*/ 2 w 90"/>
                  <a:gd name="T9" fmla="*/ 88 h 91"/>
                  <a:gd name="T10" fmla="*/ 90 w 90"/>
                  <a:gd name="T11" fmla="*/ 0 h 91"/>
                  <a:gd name="T12" fmla="*/ 0 w 90"/>
                  <a:gd name="T13" fmla="*/ 0 h 91"/>
                  <a:gd name="T14" fmla="*/ 0 w 90"/>
                  <a:gd name="T15" fmla="*/ 91 h 91"/>
                  <a:gd name="T16" fmla="*/ 90 w 90"/>
                  <a:gd name="T17" fmla="*/ 91 h 91"/>
                  <a:gd name="T18" fmla="*/ 90 w 90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0" h="91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moveTo>
                      <a:pt x="90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0" y="91"/>
                    </a:lnTo>
                    <a:lnTo>
                      <a:pt x="9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18" name="Freeform 110">
                <a:extLst>
                  <a:ext uri="{FF2B5EF4-FFF2-40B4-BE49-F238E27FC236}">
                    <a16:creationId xmlns:a16="http://schemas.microsoft.com/office/drawing/2014/main" id="{7C2689D8-C163-4A3B-A92F-2569B5EA4E4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98" y="2640"/>
                <a:ext cx="91" cy="91"/>
              </a:xfrm>
              <a:custGeom>
                <a:avLst/>
                <a:gdLst>
                  <a:gd name="T0" fmla="*/ 2 w 91"/>
                  <a:gd name="T1" fmla="*/ 88 h 91"/>
                  <a:gd name="T2" fmla="*/ 2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2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close/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19" name="Freeform 111">
                <a:extLst>
                  <a:ext uri="{FF2B5EF4-FFF2-40B4-BE49-F238E27FC236}">
                    <a16:creationId xmlns:a16="http://schemas.microsoft.com/office/drawing/2014/main" id="{E36829FB-9615-4CF7-A44F-0ECD884204D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98" y="2640"/>
                <a:ext cx="91" cy="91"/>
              </a:xfrm>
              <a:custGeom>
                <a:avLst/>
                <a:gdLst>
                  <a:gd name="T0" fmla="*/ 2 w 91"/>
                  <a:gd name="T1" fmla="*/ 88 h 91"/>
                  <a:gd name="T2" fmla="*/ 2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2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20" name="Freeform 112">
                <a:extLst>
                  <a:ext uri="{FF2B5EF4-FFF2-40B4-BE49-F238E27FC236}">
                    <a16:creationId xmlns:a16="http://schemas.microsoft.com/office/drawing/2014/main" id="{1950F038-CEE8-41C0-9E2C-C4D38EC513E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245" y="2523"/>
                <a:ext cx="92" cy="92"/>
              </a:xfrm>
              <a:custGeom>
                <a:avLst/>
                <a:gdLst>
                  <a:gd name="T0" fmla="*/ 3 w 92"/>
                  <a:gd name="T1" fmla="*/ 88 h 92"/>
                  <a:gd name="T2" fmla="*/ 3 w 92"/>
                  <a:gd name="T3" fmla="*/ 3 h 92"/>
                  <a:gd name="T4" fmla="*/ 89 w 92"/>
                  <a:gd name="T5" fmla="*/ 3 h 92"/>
                  <a:gd name="T6" fmla="*/ 89 w 92"/>
                  <a:gd name="T7" fmla="*/ 88 h 92"/>
                  <a:gd name="T8" fmla="*/ 3 w 92"/>
                  <a:gd name="T9" fmla="*/ 88 h 92"/>
                  <a:gd name="T10" fmla="*/ 92 w 92"/>
                  <a:gd name="T11" fmla="*/ 0 h 92"/>
                  <a:gd name="T12" fmla="*/ 0 w 92"/>
                  <a:gd name="T13" fmla="*/ 0 h 92"/>
                  <a:gd name="T14" fmla="*/ 0 w 92"/>
                  <a:gd name="T15" fmla="*/ 92 h 92"/>
                  <a:gd name="T16" fmla="*/ 92 w 92"/>
                  <a:gd name="T17" fmla="*/ 92 h 92"/>
                  <a:gd name="T18" fmla="*/ 92 w 92"/>
                  <a:gd name="T1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2">
                    <a:moveTo>
                      <a:pt x="3" y="88"/>
                    </a:moveTo>
                    <a:lnTo>
                      <a:pt x="3" y="3"/>
                    </a:lnTo>
                    <a:lnTo>
                      <a:pt x="89" y="3"/>
                    </a:lnTo>
                    <a:lnTo>
                      <a:pt x="89" y="88"/>
                    </a:lnTo>
                    <a:lnTo>
                      <a:pt x="3" y="88"/>
                    </a:lnTo>
                    <a:close/>
                    <a:moveTo>
                      <a:pt x="92" y="0"/>
                    </a:moveTo>
                    <a:lnTo>
                      <a:pt x="0" y="0"/>
                    </a:lnTo>
                    <a:lnTo>
                      <a:pt x="0" y="92"/>
                    </a:lnTo>
                    <a:lnTo>
                      <a:pt x="92" y="92"/>
                    </a:lnTo>
                    <a:lnTo>
                      <a:pt x="9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21" name="Freeform 113">
                <a:extLst>
                  <a:ext uri="{FF2B5EF4-FFF2-40B4-BE49-F238E27FC236}">
                    <a16:creationId xmlns:a16="http://schemas.microsoft.com/office/drawing/2014/main" id="{E52FECC3-F136-4390-9FED-23347483AA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245" y="2523"/>
                <a:ext cx="92" cy="92"/>
              </a:xfrm>
              <a:custGeom>
                <a:avLst/>
                <a:gdLst>
                  <a:gd name="T0" fmla="*/ 3 w 92"/>
                  <a:gd name="T1" fmla="*/ 88 h 92"/>
                  <a:gd name="T2" fmla="*/ 3 w 92"/>
                  <a:gd name="T3" fmla="*/ 3 h 92"/>
                  <a:gd name="T4" fmla="*/ 89 w 92"/>
                  <a:gd name="T5" fmla="*/ 3 h 92"/>
                  <a:gd name="T6" fmla="*/ 89 w 92"/>
                  <a:gd name="T7" fmla="*/ 88 h 92"/>
                  <a:gd name="T8" fmla="*/ 3 w 92"/>
                  <a:gd name="T9" fmla="*/ 88 h 92"/>
                  <a:gd name="T10" fmla="*/ 92 w 92"/>
                  <a:gd name="T11" fmla="*/ 0 h 92"/>
                  <a:gd name="T12" fmla="*/ 0 w 92"/>
                  <a:gd name="T13" fmla="*/ 0 h 92"/>
                  <a:gd name="T14" fmla="*/ 0 w 92"/>
                  <a:gd name="T15" fmla="*/ 92 h 92"/>
                  <a:gd name="T16" fmla="*/ 92 w 92"/>
                  <a:gd name="T17" fmla="*/ 92 h 92"/>
                  <a:gd name="T18" fmla="*/ 92 w 92"/>
                  <a:gd name="T1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2">
                    <a:moveTo>
                      <a:pt x="3" y="88"/>
                    </a:moveTo>
                    <a:lnTo>
                      <a:pt x="3" y="3"/>
                    </a:lnTo>
                    <a:lnTo>
                      <a:pt x="89" y="3"/>
                    </a:lnTo>
                    <a:lnTo>
                      <a:pt x="89" y="88"/>
                    </a:lnTo>
                    <a:lnTo>
                      <a:pt x="3" y="88"/>
                    </a:lnTo>
                    <a:moveTo>
                      <a:pt x="92" y="0"/>
                    </a:moveTo>
                    <a:lnTo>
                      <a:pt x="0" y="0"/>
                    </a:lnTo>
                    <a:lnTo>
                      <a:pt x="0" y="92"/>
                    </a:lnTo>
                    <a:lnTo>
                      <a:pt x="92" y="92"/>
                    </a:lnTo>
                    <a:lnTo>
                      <a:pt x="92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22" name="Freeform 114">
                <a:extLst>
                  <a:ext uri="{FF2B5EF4-FFF2-40B4-BE49-F238E27FC236}">
                    <a16:creationId xmlns:a16="http://schemas.microsoft.com/office/drawing/2014/main" id="{38367073-2E67-4429-81D8-0ABDAF3E85C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124" y="2523"/>
                <a:ext cx="91" cy="92"/>
              </a:xfrm>
              <a:custGeom>
                <a:avLst/>
                <a:gdLst>
                  <a:gd name="T0" fmla="*/ 3 w 91"/>
                  <a:gd name="T1" fmla="*/ 88 h 92"/>
                  <a:gd name="T2" fmla="*/ 3 w 91"/>
                  <a:gd name="T3" fmla="*/ 3 h 92"/>
                  <a:gd name="T4" fmla="*/ 88 w 91"/>
                  <a:gd name="T5" fmla="*/ 3 h 92"/>
                  <a:gd name="T6" fmla="*/ 88 w 91"/>
                  <a:gd name="T7" fmla="*/ 88 h 92"/>
                  <a:gd name="T8" fmla="*/ 3 w 91"/>
                  <a:gd name="T9" fmla="*/ 88 h 92"/>
                  <a:gd name="T10" fmla="*/ 91 w 91"/>
                  <a:gd name="T11" fmla="*/ 0 h 92"/>
                  <a:gd name="T12" fmla="*/ 0 w 91"/>
                  <a:gd name="T13" fmla="*/ 0 h 92"/>
                  <a:gd name="T14" fmla="*/ 0 w 91"/>
                  <a:gd name="T15" fmla="*/ 92 h 92"/>
                  <a:gd name="T16" fmla="*/ 91 w 91"/>
                  <a:gd name="T17" fmla="*/ 92 h 92"/>
                  <a:gd name="T18" fmla="*/ 91 w 91"/>
                  <a:gd name="T1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2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close/>
                    <a:moveTo>
                      <a:pt x="91" y="0"/>
                    </a:moveTo>
                    <a:lnTo>
                      <a:pt x="0" y="0"/>
                    </a:lnTo>
                    <a:lnTo>
                      <a:pt x="0" y="92"/>
                    </a:lnTo>
                    <a:lnTo>
                      <a:pt x="91" y="92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23" name="Freeform 115">
                <a:extLst>
                  <a:ext uri="{FF2B5EF4-FFF2-40B4-BE49-F238E27FC236}">
                    <a16:creationId xmlns:a16="http://schemas.microsoft.com/office/drawing/2014/main" id="{97391DA3-6114-448C-A5D3-28C731F7867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124" y="2523"/>
                <a:ext cx="91" cy="92"/>
              </a:xfrm>
              <a:custGeom>
                <a:avLst/>
                <a:gdLst>
                  <a:gd name="T0" fmla="*/ 3 w 91"/>
                  <a:gd name="T1" fmla="*/ 88 h 92"/>
                  <a:gd name="T2" fmla="*/ 3 w 91"/>
                  <a:gd name="T3" fmla="*/ 3 h 92"/>
                  <a:gd name="T4" fmla="*/ 88 w 91"/>
                  <a:gd name="T5" fmla="*/ 3 h 92"/>
                  <a:gd name="T6" fmla="*/ 88 w 91"/>
                  <a:gd name="T7" fmla="*/ 88 h 92"/>
                  <a:gd name="T8" fmla="*/ 3 w 91"/>
                  <a:gd name="T9" fmla="*/ 88 h 92"/>
                  <a:gd name="T10" fmla="*/ 91 w 91"/>
                  <a:gd name="T11" fmla="*/ 0 h 92"/>
                  <a:gd name="T12" fmla="*/ 0 w 91"/>
                  <a:gd name="T13" fmla="*/ 0 h 92"/>
                  <a:gd name="T14" fmla="*/ 0 w 91"/>
                  <a:gd name="T15" fmla="*/ 92 h 92"/>
                  <a:gd name="T16" fmla="*/ 91 w 91"/>
                  <a:gd name="T17" fmla="*/ 92 h 92"/>
                  <a:gd name="T18" fmla="*/ 91 w 91"/>
                  <a:gd name="T1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2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moveTo>
                      <a:pt x="91" y="0"/>
                    </a:moveTo>
                    <a:lnTo>
                      <a:pt x="0" y="0"/>
                    </a:lnTo>
                    <a:lnTo>
                      <a:pt x="0" y="92"/>
                    </a:lnTo>
                    <a:lnTo>
                      <a:pt x="91" y="92"/>
                    </a:lnTo>
                    <a:lnTo>
                      <a:pt x="9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24" name="Freeform 116">
                <a:extLst>
                  <a:ext uri="{FF2B5EF4-FFF2-40B4-BE49-F238E27FC236}">
                    <a16:creationId xmlns:a16="http://schemas.microsoft.com/office/drawing/2014/main" id="{23FCD836-E640-4DEF-8BF0-A8060EE2746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882" y="2523"/>
                <a:ext cx="91" cy="92"/>
              </a:xfrm>
              <a:custGeom>
                <a:avLst/>
                <a:gdLst>
                  <a:gd name="T0" fmla="*/ 90 w 90"/>
                  <a:gd name="T1" fmla="*/ 83 h 91"/>
                  <a:gd name="T2" fmla="*/ 88 w 90"/>
                  <a:gd name="T3" fmla="*/ 85 h 91"/>
                  <a:gd name="T4" fmla="*/ 88 w 90"/>
                  <a:gd name="T5" fmla="*/ 88 h 91"/>
                  <a:gd name="T6" fmla="*/ 85 w 90"/>
                  <a:gd name="T7" fmla="*/ 88 h 91"/>
                  <a:gd name="T8" fmla="*/ 84 w 90"/>
                  <a:gd name="T9" fmla="*/ 91 h 91"/>
                  <a:gd name="T10" fmla="*/ 90 w 90"/>
                  <a:gd name="T11" fmla="*/ 91 h 91"/>
                  <a:gd name="T12" fmla="*/ 90 w 90"/>
                  <a:gd name="T13" fmla="*/ 83 h 91"/>
                  <a:gd name="T14" fmla="*/ 90 w 90"/>
                  <a:gd name="T15" fmla="*/ 0 h 91"/>
                  <a:gd name="T16" fmla="*/ 0 w 90"/>
                  <a:gd name="T17" fmla="*/ 0 h 91"/>
                  <a:gd name="T18" fmla="*/ 0 w 90"/>
                  <a:gd name="T19" fmla="*/ 91 h 91"/>
                  <a:gd name="T20" fmla="*/ 80 w 90"/>
                  <a:gd name="T21" fmla="*/ 91 h 91"/>
                  <a:gd name="T22" fmla="*/ 81 w 90"/>
                  <a:gd name="T23" fmla="*/ 88 h 91"/>
                  <a:gd name="T24" fmla="*/ 2 w 90"/>
                  <a:gd name="T25" fmla="*/ 88 h 91"/>
                  <a:gd name="T26" fmla="*/ 2 w 90"/>
                  <a:gd name="T27" fmla="*/ 3 h 91"/>
                  <a:gd name="T28" fmla="*/ 88 w 90"/>
                  <a:gd name="T29" fmla="*/ 3 h 91"/>
                  <a:gd name="T30" fmla="*/ 88 w 90"/>
                  <a:gd name="T31" fmla="*/ 81 h 91"/>
                  <a:gd name="T32" fmla="*/ 90 w 90"/>
                  <a:gd name="T33" fmla="*/ 79 h 91"/>
                  <a:gd name="T34" fmla="*/ 90 w 90"/>
                  <a:gd name="T3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0" h="91">
                    <a:moveTo>
                      <a:pt x="90" y="83"/>
                    </a:moveTo>
                    <a:cubicBezTo>
                      <a:pt x="90" y="84"/>
                      <a:pt x="89" y="84"/>
                      <a:pt x="88" y="85"/>
                    </a:cubicBezTo>
                    <a:cubicBezTo>
                      <a:pt x="88" y="88"/>
                      <a:pt x="88" y="88"/>
                      <a:pt x="88" y="88"/>
                    </a:cubicBezTo>
                    <a:cubicBezTo>
                      <a:pt x="85" y="88"/>
                      <a:pt x="85" y="88"/>
                      <a:pt x="85" y="88"/>
                    </a:cubicBezTo>
                    <a:cubicBezTo>
                      <a:pt x="85" y="89"/>
                      <a:pt x="84" y="90"/>
                      <a:pt x="84" y="91"/>
                    </a:cubicBezTo>
                    <a:cubicBezTo>
                      <a:pt x="90" y="91"/>
                      <a:pt x="90" y="91"/>
                      <a:pt x="90" y="91"/>
                    </a:cubicBezTo>
                    <a:cubicBezTo>
                      <a:pt x="90" y="83"/>
                      <a:pt x="90" y="83"/>
                      <a:pt x="90" y="83"/>
                    </a:cubicBezTo>
                    <a:moveTo>
                      <a:pt x="9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80" y="91"/>
                      <a:pt x="80" y="91"/>
                      <a:pt x="80" y="91"/>
                    </a:cubicBezTo>
                    <a:cubicBezTo>
                      <a:pt x="80" y="90"/>
                      <a:pt x="81" y="89"/>
                      <a:pt x="81" y="88"/>
                    </a:cubicBezTo>
                    <a:cubicBezTo>
                      <a:pt x="2" y="88"/>
                      <a:pt x="2" y="88"/>
                      <a:pt x="2" y="88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88" y="3"/>
                      <a:pt x="88" y="3"/>
                      <a:pt x="88" y="3"/>
                    </a:cubicBezTo>
                    <a:cubicBezTo>
                      <a:pt x="88" y="81"/>
                      <a:pt x="88" y="81"/>
                      <a:pt x="88" y="81"/>
                    </a:cubicBezTo>
                    <a:cubicBezTo>
                      <a:pt x="89" y="80"/>
                      <a:pt x="90" y="80"/>
                      <a:pt x="90" y="79"/>
                    </a:cubicBezTo>
                    <a:cubicBezTo>
                      <a:pt x="90" y="0"/>
                      <a:pt x="90" y="0"/>
                      <a:pt x="9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25" name="Freeform 117">
                <a:extLst>
                  <a:ext uri="{FF2B5EF4-FFF2-40B4-BE49-F238E27FC236}">
                    <a16:creationId xmlns:a16="http://schemas.microsoft.com/office/drawing/2014/main" id="{775E77F7-7FA8-45C6-AE3F-C7DDD872A09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61" y="2523"/>
                <a:ext cx="91" cy="92"/>
              </a:xfrm>
              <a:custGeom>
                <a:avLst/>
                <a:gdLst>
                  <a:gd name="T0" fmla="*/ 3 w 91"/>
                  <a:gd name="T1" fmla="*/ 88 h 92"/>
                  <a:gd name="T2" fmla="*/ 3 w 91"/>
                  <a:gd name="T3" fmla="*/ 3 h 92"/>
                  <a:gd name="T4" fmla="*/ 88 w 91"/>
                  <a:gd name="T5" fmla="*/ 3 h 92"/>
                  <a:gd name="T6" fmla="*/ 88 w 91"/>
                  <a:gd name="T7" fmla="*/ 88 h 92"/>
                  <a:gd name="T8" fmla="*/ 3 w 91"/>
                  <a:gd name="T9" fmla="*/ 88 h 92"/>
                  <a:gd name="T10" fmla="*/ 91 w 91"/>
                  <a:gd name="T11" fmla="*/ 0 h 92"/>
                  <a:gd name="T12" fmla="*/ 0 w 91"/>
                  <a:gd name="T13" fmla="*/ 0 h 92"/>
                  <a:gd name="T14" fmla="*/ 0 w 91"/>
                  <a:gd name="T15" fmla="*/ 92 h 92"/>
                  <a:gd name="T16" fmla="*/ 91 w 91"/>
                  <a:gd name="T17" fmla="*/ 92 h 92"/>
                  <a:gd name="T18" fmla="*/ 91 w 91"/>
                  <a:gd name="T1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2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close/>
                    <a:moveTo>
                      <a:pt x="91" y="0"/>
                    </a:moveTo>
                    <a:lnTo>
                      <a:pt x="0" y="0"/>
                    </a:lnTo>
                    <a:lnTo>
                      <a:pt x="0" y="92"/>
                    </a:lnTo>
                    <a:lnTo>
                      <a:pt x="91" y="92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26" name="Freeform 118">
                <a:extLst>
                  <a:ext uri="{FF2B5EF4-FFF2-40B4-BE49-F238E27FC236}">
                    <a16:creationId xmlns:a16="http://schemas.microsoft.com/office/drawing/2014/main" id="{3EB2C021-49F4-4B4E-9423-7398ADA32B4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61" y="2523"/>
                <a:ext cx="91" cy="92"/>
              </a:xfrm>
              <a:custGeom>
                <a:avLst/>
                <a:gdLst>
                  <a:gd name="T0" fmla="*/ 3 w 91"/>
                  <a:gd name="T1" fmla="*/ 88 h 92"/>
                  <a:gd name="T2" fmla="*/ 3 w 91"/>
                  <a:gd name="T3" fmla="*/ 3 h 92"/>
                  <a:gd name="T4" fmla="*/ 88 w 91"/>
                  <a:gd name="T5" fmla="*/ 3 h 92"/>
                  <a:gd name="T6" fmla="*/ 88 w 91"/>
                  <a:gd name="T7" fmla="*/ 88 h 92"/>
                  <a:gd name="T8" fmla="*/ 3 w 91"/>
                  <a:gd name="T9" fmla="*/ 88 h 92"/>
                  <a:gd name="T10" fmla="*/ 91 w 91"/>
                  <a:gd name="T11" fmla="*/ 0 h 92"/>
                  <a:gd name="T12" fmla="*/ 0 w 91"/>
                  <a:gd name="T13" fmla="*/ 0 h 92"/>
                  <a:gd name="T14" fmla="*/ 0 w 91"/>
                  <a:gd name="T15" fmla="*/ 92 h 92"/>
                  <a:gd name="T16" fmla="*/ 91 w 91"/>
                  <a:gd name="T17" fmla="*/ 92 h 92"/>
                  <a:gd name="T18" fmla="*/ 91 w 91"/>
                  <a:gd name="T1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2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moveTo>
                      <a:pt x="91" y="0"/>
                    </a:moveTo>
                    <a:lnTo>
                      <a:pt x="0" y="0"/>
                    </a:lnTo>
                    <a:lnTo>
                      <a:pt x="0" y="92"/>
                    </a:lnTo>
                    <a:lnTo>
                      <a:pt x="91" y="92"/>
                    </a:lnTo>
                    <a:lnTo>
                      <a:pt x="9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27" name="Freeform 119">
                <a:extLst>
                  <a:ext uri="{FF2B5EF4-FFF2-40B4-BE49-F238E27FC236}">
                    <a16:creationId xmlns:a16="http://schemas.microsoft.com/office/drawing/2014/main" id="{A3D5E861-1727-4AC1-BFF0-6306C434A99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519" y="2523"/>
                <a:ext cx="90" cy="92"/>
              </a:xfrm>
              <a:custGeom>
                <a:avLst/>
                <a:gdLst>
                  <a:gd name="T0" fmla="*/ 2 w 90"/>
                  <a:gd name="T1" fmla="*/ 88 h 92"/>
                  <a:gd name="T2" fmla="*/ 2 w 90"/>
                  <a:gd name="T3" fmla="*/ 3 h 92"/>
                  <a:gd name="T4" fmla="*/ 88 w 90"/>
                  <a:gd name="T5" fmla="*/ 3 h 92"/>
                  <a:gd name="T6" fmla="*/ 88 w 90"/>
                  <a:gd name="T7" fmla="*/ 88 h 92"/>
                  <a:gd name="T8" fmla="*/ 2 w 90"/>
                  <a:gd name="T9" fmla="*/ 88 h 92"/>
                  <a:gd name="T10" fmla="*/ 90 w 90"/>
                  <a:gd name="T11" fmla="*/ 0 h 92"/>
                  <a:gd name="T12" fmla="*/ 0 w 90"/>
                  <a:gd name="T13" fmla="*/ 0 h 92"/>
                  <a:gd name="T14" fmla="*/ 0 w 90"/>
                  <a:gd name="T15" fmla="*/ 92 h 92"/>
                  <a:gd name="T16" fmla="*/ 90 w 90"/>
                  <a:gd name="T17" fmla="*/ 92 h 92"/>
                  <a:gd name="T18" fmla="*/ 90 w 90"/>
                  <a:gd name="T1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0" h="92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close/>
                    <a:moveTo>
                      <a:pt x="90" y="0"/>
                    </a:moveTo>
                    <a:lnTo>
                      <a:pt x="0" y="0"/>
                    </a:lnTo>
                    <a:lnTo>
                      <a:pt x="0" y="92"/>
                    </a:lnTo>
                    <a:lnTo>
                      <a:pt x="90" y="92"/>
                    </a:lnTo>
                    <a:lnTo>
                      <a:pt x="9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28" name="Freeform 120">
                <a:extLst>
                  <a:ext uri="{FF2B5EF4-FFF2-40B4-BE49-F238E27FC236}">
                    <a16:creationId xmlns:a16="http://schemas.microsoft.com/office/drawing/2014/main" id="{ABB5F29B-1305-437C-AECD-A379B11DCD8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519" y="2523"/>
                <a:ext cx="90" cy="92"/>
              </a:xfrm>
              <a:custGeom>
                <a:avLst/>
                <a:gdLst>
                  <a:gd name="T0" fmla="*/ 2 w 90"/>
                  <a:gd name="T1" fmla="*/ 88 h 92"/>
                  <a:gd name="T2" fmla="*/ 2 w 90"/>
                  <a:gd name="T3" fmla="*/ 3 h 92"/>
                  <a:gd name="T4" fmla="*/ 88 w 90"/>
                  <a:gd name="T5" fmla="*/ 3 h 92"/>
                  <a:gd name="T6" fmla="*/ 88 w 90"/>
                  <a:gd name="T7" fmla="*/ 88 h 92"/>
                  <a:gd name="T8" fmla="*/ 2 w 90"/>
                  <a:gd name="T9" fmla="*/ 88 h 92"/>
                  <a:gd name="T10" fmla="*/ 90 w 90"/>
                  <a:gd name="T11" fmla="*/ 0 h 92"/>
                  <a:gd name="T12" fmla="*/ 0 w 90"/>
                  <a:gd name="T13" fmla="*/ 0 h 92"/>
                  <a:gd name="T14" fmla="*/ 0 w 90"/>
                  <a:gd name="T15" fmla="*/ 92 h 92"/>
                  <a:gd name="T16" fmla="*/ 90 w 90"/>
                  <a:gd name="T17" fmla="*/ 92 h 92"/>
                  <a:gd name="T18" fmla="*/ 90 w 90"/>
                  <a:gd name="T1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0" h="92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moveTo>
                      <a:pt x="90" y="0"/>
                    </a:moveTo>
                    <a:lnTo>
                      <a:pt x="0" y="0"/>
                    </a:lnTo>
                    <a:lnTo>
                      <a:pt x="0" y="92"/>
                    </a:lnTo>
                    <a:lnTo>
                      <a:pt x="90" y="92"/>
                    </a:lnTo>
                    <a:lnTo>
                      <a:pt x="9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29" name="Freeform 121">
                <a:extLst>
                  <a:ext uri="{FF2B5EF4-FFF2-40B4-BE49-F238E27FC236}">
                    <a16:creationId xmlns:a16="http://schemas.microsoft.com/office/drawing/2014/main" id="{1FD496AF-E834-4E16-9CC3-94CA4C459DB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98" y="2523"/>
                <a:ext cx="91" cy="92"/>
              </a:xfrm>
              <a:custGeom>
                <a:avLst/>
                <a:gdLst>
                  <a:gd name="T0" fmla="*/ 2 w 91"/>
                  <a:gd name="T1" fmla="*/ 88 h 92"/>
                  <a:gd name="T2" fmla="*/ 2 w 91"/>
                  <a:gd name="T3" fmla="*/ 3 h 92"/>
                  <a:gd name="T4" fmla="*/ 88 w 91"/>
                  <a:gd name="T5" fmla="*/ 3 h 92"/>
                  <a:gd name="T6" fmla="*/ 88 w 91"/>
                  <a:gd name="T7" fmla="*/ 88 h 92"/>
                  <a:gd name="T8" fmla="*/ 2 w 91"/>
                  <a:gd name="T9" fmla="*/ 88 h 92"/>
                  <a:gd name="T10" fmla="*/ 91 w 91"/>
                  <a:gd name="T11" fmla="*/ 0 h 92"/>
                  <a:gd name="T12" fmla="*/ 0 w 91"/>
                  <a:gd name="T13" fmla="*/ 0 h 92"/>
                  <a:gd name="T14" fmla="*/ 0 w 91"/>
                  <a:gd name="T15" fmla="*/ 92 h 92"/>
                  <a:gd name="T16" fmla="*/ 91 w 91"/>
                  <a:gd name="T17" fmla="*/ 92 h 92"/>
                  <a:gd name="T18" fmla="*/ 91 w 91"/>
                  <a:gd name="T1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2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close/>
                    <a:moveTo>
                      <a:pt x="91" y="0"/>
                    </a:moveTo>
                    <a:lnTo>
                      <a:pt x="0" y="0"/>
                    </a:lnTo>
                    <a:lnTo>
                      <a:pt x="0" y="92"/>
                    </a:lnTo>
                    <a:lnTo>
                      <a:pt x="91" y="92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30" name="Freeform 122">
                <a:extLst>
                  <a:ext uri="{FF2B5EF4-FFF2-40B4-BE49-F238E27FC236}">
                    <a16:creationId xmlns:a16="http://schemas.microsoft.com/office/drawing/2014/main" id="{7BF5A106-0151-460F-81C5-2A0684F0944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98" y="2523"/>
                <a:ext cx="91" cy="92"/>
              </a:xfrm>
              <a:custGeom>
                <a:avLst/>
                <a:gdLst>
                  <a:gd name="T0" fmla="*/ 2 w 91"/>
                  <a:gd name="T1" fmla="*/ 88 h 92"/>
                  <a:gd name="T2" fmla="*/ 2 w 91"/>
                  <a:gd name="T3" fmla="*/ 3 h 92"/>
                  <a:gd name="T4" fmla="*/ 88 w 91"/>
                  <a:gd name="T5" fmla="*/ 3 h 92"/>
                  <a:gd name="T6" fmla="*/ 88 w 91"/>
                  <a:gd name="T7" fmla="*/ 88 h 92"/>
                  <a:gd name="T8" fmla="*/ 2 w 91"/>
                  <a:gd name="T9" fmla="*/ 88 h 92"/>
                  <a:gd name="T10" fmla="*/ 91 w 91"/>
                  <a:gd name="T11" fmla="*/ 0 h 92"/>
                  <a:gd name="T12" fmla="*/ 0 w 91"/>
                  <a:gd name="T13" fmla="*/ 0 h 92"/>
                  <a:gd name="T14" fmla="*/ 0 w 91"/>
                  <a:gd name="T15" fmla="*/ 92 h 92"/>
                  <a:gd name="T16" fmla="*/ 91 w 91"/>
                  <a:gd name="T17" fmla="*/ 92 h 92"/>
                  <a:gd name="T18" fmla="*/ 91 w 91"/>
                  <a:gd name="T1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2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moveTo>
                      <a:pt x="91" y="0"/>
                    </a:moveTo>
                    <a:lnTo>
                      <a:pt x="0" y="0"/>
                    </a:lnTo>
                    <a:lnTo>
                      <a:pt x="0" y="92"/>
                    </a:lnTo>
                    <a:lnTo>
                      <a:pt x="91" y="92"/>
                    </a:lnTo>
                    <a:lnTo>
                      <a:pt x="9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31" name="Freeform 123">
                <a:extLst>
                  <a:ext uri="{FF2B5EF4-FFF2-40B4-BE49-F238E27FC236}">
                    <a16:creationId xmlns:a16="http://schemas.microsoft.com/office/drawing/2014/main" id="{EB5677CE-6E56-4420-811F-F6161598EC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45" y="2407"/>
                <a:ext cx="92" cy="91"/>
              </a:xfrm>
              <a:custGeom>
                <a:avLst/>
                <a:gdLst>
                  <a:gd name="T0" fmla="*/ 91 w 91"/>
                  <a:gd name="T1" fmla="*/ 0 h 91"/>
                  <a:gd name="T2" fmla="*/ 22 w 91"/>
                  <a:gd name="T3" fmla="*/ 0 h 91"/>
                  <a:gd name="T4" fmla="*/ 22 w 91"/>
                  <a:gd name="T5" fmla="*/ 3 h 91"/>
                  <a:gd name="T6" fmla="*/ 88 w 91"/>
                  <a:gd name="T7" fmla="*/ 3 h 91"/>
                  <a:gd name="T8" fmla="*/ 88 w 91"/>
                  <a:gd name="T9" fmla="*/ 88 h 91"/>
                  <a:gd name="T10" fmla="*/ 3 w 91"/>
                  <a:gd name="T11" fmla="*/ 88 h 91"/>
                  <a:gd name="T12" fmla="*/ 3 w 91"/>
                  <a:gd name="T13" fmla="*/ 6 h 91"/>
                  <a:gd name="T14" fmla="*/ 1 w 91"/>
                  <a:gd name="T15" fmla="*/ 0 h 91"/>
                  <a:gd name="T16" fmla="*/ 0 w 91"/>
                  <a:gd name="T17" fmla="*/ 0 h 91"/>
                  <a:gd name="T18" fmla="*/ 0 w 91"/>
                  <a:gd name="T19" fmla="*/ 91 h 91"/>
                  <a:gd name="T20" fmla="*/ 91 w 91"/>
                  <a:gd name="T21" fmla="*/ 91 h 91"/>
                  <a:gd name="T22" fmla="*/ 91 w 91"/>
                  <a:gd name="T23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1" h="91">
                    <a:moveTo>
                      <a:pt x="91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22" y="1"/>
                      <a:pt x="22" y="2"/>
                      <a:pt x="22" y="3"/>
                    </a:cubicBezTo>
                    <a:cubicBezTo>
                      <a:pt x="88" y="3"/>
                      <a:pt x="88" y="3"/>
                      <a:pt x="88" y="3"/>
                    </a:cubicBezTo>
                    <a:cubicBezTo>
                      <a:pt x="88" y="88"/>
                      <a:pt x="88" y="88"/>
                      <a:pt x="88" y="88"/>
                    </a:cubicBezTo>
                    <a:cubicBezTo>
                      <a:pt x="3" y="88"/>
                      <a:pt x="3" y="88"/>
                      <a:pt x="3" y="88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1" y="4"/>
                      <a:pt x="1" y="2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91" y="91"/>
                      <a:pt x="91" y="91"/>
                      <a:pt x="91" y="91"/>
                    </a:cubicBezTo>
                    <a:cubicBezTo>
                      <a:pt x="91" y="0"/>
                      <a:pt x="91" y="0"/>
                      <a:pt x="9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32" name="Freeform 124">
                <a:extLst>
                  <a:ext uri="{FF2B5EF4-FFF2-40B4-BE49-F238E27FC236}">
                    <a16:creationId xmlns:a16="http://schemas.microsoft.com/office/drawing/2014/main" id="{4E5A79F5-46ED-40C6-93A9-55DC2E100BF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124" y="2407"/>
                <a:ext cx="91" cy="91"/>
              </a:xfrm>
              <a:custGeom>
                <a:avLst/>
                <a:gdLst>
                  <a:gd name="T0" fmla="*/ 3 w 91"/>
                  <a:gd name="T1" fmla="*/ 88 h 91"/>
                  <a:gd name="T2" fmla="*/ 3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3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close/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33" name="Freeform 125">
                <a:extLst>
                  <a:ext uri="{FF2B5EF4-FFF2-40B4-BE49-F238E27FC236}">
                    <a16:creationId xmlns:a16="http://schemas.microsoft.com/office/drawing/2014/main" id="{7AB046DB-FD66-454B-A9AA-CE9DBE3EE7D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124" y="2407"/>
                <a:ext cx="91" cy="91"/>
              </a:xfrm>
              <a:custGeom>
                <a:avLst/>
                <a:gdLst>
                  <a:gd name="T0" fmla="*/ 3 w 91"/>
                  <a:gd name="T1" fmla="*/ 88 h 91"/>
                  <a:gd name="T2" fmla="*/ 3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3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34" name="Freeform 126">
                <a:extLst>
                  <a:ext uri="{FF2B5EF4-FFF2-40B4-BE49-F238E27FC236}">
                    <a16:creationId xmlns:a16="http://schemas.microsoft.com/office/drawing/2014/main" id="{F821C86F-ACE3-4C59-B07B-00B4A7694A2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004" y="2407"/>
                <a:ext cx="90" cy="91"/>
              </a:xfrm>
              <a:custGeom>
                <a:avLst/>
                <a:gdLst>
                  <a:gd name="T0" fmla="*/ 2 w 90"/>
                  <a:gd name="T1" fmla="*/ 88 h 91"/>
                  <a:gd name="T2" fmla="*/ 2 w 90"/>
                  <a:gd name="T3" fmla="*/ 3 h 91"/>
                  <a:gd name="T4" fmla="*/ 88 w 90"/>
                  <a:gd name="T5" fmla="*/ 3 h 91"/>
                  <a:gd name="T6" fmla="*/ 88 w 90"/>
                  <a:gd name="T7" fmla="*/ 88 h 91"/>
                  <a:gd name="T8" fmla="*/ 2 w 90"/>
                  <a:gd name="T9" fmla="*/ 88 h 91"/>
                  <a:gd name="T10" fmla="*/ 90 w 90"/>
                  <a:gd name="T11" fmla="*/ 0 h 91"/>
                  <a:gd name="T12" fmla="*/ 0 w 90"/>
                  <a:gd name="T13" fmla="*/ 0 h 91"/>
                  <a:gd name="T14" fmla="*/ 0 w 90"/>
                  <a:gd name="T15" fmla="*/ 91 h 91"/>
                  <a:gd name="T16" fmla="*/ 90 w 90"/>
                  <a:gd name="T17" fmla="*/ 91 h 91"/>
                  <a:gd name="T18" fmla="*/ 90 w 90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0" h="91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close/>
                    <a:moveTo>
                      <a:pt x="90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0" y="91"/>
                    </a:lnTo>
                    <a:lnTo>
                      <a:pt x="9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35" name="Freeform 127">
                <a:extLst>
                  <a:ext uri="{FF2B5EF4-FFF2-40B4-BE49-F238E27FC236}">
                    <a16:creationId xmlns:a16="http://schemas.microsoft.com/office/drawing/2014/main" id="{85E69844-0812-48E0-A72D-3ADF3E26FF5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004" y="2407"/>
                <a:ext cx="90" cy="91"/>
              </a:xfrm>
              <a:custGeom>
                <a:avLst/>
                <a:gdLst>
                  <a:gd name="T0" fmla="*/ 2 w 90"/>
                  <a:gd name="T1" fmla="*/ 88 h 91"/>
                  <a:gd name="T2" fmla="*/ 2 w 90"/>
                  <a:gd name="T3" fmla="*/ 3 h 91"/>
                  <a:gd name="T4" fmla="*/ 88 w 90"/>
                  <a:gd name="T5" fmla="*/ 3 h 91"/>
                  <a:gd name="T6" fmla="*/ 88 w 90"/>
                  <a:gd name="T7" fmla="*/ 88 h 91"/>
                  <a:gd name="T8" fmla="*/ 2 w 90"/>
                  <a:gd name="T9" fmla="*/ 88 h 91"/>
                  <a:gd name="T10" fmla="*/ 90 w 90"/>
                  <a:gd name="T11" fmla="*/ 0 h 91"/>
                  <a:gd name="T12" fmla="*/ 0 w 90"/>
                  <a:gd name="T13" fmla="*/ 0 h 91"/>
                  <a:gd name="T14" fmla="*/ 0 w 90"/>
                  <a:gd name="T15" fmla="*/ 91 h 91"/>
                  <a:gd name="T16" fmla="*/ 90 w 90"/>
                  <a:gd name="T17" fmla="*/ 91 h 91"/>
                  <a:gd name="T18" fmla="*/ 90 w 90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0" h="91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moveTo>
                      <a:pt x="90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0" y="91"/>
                    </a:lnTo>
                    <a:lnTo>
                      <a:pt x="9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36" name="Freeform 128">
                <a:extLst>
                  <a:ext uri="{FF2B5EF4-FFF2-40B4-BE49-F238E27FC236}">
                    <a16:creationId xmlns:a16="http://schemas.microsoft.com/office/drawing/2014/main" id="{337062BD-20F3-4E80-A46E-304BF3DE1CE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882" y="2407"/>
                <a:ext cx="91" cy="91"/>
              </a:xfrm>
              <a:custGeom>
                <a:avLst/>
                <a:gdLst>
                  <a:gd name="T0" fmla="*/ 2 w 91"/>
                  <a:gd name="T1" fmla="*/ 88 h 91"/>
                  <a:gd name="T2" fmla="*/ 2 w 91"/>
                  <a:gd name="T3" fmla="*/ 3 h 91"/>
                  <a:gd name="T4" fmla="*/ 89 w 91"/>
                  <a:gd name="T5" fmla="*/ 3 h 91"/>
                  <a:gd name="T6" fmla="*/ 89 w 91"/>
                  <a:gd name="T7" fmla="*/ 88 h 91"/>
                  <a:gd name="T8" fmla="*/ 2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2" y="88"/>
                    </a:moveTo>
                    <a:lnTo>
                      <a:pt x="2" y="3"/>
                    </a:lnTo>
                    <a:lnTo>
                      <a:pt x="89" y="3"/>
                    </a:lnTo>
                    <a:lnTo>
                      <a:pt x="89" y="88"/>
                    </a:lnTo>
                    <a:lnTo>
                      <a:pt x="2" y="88"/>
                    </a:lnTo>
                    <a:close/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37" name="Freeform 129">
                <a:extLst>
                  <a:ext uri="{FF2B5EF4-FFF2-40B4-BE49-F238E27FC236}">
                    <a16:creationId xmlns:a16="http://schemas.microsoft.com/office/drawing/2014/main" id="{C4D9369F-3961-4BCA-8045-8742EF7FD7B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882" y="2407"/>
                <a:ext cx="91" cy="91"/>
              </a:xfrm>
              <a:custGeom>
                <a:avLst/>
                <a:gdLst>
                  <a:gd name="T0" fmla="*/ 2 w 91"/>
                  <a:gd name="T1" fmla="*/ 88 h 91"/>
                  <a:gd name="T2" fmla="*/ 2 w 91"/>
                  <a:gd name="T3" fmla="*/ 3 h 91"/>
                  <a:gd name="T4" fmla="*/ 89 w 91"/>
                  <a:gd name="T5" fmla="*/ 3 h 91"/>
                  <a:gd name="T6" fmla="*/ 89 w 91"/>
                  <a:gd name="T7" fmla="*/ 88 h 91"/>
                  <a:gd name="T8" fmla="*/ 2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2" y="88"/>
                    </a:moveTo>
                    <a:lnTo>
                      <a:pt x="2" y="3"/>
                    </a:lnTo>
                    <a:lnTo>
                      <a:pt x="89" y="3"/>
                    </a:lnTo>
                    <a:lnTo>
                      <a:pt x="89" y="88"/>
                    </a:lnTo>
                    <a:lnTo>
                      <a:pt x="2" y="88"/>
                    </a:lnTo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38" name="Freeform 130">
                <a:extLst>
                  <a:ext uri="{FF2B5EF4-FFF2-40B4-BE49-F238E27FC236}">
                    <a16:creationId xmlns:a16="http://schemas.microsoft.com/office/drawing/2014/main" id="{0EB48BFF-E072-4C3E-B4D9-2574CB44F20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61" y="2407"/>
                <a:ext cx="91" cy="91"/>
              </a:xfrm>
              <a:custGeom>
                <a:avLst/>
                <a:gdLst>
                  <a:gd name="T0" fmla="*/ 3 w 91"/>
                  <a:gd name="T1" fmla="*/ 88 h 91"/>
                  <a:gd name="T2" fmla="*/ 3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3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close/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39" name="Freeform 131">
                <a:extLst>
                  <a:ext uri="{FF2B5EF4-FFF2-40B4-BE49-F238E27FC236}">
                    <a16:creationId xmlns:a16="http://schemas.microsoft.com/office/drawing/2014/main" id="{78E18343-4D9F-4D40-8457-9FB8D080E73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61" y="2407"/>
                <a:ext cx="91" cy="91"/>
              </a:xfrm>
              <a:custGeom>
                <a:avLst/>
                <a:gdLst>
                  <a:gd name="T0" fmla="*/ 3 w 91"/>
                  <a:gd name="T1" fmla="*/ 88 h 91"/>
                  <a:gd name="T2" fmla="*/ 3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3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3" y="88"/>
                    </a:moveTo>
                    <a:lnTo>
                      <a:pt x="3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3" y="88"/>
                    </a:lnTo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40" name="Freeform 132">
                <a:extLst>
                  <a:ext uri="{FF2B5EF4-FFF2-40B4-BE49-F238E27FC236}">
                    <a16:creationId xmlns:a16="http://schemas.microsoft.com/office/drawing/2014/main" id="{16D12EC4-A22F-4F18-AEAF-B18CA9F981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40" y="2407"/>
                <a:ext cx="91" cy="91"/>
              </a:xfrm>
              <a:custGeom>
                <a:avLst/>
                <a:gdLst>
                  <a:gd name="T0" fmla="*/ 91 w 91"/>
                  <a:gd name="T1" fmla="*/ 0 h 91"/>
                  <a:gd name="T2" fmla="*/ 19 w 91"/>
                  <a:gd name="T3" fmla="*/ 0 h 91"/>
                  <a:gd name="T4" fmla="*/ 23 w 91"/>
                  <a:gd name="T5" fmla="*/ 3 h 91"/>
                  <a:gd name="T6" fmla="*/ 88 w 91"/>
                  <a:gd name="T7" fmla="*/ 3 h 91"/>
                  <a:gd name="T8" fmla="*/ 88 w 91"/>
                  <a:gd name="T9" fmla="*/ 88 h 91"/>
                  <a:gd name="T10" fmla="*/ 3 w 91"/>
                  <a:gd name="T11" fmla="*/ 88 h 91"/>
                  <a:gd name="T12" fmla="*/ 3 w 91"/>
                  <a:gd name="T13" fmla="*/ 62 h 91"/>
                  <a:gd name="T14" fmla="*/ 0 w 91"/>
                  <a:gd name="T15" fmla="*/ 62 h 91"/>
                  <a:gd name="T16" fmla="*/ 0 w 91"/>
                  <a:gd name="T17" fmla="*/ 91 h 91"/>
                  <a:gd name="T18" fmla="*/ 91 w 91"/>
                  <a:gd name="T19" fmla="*/ 91 h 91"/>
                  <a:gd name="T20" fmla="*/ 91 w 91"/>
                  <a:gd name="T21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1" h="91">
                    <a:moveTo>
                      <a:pt x="91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20" y="1"/>
                      <a:pt x="22" y="2"/>
                      <a:pt x="23" y="3"/>
                    </a:cubicBezTo>
                    <a:cubicBezTo>
                      <a:pt x="88" y="3"/>
                      <a:pt x="88" y="3"/>
                      <a:pt x="88" y="3"/>
                    </a:cubicBezTo>
                    <a:cubicBezTo>
                      <a:pt x="88" y="88"/>
                      <a:pt x="88" y="88"/>
                      <a:pt x="88" y="88"/>
                    </a:cubicBezTo>
                    <a:cubicBezTo>
                      <a:pt x="3" y="88"/>
                      <a:pt x="3" y="88"/>
                      <a:pt x="3" y="88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2" y="62"/>
                      <a:pt x="1" y="62"/>
                      <a:pt x="0" y="6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91" y="91"/>
                      <a:pt x="91" y="91"/>
                      <a:pt x="91" y="91"/>
                    </a:cubicBezTo>
                    <a:cubicBezTo>
                      <a:pt x="91" y="0"/>
                      <a:pt x="91" y="0"/>
                      <a:pt x="9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41" name="Freeform 133">
                <a:extLst>
                  <a:ext uri="{FF2B5EF4-FFF2-40B4-BE49-F238E27FC236}">
                    <a16:creationId xmlns:a16="http://schemas.microsoft.com/office/drawing/2014/main" id="{9F306EC4-F0E9-4636-A60B-1FE065A5FB2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519" y="2407"/>
                <a:ext cx="90" cy="91"/>
              </a:xfrm>
              <a:custGeom>
                <a:avLst/>
                <a:gdLst>
                  <a:gd name="T0" fmla="*/ 88 w 90"/>
                  <a:gd name="T1" fmla="*/ 39 h 91"/>
                  <a:gd name="T2" fmla="*/ 88 w 90"/>
                  <a:gd name="T3" fmla="*/ 58 h 91"/>
                  <a:gd name="T4" fmla="*/ 90 w 90"/>
                  <a:gd name="T5" fmla="*/ 55 h 91"/>
                  <a:gd name="T6" fmla="*/ 90 w 90"/>
                  <a:gd name="T7" fmla="*/ 45 h 91"/>
                  <a:gd name="T8" fmla="*/ 88 w 90"/>
                  <a:gd name="T9" fmla="*/ 39 h 91"/>
                  <a:gd name="T10" fmla="*/ 88 w 90"/>
                  <a:gd name="T11" fmla="*/ 4 h 91"/>
                  <a:gd name="T12" fmla="*/ 88 w 90"/>
                  <a:gd name="T13" fmla="*/ 17 h 91"/>
                  <a:gd name="T14" fmla="*/ 90 w 90"/>
                  <a:gd name="T15" fmla="*/ 11 h 91"/>
                  <a:gd name="T16" fmla="*/ 90 w 90"/>
                  <a:gd name="T17" fmla="*/ 8 h 91"/>
                  <a:gd name="T18" fmla="*/ 88 w 90"/>
                  <a:gd name="T19" fmla="*/ 4 h 91"/>
                  <a:gd name="T20" fmla="*/ 86 w 90"/>
                  <a:gd name="T21" fmla="*/ 0 h 91"/>
                  <a:gd name="T22" fmla="*/ 0 w 90"/>
                  <a:gd name="T23" fmla="*/ 0 h 91"/>
                  <a:gd name="T24" fmla="*/ 0 w 90"/>
                  <a:gd name="T25" fmla="*/ 91 h 91"/>
                  <a:gd name="T26" fmla="*/ 90 w 90"/>
                  <a:gd name="T27" fmla="*/ 91 h 91"/>
                  <a:gd name="T28" fmla="*/ 90 w 90"/>
                  <a:gd name="T29" fmla="*/ 71 h 91"/>
                  <a:gd name="T30" fmla="*/ 88 w 90"/>
                  <a:gd name="T31" fmla="*/ 68 h 91"/>
                  <a:gd name="T32" fmla="*/ 88 w 90"/>
                  <a:gd name="T33" fmla="*/ 88 h 91"/>
                  <a:gd name="T34" fmla="*/ 2 w 90"/>
                  <a:gd name="T35" fmla="*/ 88 h 91"/>
                  <a:gd name="T36" fmla="*/ 2 w 90"/>
                  <a:gd name="T37" fmla="*/ 3 h 91"/>
                  <a:gd name="T38" fmla="*/ 87 w 90"/>
                  <a:gd name="T39" fmla="*/ 3 h 91"/>
                  <a:gd name="T40" fmla="*/ 86 w 90"/>
                  <a:gd name="T41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0" h="91">
                    <a:moveTo>
                      <a:pt x="88" y="39"/>
                    </a:moveTo>
                    <a:cubicBezTo>
                      <a:pt x="88" y="58"/>
                      <a:pt x="88" y="58"/>
                      <a:pt x="88" y="58"/>
                    </a:cubicBezTo>
                    <a:cubicBezTo>
                      <a:pt x="88" y="57"/>
                      <a:pt x="89" y="56"/>
                      <a:pt x="90" y="55"/>
                    </a:cubicBezTo>
                    <a:cubicBezTo>
                      <a:pt x="90" y="45"/>
                      <a:pt x="90" y="45"/>
                      <a:pt x="90" y="45"/>
                    </a:cubicBezTo>
                    <a:cubicBezTo>
                      <a:pt x="89" y="43"/>
                      <a:pt x="88" y="41"/>
                      <a:pt x="88" y="39"/>
                    </a:cubicBezTo>
                    <a:moveTo>
                      <a:pt x="88" y="4"/>
                    </a:moveTo>
                    <a:cubicBezTo>
                      <a:pt x="88" y="17"/>
                      <a:pt x="88" y="17"/>
                      <a:pt x="88" y="17"/>
                    </a:cubicBezTo>
                    <a:cubicBezTo>
                      <a:pt x="88" y="15"/>
                      <a:pt x="89" y="13"/>
                      <a:pt x="90" y="11"/>
                    </a:cubicBezTo>
                    <a:cubicBezTo>
                      <a:pt x="90" y="8"/>
                      <a:pt x="90" y="8"/>
                      <a:pt x="90" y="8"/>
                    </a:cubicBezTo>
                    <a:cubicBezTo>
                      <a:pt x="89" y="7"/>
                      <a:pt x="88" y="6"/>
                      <a:pt x="88" y="4"/>
                    </a:cubicBezTo>
                    <a:moveTo>
                      <a:pt x="8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90" y="91"/>
                      <a:pt x="90" y="91"/>
                      <a:pt x="90" y="91"/>
                    </a:cubicBezTo>
                    <a:cubicBezTo>
                      <a:pt x="90" y="71"/>
                      <a:pt x="90" y="71"/>
                      <a:pt x="90" y="71"/>
                    </a:cubicBezTo>
                    <a:cubicBezTo>
                      <a:pt x="89" y="71"/>
                      <a:pt x="88" y="69"/>
                      <a:pt x="88" y="68"/>
                    </a:cubicBezTo>
                    <a:cubicBezTo>
                      <a:pt x="88" y="88"/>
                      <a:pt x="88" y="88"/>
                      <a:pt x="88" y="88"/>
                    </a:cubicBezTo>
                    <a:cubicBezTo>
                      <a:pt x="2" y="88"/>
                      <a:pt x="2" y="88"/>
                      <a:pt x="2" y="88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7" y="2"/>
                      <a:pt x="86" y="1"/>
                      <a:pt x="8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42" name="Freeform 134">
                <a:extLst>
                  <a:ext uri="{FF2B5EF4-FFF2-40B4-BE49-F238E27FC236}">
                    <a16:creationId xmlns:a16="http://schemas.microsoft.com/office/drawing/2014/main" id="{BA460C92-9461-4479-A3DE-81F1100D6FB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98" y="2407"/>
                <a:ext cx="91" cy="91"/>
              </a:xfrm>
              <a:custGeom>
                <a:avLst/>
                <a:gdLst>
                  <a:gd name="T0" fmla="*/ 2 w 91"/>
                  <a:gd name="T1" fmla="*/ 88 h 91"/>
                  <a:gd name="T2" fmla="*/ 2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2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close/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43" name="Freeform 135">
                <a:extLst>
                  <a:ext uri="{FF2B5EF4-FFF2-40B4-BE49-F238E27FC236}">
                    <a16:creationId xmlns:a16="http://schemas.microsoft.com/office/drawing/2014/main" id="{79CB0F38-2866-4312-A77E-40046F73868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98" y="2407"/>
                <a:ext cx="91" cy="91"/>
              </a:xfrm>
              <a:custGeom>
                <a:avLst/>
                <a:gdLst>
                  <a:gd name="T0" fmla="*/ 2 w 91"/>
                  <a:gd name="T1" fmla="*/ 88 h 91"/>
                  <a:gd name="T2" fmla="*/ 2 w 91"/>
                  <a:gd name="T3" fmla="*/ 3 h 91"/>
                  <a:gd name="T4" fmla="*/ 88 w 91"/>
                  <a:gd name="T5" fmla="*/ 3 h 91"/>
                  <a:gd name="T6" fmla="*/ 88 w 91"/>
                  <a:gd name="T7" fmla="*/ 88 h 91"/>
                  <a:gd name="T8" fmla="*/ 2 w 91"/>
                  <a:gd name="T9" fmla="*/ 88 h 91"/>
                  <a:gd name="T10" fmla="*/ 91 w 91"/>
                  <a:gd name="T11" fmla="*/ 0 h 91"/>
                  <a:gd name="T12" fmla="*/ 0 w 91"/>
                  <a:gd name="T13" fmla="*/ 0 h 91"/>
                  <a:gd name="T14" fmla="*/ 0 w 91"/>
                  <a:gd name="T15" fmla="*/ 91 h 91"/>
                  <a:gd name="T16" fmla="*/ 91 w 91"/>
                  <a:gd name="T17" fmla="*/ 91 h 91"/>
                  <a:gd name="T18" fmla="*/ 91 w 91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2" y="88"/>
                    </a:moveTo>
                    <a:lnTo>
                      <a:pt x="2" y="3"/>
                    </a:lnTo>
                    <a:lnTo>
                      <a:pt x="88" y="3"/>
                    </a:lnTo>
                    <a:lnTo>
                      <a:pt x="88" y="88"/>
                    </a:lnTo>
                    <a:lnTo>
                      <a:pt x="2" y="88"/>
                    </a:lnTo>
                    <a:moveTo>
                      <a:pt x="91" y="0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91" y="91"/>
                    </a:lnTo>
                    <a:lnTo>
                      <a:pt x="9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44" name="Oval 136">
                <a:extLst>
                  <a:ext uri="{FF2B5EF4-FFF2-40B4-BE49-F238E27FC236}">
                    <a16:creationId xmlns:a16="http://schemas.microsoft.com/office/drawing/2014/main" id="{75CB8387-9132-4E76-9EBA-BBFCD9BEBF7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207" y="2206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45" name="Oval 137">
                <a:extLst>
                  <a:ext uri="{FF2B5EF4-FFF2-40B4-BE49-F238E27FC236}">
                    <a16:creationId xmlns:a16="http://schemas.microsoft.com/office/drawing/2014/main" id="{2901BACE-7D42-416E-B82D-C283311B9E0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62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46" name="Oval 138">
                <a:extLst>
                  <a:ext uri="{FF2B5EF4-FFF2-40B4-BE49-F238E27FC236}">
                    <a16:creationId xmlns:a16="http://schemas.microsoft.com/office/drawing/2014/main" id="{3A79332B-A20E-49CC-B7AB-A454D4EE9C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18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47" name="Oval 139">
                <a:extLst>
                  <a:ext uri="{FF2B5EF4-FFF2-40B4-BE49-F238E27FC236}">
                    <a16:creationId xmlns:a16="http://schemas.microsoft.com/office/drawing/2014/main" id="{2455BBC2-FD70-47A4-9010-E23EC1DE64E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74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48" name="Oval 140">
                <a:extLst>
                  <a:ext uri="{FF2B5EF4-FFF2-40B4-BE49-F238E27FC236}">
                    <a16:creationId xmlns:a16="http://schemas.microsoft.com/office/drawing/2014/main" id="{585692E2-0227-4422-9723-F608141C0F3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30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49" name="Oval 141">
                <a:extLst>
                  <a:ext uri="{FF2B5EF4-FFF2-40B4-BE49-F238E27FC236}">
                    <a16:creationId xmlns:a16="http://schemas.microsoft.com/office/drawing/2014/main" id="{4D88F155-6420-4E3E-A0E1-782C47F4A76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86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50" name="Oval 142">
                <a:extLst>
                  <a:ext uri="{FF2B5EF4-FFF2-40B4-BE49-F238E27FC236}">
                    <a16:creationId xmlns:a16="http://schemas.microsoft.com/office/drawing/2014/main" id="{D6990E27-1EF1-448B-A4A1-62F6035B244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41" y="2206"/>
                <a:ext cx="16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51" name="Oval 143">
                <a:extLst>
                  <a:ext uri="{FF2B5EF4-FFF2-40B4-BE49-F238E27FC236}">
                    <a16:creationId xmlns:a16="http://schemas.microsoft.com/office/drawing/2014/main" id="{10584399-920B-4BBA-BB76-85DAB1F1BB9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97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52" name="Oval 144">
                <a:extLst>
                  <a:ext uri="{FF2B5EF4-FFF2-40B4-BE49-F238E27FC236}">
                    <a16:creationId xmlns:a16="http://schemas.microsoft.com/office/drawing/2014/main" id="{2312BC2F-B16D-4CF1-B0C2-0FEAFF58849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53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53" name="Oval 145">
                <a:extLst>
                  <a:ext uri="{FF2B5EF4-FFF2-40B4-BE49-F238E27FC236}">
                    <a16:creationId xmlns:a16="http://schemas.microsoft.com/office/drawing/2014/main" id="{D2F11562-DF9B-4B8F-8EF7-FB795593CC4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08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54" name="Oval 146">
                <a:extLst>
                  <a:ext uri="{FF2B5EF4-FFF2-40B4-BE49-F238E27FC236}">
                    <a16:creationId xmlns:a16="http://schemas.microsoft.com/office/drawing/2014/main" id="{2DC5D372-93FE-49A9-93D6-0D3632E4CC2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64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55" name="Oval 147">
                <a:extLst>
                  <a:ext uri="{FF2B5EF4-FFF2-40B4-BE49-F238E27FC236}">
                    <a16:creationId xmlns:a16="http://schemas.microsoft.com/office/drawing/2014/main" id="{68277CCC-9474-4D38-89B9-29E61B9D52C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20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56" name="Oval 148">
                <a:extLst>
                  <a:ext uri="{FF2B5EF4-FFF2-40B4-BE49-F238E27FC236}">
                    <a16:creationId xmlns:a16="http://schemas.microsoft.com/office/drawing/2014/main" id="{59B02453-A096-4C66-B1B5-149C8EBAFD1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76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57" name="Oval 149">
                <a:extLst>
                  <a:ext uri="{FF2B5EF4-FFF2-40B4-BE49-F238E27FC236}">
                    <a16:creationId xmlns:a16="http://schemas.microsoft.com/office/drawing/2014/main" id="{81CE60B4-3B5B-459C-8507-35E695BA6AF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32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58" name="Oval 150">
                <a:extLst>
                  <a:ext uri="{FF2B5EF4-FFF2-40B4-BE49-F238E27FC236}">
                    <a16:creationId xmlns:a16="http://schemas.microsoft.com/office/drawing/2014/main" id="{7A4E6550-2A7C-461D-98B6-F46C3B18D2C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87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59" name="Oval 151">
                <a:extLst>
                  <a:ext uri="{FF2B5EF4-FFF2-40B4-BE49-F238E27FC236}">
                    <a16:creationId xmlns:a16="http://schemas.microsoft.com/office/drawing/2014/main" id="{4703BF53-A98A-49E4-985B-3F45553E462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43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60" name="Oval 152">
                <a:extLst>
                  <a:ext uri="{FF2B5EF4-FFF2-40B4-BE49-F238E27FC236}">
                    <a16:creationId xmlns:a16="http://schemas.microsoft.com/office/drawing/2014/main" id="{CFDBE2A1-92A1-499C-97A9-6F2D75F2B87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99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61" name="Oval 153">
                <a:extLst>
                  <a:ext uri="{FF2B5EF4-FFF2-40B4-BE49-F238E27FC236}">
                    <a16:creationId xmlns:a16="http://schemas.microsoft.com/office/drawing/2014/main" id="{F6BD8DC0-2F8E-4177-954D-59C21365C37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55" y="2206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62" name="Oval 154">
                <a:extLst>
                  <a:ext uri="{FF2B5EF4-FFF2-40B4-BE49-F238E27FC236}">
                    <a16:creationId xmlns:a16="http://schemas.microsoft.com/office/drawing/2014/main" id="{4CBA69C6-6AAC-47FD-B640-6791806B3A1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10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63" name="Oval 155">
                <a:extLst>
                  <a:ext uri="{FF2B5EF4-FFF2-40B4-BE49-F238E27FC236}">
                    <a16:creationId xmlns:a16="http://schemas.microsoft.com/office/drawing/2014/main" id="{04A2A2A8-91E3-4092-B52B-1F8DA7CF90B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66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64" name="Oval 156">
                <a:extLst>
                  <a:ext uri="{FF2B5EF4-FFF2-40B4-BE49-F238E27FC236}">
                    <a16:creationId xmlns:a16="http://schemas.microsoft.com/office/drawing/2014/main" id="{F251BABE-BB8E-4397-AB03-FA90E016E6F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22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65" name="Oval 157">
                <a:extLst>
                  <a:ext uri="{FF2B5EF4-FFF2-40B4-BE49-F238E27FC236}">
                    <a16:creationId xmlns:a16="http://schemas.microsoft.com/office/drawing/2014/main" id="{2DCEC8DB-E4F8-4D22-9557-94E59610CD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78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66" name="Oval 158">
                <a:extLst>
                  <a:ext uri="{FF2B5EF4-FFF2-40B4-BE49-F238E27FC236}">
                    <a16:creationId xmlns:a16="http://schemas.microsoft.com/office/drawing/2014/main" id="{4D025DDE-B9BC-4C76-AA30-0F8244D5A5C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33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67" name="Oval 159">
                <a:extLst>
                  <a:ext uri="{FF2B5EF4-FFF2-40B4-BE49-F238E27FC236}">
                    <a16:creationId xmlns:a16="http://schemas.microsoft.com/office/drawing/2014/main" id="{C7E67DA0-32C8-43CA-B251-7A255B9C6EC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9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68" name="Oval 160">
                <a:extLst>
                  <a:ext uri="{FF2B5EF4-FFF2-40B4-BE49-F238E27FC236}">
                    <a16:creationId xmlns:a16="http://schemas.microsoft.com/office/drawing/2014/main" id="{66B01BD4-3804-43C9-ADDD-C5F0A20BF1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45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69" name="Oval 161">
                <a:extLst>
                  <a:ext uri="{FF2B5EF4-FFF2-40B4-BE49-F238E27FC236}">
                    <a16:creationId xmlns:a16="http://schemas.microsoft.com/office/drawing/2014/main" id="{89D23564-E217-4E7F-9FE5-6FD20324958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01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70" name="Oval 162">
                <a:extLst>
                  <a:ext uri="{FF2B5EF4-FFF2-40B4-BE49-F238E27FC236}">
                    <a16:creationId xmlns:a16="http://schemas.microsoft.com/office/drawing/2014/main" id="{D2DF87C2-8651-472C-A9CD-F19946C065A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7" y="2206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71" name="Oval 163">
                <a:extLst>
                  <a:ext uri="{FF2B5EF4-FFF2-40B4-BE49-F238E27FC236}">
                    <a16:creationId xmlns:a16="http://schemas.microsoft.com/office/drawing/2014/main" id="{C888E43F-8490-4561-BDE6-20D74D7AA6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12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72" name="Oval 164">
                <a:extLst>
                  <a:ext uri="{FF2B5EF4-FFF2-40B4-BE49-F238E27FC236}">
                    <a16:creationId xmlns:a16="http://schemas.microsoft.com/office/drawing/2014/main" id="{D3F30B9E-77CE-4F49-A3EC-2C682923D00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68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73" name="Oval 165">
                <a:extLst>
                  <a:ext uri="{FF2B5EF4-FFF2-40B4-BE49-F238E27FC236}">
                    <a16:creationId xmlns:a16="http://schemas.microsoft.com/office/drawing/2014/main" id="{A48EEDE4-BEC3-4BBF-92FA-661FD255411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3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74" name="Oval 166">
                <a:extLst>
                  <a:ext uri="{FF2B5EF4-FFF2-40B4-BE49-F238E27FC236}">
                    <a16:creationId xmlns:a16="http://schemas.microsoft.com/office/drawing/2014/main" id="{AC5CA304-D0A3-4DB2-A3A1-1EBB4C6C6D1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79" y="2206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75" name="Oval 167">
                <a:extLst>
                  <a:ext uri="{FF2B5EF4-FFF2-40B4-BE49-F238E27FC236}">
                    <a16:creationId xmlns:a16="http://schemas.microsoft.com/office/drawing/2014/main" id="{A37BBCAB-EA4E-47EA-B0E0-BD7510676DF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207" y="2162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76" name="Oval 168">
                <a:extLst>
                  <a:ext uri="{FF2B5EF4-FFF2-40B4-BE49-F238E27FC236}">
                    <a16:creationId xmlns:a16="http://schemas.microsoft.com/office/drawing/2014/main" id="{51440C25-A4C4-47A9-9C65-FA4EE1345EA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62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77" name="Oval 169">
                <a:extLst>
                  <a:ext uri="{FF2B5EF4-FFF2-40B4-BE49-F238E27FC236}">
                    <a16:creationId xmlns:a16="http://schemas.microsoft.com/office/drawing/2014/main" id="{E1F1589C-3502-43AE-BA86-487E20BB721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18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78" name="Oval 170">
                <a:extLst>
                  <a:ext uri="{FF2B5EF4-FFF2-40B4-BE49-F238E27FC236}">
                    <a16:creationId xmlns:a16="http://schemas.microsoft.com/office/drawing/2014/main" id="{239BB80B-E33C-4569-B919-61D696E0372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74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79" name="Oval 171">
                <a:extLst>
                  <a:ext uri="{FF2B5EF4-FFF2-40B4-BE49-F238E27FC236}">
                    <a16:creationId xmlns:a16="http://schemas.microsoft.com/office/drawing/2014/main" id="{F7C9D6B3-649F-4AA5-A424-278F6FB020D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30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80" name="Oval 172">
                <a:extLst>
                  <a:ext uri="{FF2B5EF4-FFF2-40B4-BE49-F238E27FC236}">
                    <a16:creationId xmlns:a16="http://schemas.microsoft.com/office/drawing/2014/main" id="{71466CF4-8C2E-4A38-85E3-ED2EAAAF495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86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81" name="Oval 173">
                <a:extLst>
                  <a:ext uri="{FF2B5EF4-FFF2-40B4-BE49-F238E27FC236}">
                    <a16:creationId xmlns:a16="http://schemas.microsoft.com/office/drawing/2014/main" id="{B19AB683-F6ED-4B35-B0FA-60DAA005B3F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41" y="2162"/>
                <a:ext cx="16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82" name="Oval 174">
                <a:extLst>
                  <a:ext uri="{FF2B5EF4-FFF2-40B4-BE49-F238E27FC236}">
                    <a16:creationId xmlns:a16="http://schemas.microsoft.com/office/drawing/2014/main" id="{82747099-E2DD-49D7-8EEF-BA6D426D06E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97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83" name="Oval 175">
                <a:extLst>
                  <a:ext uri="{FF2B5EF4-FFF2-40B4-BE49-F238E27FC236}">
                    <a16:creationId xmlns:a16="http://schemas.microsoft.com/office/drawing/2014/main" id="{5DC649BD-F590-4BD1-9B95-F6CC3756BB5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53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84" name="Oval 176">
                <a:extLst>
                  <a:ext uri="{FF2B5EF4-FFF2-40B4-BE49-F238E27FC236}">
                    <a16:creationId xmlns:a16="http://schemas.microsoft.com/office/drawing/2014/main" id="{A16F4050-3CF9-4705-873E-3EF64D1F4BD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08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85" name="Oval 177">
                <a:extLst>
                  <a:ext uri="{FF2B5EF4-FFF2-40B4-BE49-F238E27FC236}">
                    <a16:creationId xmlns:a16="http://schemas.microsoft.com/office/drawing/2014/main" id="{3D5981DF-7DF9-4C39-A8ED-7BE36D31CAD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64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86" name="Oval 178">
                <a:extLst>
                  <a:ext uri="{FF2B5EF4-FFF2-40B4-BE49-F238E27FC236}">
                    <a16:creationId xmlns:a16="http://schemas.microsoft.com/office/drawing/2014/main" id="{FBAB05E8-C563-4F7F-9E20-EBFBADE8DB4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20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87" name="Oval 179">
                <a:extLst>
                  <a:ext uri="{FF2B5EF4-FFF2-40B4-BE49-F238E27FC236}">
                    <a16:creationId xmlns:a16="http://schemas.microsoft.com/office/drawing/2014/main" id="{CD1075FE-5000-41DD-A45E-B3647C66CC8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76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88" name="Oval 180">
                <a:extLst>
                  <a:ext uri="{FF2B5EF4-FFF2-40B4-BE49-F238E27FC236}">
                    <a16:creationId xmlns:a16="http://schemas.microsoft.com/office/drawing/2014/main" id="{BCB161BC-FE81-47D5-9298-3B785A1E76C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32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89" name="Oval 181">
                <a:extLst>
                  <a:ext uri="{FF2B5EF4-FFF2-40B4-BE49-F238E27FC236}">
                    <a16:creationId xmlns:a16="http://schemas.microsoft.com/office/drawing/2014/main" id="{3B46BF5F-8766-4A50-AE4C-AEF90449264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87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90" name="Oval 182">
                <a:extLst>
                  <a:ext uri="{FF2B5EF4-FFF2-40B4-BE49-F238E27FC236}">
                    <a16:creationId xmlns:a16="http://schemas.microsoft.com/office/drawing/2014/main" id="{C56047D5-1E18-49D9-A0C0-E80C53D3716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43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91" name="Oval 183">
                <a:extLst>
                  <a:ext uri="{FF2B5EF4-FFF2-40B4-BE49-F238E27FC236}">
                    <a16:creationId xmlns:a16="http://schemas.microsoft.com/office/drawing/2014/main" id="{627FABF3-3B80-4CC8-B473-38A5F1FC025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99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92" name="Oval 184">
                <a:extLst>
                  <a:ext uri="{FF2B5EF4-FFF2-40B4-BE49-F238E27FC236}">
                    <a16:creationId xmlns:a16="http://schemas.microsoft.com/office/drawing/2014/main" id="{5A908F2E-4714-4CE6-B5C3-B65FE58C8B9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55" y="2162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93" name="Oval 185">
                <a:extLst>
                  <a:ext uri="{FF2B5EF4-FFF2-40B4-BE49-F238E27FC236}">
                    <a16:creationId xmlns:a16="http://schemas.microsoft.com/office/drawing/2014/main" id="{D480A844-9BCF-4599-B67B-60CE9E2DF94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10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94" name="Oval 186">
                <a:extLst>
                  <a:ext uri="{FF2B5EF4-FFF2-40B4-BE49-F238E27FC236}">
                    <a16:creationId xmlns:a16="http://schemas.microsoft.com/office/drawing/2014/main" id="{D57C7B38-9121-4F31-9B7C-3E34CDB5056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66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95" name="Oval 187">
                <a:extLst>
                  <a:ext uri="{FF2B5EF4-FFF2-40B4-BE49-F238E27FC236}">
                    <a16:creationId xmlns:a16="http://schemas.microsoft.com/office/drawing/2014/main" id="{BCE04178-855D-4B28-8FA3-D57CCDCB8D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22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96" name="Oval 188">
                <a:extLst>
                  <a:ext uri="{FF2B5EF4-FFF2-40B4-BE49-F238E27FC236}">
                    <a16:creationId xmlns:a16="http://schemas.microsoft.com/office/drawing/2014/main" id="{4F2D3F8F-B4E3-40CA-914C-295AD7C94A2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78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97" name="Oval 189">
                <a:extLst>
                  <a:ext uri="{FF2B5EF4-FFF2-40B4-BE49-F238E27FC236}">
                    <a16:creationId xmlns:a16="http://schemas.microsoft.com/office/drawing/2014/main" id="{3156168C-6372-4E48-B8E4-4BF3F8C3FDC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33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98" name="Oval 190">
                <a:extLst>
                  <a:ext uri="{FF2B5EF4-FFF2-40B4-BE49-F238E27FC236}">
                    <a16:creationId xmlns:a16="http://schemas.microsoft.com/office/drawing/2014/main" id="{C9248D13-5222-4CA8-B82C-6D6A44F1223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9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599" name="Oval 191">
                <a:extLst>
                  <a:ext uri="{FF2B5EF4-FFF2-40B4-BE49-F238E27FC236}">
                    <a16:creationId xmlns:a16="http://schemas.microsoft.com/office/drawing/2014/main" id="{3D49E334-6AF2-459E-B8EF-2495EAE8D63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45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00" name="Oval 192">
                <a:extLst>
                  <a:ext uri="{FF2B5EF4-FFF2-40B4-BE49-F238E27FC236}">
                    <a16:creationId xmlns:a16="http://schemas.microsoft.com/office/drawing/2014/main" id="{28AF52DC-04A2-49BC-AC89-1B27890AE84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01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01" name="Oval 193">
                <a:extLst>
                  <a:ext uri="{FF2B5EF4-FFF2-40B4-BE49-F238E27FC236}">
                    <a16:creationId xmlns:a16="http://schemas.microsoft.com/office/drawing/2014/main" id="{0C07CFDA-A4F4-4FAE-A8A1-313786D672F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7" y="2162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02" name="Oval 194">
                <a:extLst>
                  <a:ext uri="{FF2B5EF4-FFF2-40B4-BE49-F238E27FC236}">
                    <a16:creationId xmlns:a16="http://schemas.microsoft.com/office/drawing/2014/main" id="{C810CE87-F927-40EC-B17D-508A2EAB51C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12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03" name="Oval 195">
                <a:extLst>
                  <a:ext uri="{FF2B5EF4-FFF2-40B4-BE49-F238E27FC236}">
                    <a16:creationId xmlns:a16="http://schemas.microsoft.com/office/drawing/2014/main" id="{AF717C97-17C7-445E-B4C0-1C9097BEEBE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68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04" name="Oval 196">
                <a:extLst>
                  <a:ext uri="{FF2B5EF4-FFF2-40B4-BE49-F238E27FC236}">
                    <a16:creationId xmlns:a16="http://schemas.microsoft.com/office/drawing/2014/main" id="{8BCBA64F-9B7F-4871-80DD-70E06BA863A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3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05" name="Oval 197">
                <a:extLst>
                  <a:ext uri="{FF2B5EF4-FFF2-40B4-BE49-F238E27FC236}">
                    <a16:creationId xmlns:a16="http://schemas.microsoft.com/office/drawing/2014/main" id="{B36A158F-E5B0-479A-8E4D-FE90D8805B1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79" y="2162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06" name="Oval 198">
                <a:extLst>
                  <a:ext uri="{FF2B5EF4-FFF2-40B4-BE49-F238E27FC236}">
                    <a16:creationId xmlns:a16="http://schemas.microsoft.com/office/drawing/2014/main" id="{E82DFF67-222B-44E8-9DDB-6C8D81AE35B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207" y="2117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07" name="Oval 199">
                <a:extLst>
                  <a:ext uri="{FF2B5EF4-FFF2-40B4-BE49-F238E27FC236}">
                    <a16:creationId xmlns:a16="http://schemas.microsoft.com/office/drawing/2014/main" id="{82C74D3A-6364-417B-8EB2-9D28C7F1B09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62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08" name="Oval 200">
                <a:extLst>
                  <a:ext uri="{FF2B5EF4-FFF2-40B4-BE49-F238E27FC236}">
                    <a16:creationId xmlns:a16="http://schemas.microsoft.com/office/drawing/2014/main" id="{944C1890-2621-4D6B-9F99-AD9C8661DD8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18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09" name="Oval 201">
                <a:extLst>
                  <a:ext uri="{FF2B5EF4-FFF2-40B4-BE49-F238E27FC236}">
                    <a16:creationId xmlns:a16="http://schemas.microsoft.com/office/drawing/2014/main" id="{8F9A4A53-4A37-40A4-BAC4-4FC1D3E52C2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74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10" name="Oval 202">
                <a:extLst>
                  <a:ext uri="{FF2B5EF4-FFF2-40B4-BE49-F238E27FC236}">
                    <a16:creationId xmlns:a16="http://schemas.microsoft.com/office/drawing/2014/main" id="{85E3AC05-C9B6-4C06-9A31-9E8103B63EE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30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11" name="Oval 203">
                <a:extLst>
                  <a:ext uri="{FF2B5EF4-FFF2-40B4-BE49-F238E27FC236}">
                    <a16:creationId xmlns:a16="http://schemas.microsoft.com/office/drawing/2014/main" id="{8A58E3F2-B19F-4973-9015-E1B00091A7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86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12" name="Oval 204">
                <a:extLst>
                  <a:ext uri="{FF2B5EF4-FFF2-40B4-BE49-F238E27FC236}">
                    <a16:creationId xmlns:a16="http://schemas.microsoft.com/office/drawing/2014/main" id="{DF78E6E3-1807-4E17-82FA-5730EB21AE0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53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13" name="Oval 205">
                <a:extLst>
                  <a:ext uri="{FF2B5EF4-FFF2-40B4-BE49-F238E27FC236}">
                    <a16:creationId xmlns:a16="http://schemas.microsoft.com/office/drawing/2014/main" id="{0C454838-D8CC-4A5F-BA64-4C23389FF7C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08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14" name="Oval 206">
                <a:extLst>
                  <a:ext uri="{FF2B5EF4-FFF2-40B4-BE49-F238E27FC236}">
                    <a16:creationId xmlns:a16="http://schemas.microsoft.com/office/drawing/2014/main" id="{C91A2145-1436-419F-8280-43DA1B8063D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64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15" name="Oval 207">
                <a:extLst>
                  <a:ext uri="{FF2B5EF4-FFF2-40B4-BE49-F238E27FC236}">
                    <a16:creationId xmlns:a16="http://schemas.microsoft.com/office/drawing/2014/main" id="{51C5C149-787C-4641-8562-0B9C79A3E61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20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16" name="Oval 208">
                <a:extLst>
                  <a:ext uri="{FF2B5EF4-FFF2-40B4-BE49-F238E27FC236}">
                    <a16:creationId xmlns:a16="http://schemas.microsoft.com/office/drawing/2014/main" id="{18A24A4D-1B57-4C65-859A-A065DFC26A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76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17" name="Oval 209">
                <a:extLst>
                  <a:ext uri="{FF2B5EF4-FFF2-40B4-BE49-F238E27FC236}">
                    <a16:creationId xmlns:a16="http://schemas.microsoft.com/office/drawing/2014/main" id="{685B8D4D-323C-46C6-8742-9C528D9DA7C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32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18" name="Oval 210">
                <a:extLst>
                  <a:ext uri="{FF2B5EF4-FFF2-40B4-BE49-F238E27FC236}">
                    <a16:creationId xmlns:a16="http://schemas.microsoft.com/office/drawing/2014/main" id="{71471B19-F642-423A-8DB8-E1F74146891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87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19" name="Oval 211">
                <a:extLst>
                  <a:ext uri="{FF2B5EF4-FFF2-40B4-BE49-F238E27FC236}">
                    <a16:creationId xmlns:a16="http://schemas.microsoft.com/office/drawing/2014/main" id="{5EBBE09E-F9A6-4004-BC80-FA362A37FDA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43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20" name="Oval 212">
                <a:extLst>
                  <a:ext uri="{FF2B5EF4-FFF2-40B4-BE49-F238E27FC236}">
                    <a16:creationId xmlns:a16="http://schemas.microsoft.com/office/drawing/2014/main" id="{2B79A678-0979-44C8-B1F3-73113B21F7C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99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21" name="Oval 213">
                <a:extLst>
                  <a:ext uri="{FF2B5EF4-FFF2-40B4-BE49-F238E27FC236}">
                    <a16:creationId xmlns:a16="http://schemas.microsoft.com/office/drawing/2014/main" id="{02B063FD-4C0A-46EC-8F3E-D760487B453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55" y="2117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22" name="Oval 214">
                <a:extLst>
                  <a:ext uri="{FF2B5EF4-FFF2-40B4-BE49-F238E27FC236}">
                    <a16:creationId xmlns:a16="http://schemas.microsoft.com/office/drawing/2014/main" id="{CAA40411-1898-4283-B4BE-889B344B807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10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23" name="Oval 215">
                <a:extLst>
                  <a:ext uri="{FF2B5EF4-FFF2-40B4-BE49-F238E27FC236}">
                    <a16:creationId xmlns:a16="http://schemas.microsoft.com/office/drawing/2014/main" id="{1CDD56CC-948F-4BE6-A57C-D8C4989286B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66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24" name="Oval 216">
                <a:extLst>
                  <a:ext uri="{FF2B5EF4-FFF2-40B4-BE49-F238E27FC236}">
                    <a16:creationId xmlns:a16="http://schemas.microsoft.com/office/drawing/2014/main" id="{BEE37E1A-4FE9-4303-8813-B710D9E6857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22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25" name="Oval 217">
                <a:extLst>
                  <a:ext uri="{FF2B5EF4-FFF2-40B4-BE49-F238E27FC236}">
                    <a16:creationId xmlns:a16="http://schemas.microsoft.com/office/drawing/2014/main" id="{23B0F4DB-0A19-4881-8F8E-B9FCBF4C909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78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26" name="Oval 218">
                <a:extLst>
                  <a:ext uri="{FF2B5EF4-FFF2-40B4-BE49-F238E27FC236}">
                    <a16:creationId xmlns:a16="http://schemas.microsoft.com/office/drawing/2014/main" id="{05421EE2-4C79-4108-B676-7FA37B2937A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33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27" name="Oval 219">
                <a:extLst>
                  <a:ext uri="{FF2B5EF4-FFF2-40B4-BE49-F238E27FC236}">
                    <a16:creationId xmlns:a16="http://schemas.microsoft.com/office/drawing/2014/main" id="{1A6AC6DA-249C-4C03-9A5F-64B9A8615E4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9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28" name="Oval 220">
                <a:extLst>
                  <a:ext uri="{FF2B5EF4-FFF2-40B4-BE49-F238E27FC236}">
                    <a16:creationId xmlns:a16="http://schemas.microsoft.com/office/drawing/2014/main" id="{413DFAB6-A884-4A29-8B83-AEABAFDF08B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45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29" name="Oval 221">
                <a:extLst>
                  <a:ext uri="{FF2B5EF4-FFF2-40B4-BE49-F238E27FC236}">
                    <a16:creationId xmlns:a16="http://schemas.microsoft.com/office/drawing/2014/main" id="{642B5FD1-2F20-4F96-A4C3-8C4446AF2FF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01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30" name="Oval 222">
                <a:extLst>
                  <a:ext uri="{FF2B5EF4-FFF2-40B4-BE49-F238E27FC236}">
                    <a16:creationId xmlns:a16="http://schemas.microsoft.com/office/drawing/2014/main" id="{5F83C0D0-5CAF-4920-8413-4F8F45DBE01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7" y="2117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31" name="Oval 223">
                <a:extLst>
                  <a:ext uri="{FF2B5EF4-FFF2-40B4-BE49-F238E27FC236}">
                    <a16:creationId xmlns:a16="http://schemas.microsoft.com/office/drawing/2014/main" id="{096C1DC1-3DCE-4768-A4E6-D10A8D6A16E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12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32" name="Oval 224">
                <a:extLst>
                  <a:ext uri="{FF2B5EF4-FFF2-40B4-BE49-F238E27FC236}">
                    <a16:creationId xmlns:a16="http://schemas.microsoft.com/office/drawing/2014/main" id="{2F456289-69E0-4483-8526-0A95FD55F46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68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33" name="Oval 225">
                <a:extLst>
                  <a:ext uri="{FF2B5EF4-FFF2-40B4-BE49-F238E27FC236}">
                    <a16:creationId xmlns:a16="http://schemas.microsoft.com/office/drawing/2014/main" id="{D08FD837-20CF-481B-9D93-881FC96C9B1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3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34" name="Oval 226">
                <a:extLst>
                  <a:ext uri="{FF2B5EF4-FFF2-40B4-BE49-F238E27FC236}">
                    <a16:creationId xmlns:a16="http://schemas.microsoft.com/office/drawing/2014/main" id="{D1A8DA43-2953-4EAB-8CAC-44EFA4BE51F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79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35" name="Oval 227">
                <a:extLst>
                  <a:ext uri="{FF2B5EF4-FFF2-40B4-BE49-F238E27FC236}">
                    <a16:creationId xmlns:a16="http://schemas.microsoft.com/office/drawing/2014/main" id="{27766C5B-2C11-48D3-8C94-32C3B8584A5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207" y="2073"/>
                <a:ext cx="14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36" name="Oval 228">
                <a:extLst>
                  <a:ext uri="{FF2B5EF4-FFF2-40B4-BE49-F238E27FC236}">
                    <a16:creationId xmlns:a16="http://schemas.microsoft.com/office/drawing/2014/main" id="{5D3E420A-5AB4-4136-999D-869D350EAD1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62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37" name="Oval 229">
                <a:extLst>
                  <a:ext uri="{FF2B5EF4-FFF2-40B4-BE49-F238E27FC236}">
                    <a16:creationId xmlns:a16="http://schemas.microsoft.com/office/drawing/2014/main" id="{5C362CD7-611A-4D52-9B30-5F8B02A75DF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18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38" name="Oval 230">
                <a:extLst>
                  <a:ext uri="{FF2B5EF4-FFF2-40B4-BE49-F238E27FC236}">
                    <a16:creationId xmlns:a16="http://schemas.microsoft.com/office/drawing/2014/main" id="{221C081D-CA3E-4D68-B081-E863847A9F4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74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39" name="Oval 231">
                <a:extLst>
                  <a:ext uri="{FF2B5EF4-FFF2-40B4-BE49-F238E27FC236}">
                    <a16:creationId xmlns:a16="http://schemas.microsoft.com/office/drawing/2014/main" id="{443C3CBD-27B1-4CAA-9A84-A131C250332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30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40" name="Oval 232">
                <a:extLst>
                  <a:ext uri="{FF2B5EF4-FFF2-40B4-BE49-F238E27FC236}">
                    <a16:creationId xmlns:a16="http://schemas.microsoft.com/office/drawing/2014/main" id="{E36D6056-9B36-4059-8BF7-FC142C1D7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86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41" name="Freeform 233">
                <a:extLst>
                  <a:ext uri="{FF2B5EF4-FFF2-40B4-BE49-F238E27FC236}">
                    <a16:creationId xmlns:a16="http://schemas.microsoft.com/office/drawing/2014/main" id="{7D8A0839-B47E-4537-BEAB-93A024ECC1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41" y="2073"/>
                <a:ext cx="16" cy="14"/>
              </a:xfrm>
              <a:custGeom>
                <a:avLst/>
                <a:gdLst>
                  <a:gd name="T0" fmla="*/ 7 w 15"/>
                  <a:gd name="T1" fmla="*/ 0 h 14"/>
                  <a:gd name="T2" fmla="*/ 0 w 15"/>
                  <a:gd name="T3" fmla="*/ 7 h 14"/>
                  <a:gd name="T4" fmla="*/ 1 w 15"/>
                  <a:gd name="T5" fmla="*/ 12 h 14"/>
                  <a:gd name="T6" fmla="*/ 5 w 15"/>
                  <a:gd name="T7" fmla="*/ 14 h 14"/>
                  <a:gd name="T8" fmla="*/ 7 w 15"/>
                  <a:gd name="T9" fmla="*/ 14 h 14"/>
                  <a:gd name="T10" fmla="*/ 15 w 15"/>
                  <a:gd name="T11" fmla="*/ 7 h 14"/>
                  <a:gd name="T12" fmla="*/ 7 w 15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4">
                    <a:moveTo>
                      <a:pt x="7" y="0"/>
                    </a:moveTo>
                    <a:cubicBezTo>
                      <a:pt x="3" y="0"/>
                      <a:pt x="0" y="3"/>
                      <a:pt x="0" y="7"/>
                    </a:cubicBezTo>
                    <a:cubicBezTo>
                      <a:pt x="0" y="9"/>
                      <a:pt x="0" y="10"/>
                      <a:pt x="1" y="12"/>
                    </a:cubicBezTo>
                    <a:cubicBezTo>
                      <a:pt x="3" y="12"/>
                      <a:pt x="4" y="13"/>
                      <a:pt x="5" y="14"/>
                    </a:cubicBezTo>
                    <a:cubicBezTo>
                      <a:pt x="6" y="14"/>
                      <a:pt x="7" y="14"/>
                      <a:pt x="7" y="14"/>
                    </a:cubicBezTo>
                    <a:cubicBezTo>
                      <a:pt x="11" y="14"/>
                      <a:pt x="15" y="11"/>
                      <a:pt x="15" y="7"/>
                    </a:cubicBezTo>
                    <a:cubicBezTo>
                      <a:pt x="15" y="3"/>
                      <a:pt x="11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42" name="Freeform 234">
                <a:extLst>
                  <a:ext uri="{FF2B5EF4-FFF2-40B4-BE49-F238E27FC236}">
                    <a16:creationId xmlns:a16="http://schemas.microsoft.com/office/drawing/2014/main" id="{BD2FEA5B-F3DE-4736-A7C1-135867A551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97" y="2073"/>
                <a:ext cx="15" cy="14"/>
              </a:xfrm>
              <a:custGeom>
                <a:avLst/>
                <a:gdLst>
                  <a:gd name="T0" fmla="*/ 7 w 15"/>
                  <a:gd name="T1" fmla="*/ 0 h 14"/>
                  <a:gd name="T2" fmla="*/ 0 w 15"/>
                  <a:gd name="T3" fmla="*/ 7 h 14"/>
                  <a:gd name="T4" fmla="*/ 6 w 15"/>
                  <a:gd name="T5" fmla="*/ 14 h 14"/>
                  <a:gd name="T6" fmla="*/ 14 w 15"/>
                  <a:gd name="T7" fmla="*/ 9 h 14"/>
                  <a:gd name="T8" fmla="*/ 15 w 15"/>
                  <a:gd name="T9" fmla="*/ 7 h 14"/>
                  <a:gd name="T10" fmla="*/ 7 w 15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4">
                    <a:moveTo>
                      <a:pt x="7" y="0"/>
                    </a:moveTo>
                    <a:cubicBezTo>
                      <a:pt x="3" y="0"/>
                      <a:pt x="0" y="3"/>
                      <a:pt x="0" y="7"/>
                    </a:cubicBezTo>
                    <a:cubicBezTo>
                      <a:pt x="0" y="11"/>
                      <a:pt x="2" y="14"/>
                      <a:pt x="6" y="14"/>
                    </a:cubicBezTo>
                    <a:cubicBezTo>
                      <a:pt x="8" y="12"/>
                      <a:pt x="11" y="10"/>
                      <a:pt x="14" y="9"/>
                    </a:cubicBezTo>
                    <a:cubicBezTo>
                      <a:pt x="14" y="9"/>
                      <a:pt x="15" y="8"/>
                      <a:pt x="15" y="7"/>
                    </a:cubicBezTo>
                    <a:cubicBezTo>
                      <a:pt x="15" y="3"/>
                      <a:pt x="11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43" name="Oval 235">
                <a:extLst>
                  <a:ext uri="{FF2B5EF4-FFF2-40B4-BE49-F238E27FC236}">
                    <a16:creationId xmlns:a16="http://schemas.microsoft.com/office/drawing/2014/main" id="{29952D54-24B6-417D-8D10-8CF74553D89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53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44" name="Oval 236">
                <a:extLst>
                  <a:ext uri="{FF2B5EF4-FFF2-40B4-BE49-F238E27FC236}">
                    <a16:creationId xmlns:a16="http://schemas.microsoft.com/office/drawing/2014/main" id="{7213C831-1713-4400-B477-8D2640C6710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08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45" name="Oval 237">
                <a:extLst>
                  <a:ext uri="{FF2B5EF4-FFF2-40B4-BE49-F238E27FC236}">
                    <a16:creationId xmlns:a16="http://schemas.microsoft.com/office/drawing/2014/main" id="{F4CB6855-B64A-405F-B8E0-C37B1242BCD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64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46" name="Oval 238">
                <a:extLst>
                  <a:ext uri="{FF2B5EF4-FFF2-40B4-BE49-F238E27FC236}">
                    <a16:creationId xmlns:a16="http://schemas.microsoft.com/office/drawing/2014/main" id="{560AB17B-B52A-4831-B2AF-B810B4B4B4F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20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47" name="Oval 239">
                <a:extLst>
                  <a:ext uri="{FF2B5EF4-FFF2-40B4-BE49-F238E27FC236}">
                    <a16:creationId xmlns:a16="http://schemas.microsoft.com/office/drawing/2014/main" id="{EC71A603-15D9-40AF-A67C-585CEB5D8A6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76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48" name="Oval 240">
                <a:extLst>
                  <a:ext uri="{FF2B5EF4-FFF2-40B4-BE49-F238E27FC236}">
                    <a16:creationId xmlns:a16="http://schemas.microsoft.com/office/drawing/2014/main" id="{5FF0B537-4BFA-47DD-977E-3EC1560AAE0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32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49" name="Oval 241">
                <a:extLst>
                  <a:ext uri="{FF2B5EF4-FFF2-40B4-BE49-F238E27FC236}">
                    <a16:creationId xmlns:a16="http://schemas.microsoft.com/office/drawing/2014/main" id="{C7CEDBE1-FDDE-480C-B40E-C0FAF09007C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87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50" name="Oval 242">
                <a:extLst>
                  <a:ext uri="{FF2B5EF4-FFF2-40B4-BE49-F238E27FC236}">
                    <a16:creationId xmlns:a16="http://schemas.microsoft.com/office/drawing/2014/main" id="{AB60AA51-CBE4-476C-B884-02F43D873FC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43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51" name="Oval 243">
                <a:extLst>
                  <a:ext uri="{FF2B5EF4-FFF2-40B4-BE49-F238E27FC236}">
                    <a16:creationId xmlns:a16="http://schemas.microsoft.com/office/drawing/2014/main" id="{50E84B1B-E7E1-459A-8EC9-A6E6E5D4DBA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99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52" name="Oval 244">
                <a:extLst>
                  <a:ext uri="{FF2B5EF4-FFF2-40B4-BE49-F238E27FC236}">
                    <a16:creationId xmlns:a16="http://schemas.microsoft.com/office/drawing/2014/main" id="{7F903D06-F71F-4B6B-8129-25A5842E8E1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55" y="2073"/>
                <a:ext cx="14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53" name="Oval 245">
                <a:extLst>
                  <a:ext uri="{FF2B5EF4-FFF2-40B4-BE49-F238E27FC236}">
                    <a16:creationId xmlns:a16="http://schemas.microsoft.com/office/drawing/2014/main" id="{C81ABE17-FB4B-4B0E-929B-5AB76F3B25F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10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54" name="Oval 246">
                <a:extLst>
                  <a:ext uri="{FF2B5EF4-FFF2-40B4-BE49-F238E27FC236}">
                    <a16:creationId xmlns:a16="http://schemas.microsoft.com/office/drawing/2014/main" id="{7E47C593-535C-4004-9A98-20BC5CD3852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66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55" name="Oval 247">
                <a:extLst>
                  <a:ext uri="{FF2B5EF4-FFF2-40B4-BE49-F238E27FC236}">
                    <a16:creationId xmlns:a16="http://schemas.microsoft.com/office/drawing/2014/main" id="{5A095315-EAD7-4385-B29D-36568999B26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22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56" name="Oval 248">
                <a:extLst>
                  <a:ext uri="{FF2B5EF4-FFF2-40B4-BE49-F238E27FC236}">
                    <a16:creationId xmlns:a16="http://schemas.microsoft.com/office/drawing/2014/main" id="{4191914F-8487-488E-8A8E-5DF06D42A95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78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57" name="Oval 249">
                <a:extLst>
                  <a:ext uri="{FF2B5EF4-FFF2-40B4-BE49-F238E27FC236}">
                    <a16:creationId xmlns:a16="http://schemas.microsoft.com/office/drawing/2014/main" id="{A211FD2D-45BB-4BD4-B3BF-C142DBB364A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33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58" name="Oval 250">
                <a:extLst>
                  <a:ext uri="{FF2B5EF4-FFF2-40B4-BE49-F238E27FC236}">
                    <a16:creationId xmlns:a16="http://schemas.microsoft.com/office/drawing/2014/main" id="{CEADF6C0-19FB-4F8D-8EEE-D391AE65D1D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9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59" name="Oval 251">
                <a:extLst>
                  <a:ext uri="{FF2B5EF4-FFF2-40B4-BE49-F238E27FC236}">
                    <a16:creationId xmlns:a16="http://schemas.microsoft.com/office/drawing/2014/main" id="{0F530720-C7A9-4A59-9541-0386F35494B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45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60" name="Oval 252">
                <a:extLst>
                  <a:ext uri="{FF2B5EF4-FFF2-40B4-BE49-F238E27FC236}">
                    <a16:creationId xmlns:a16="http://schemas.microsoft.com/office/drawing/2014/main" id="{604AC2E8-2B10-423B-9C88-B9267ACAA92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01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61" name="Oval 253">
                <a:extLst>
                  <a:ext uri="{FF2B5EF4-FFF2-40B4-BE49-F238E27FC236}">
                    <a16:creationId xmlns:a16="http://schemas.microsoft.com/office/drawing/2014/main" id="{0EB0FBC4-B262-4F34-ADF8-C94A2ADE571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7" y="2073"/>
                <a:ext cx="14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62" name="Oval 254">
                <a:extLst>
                  <a:ext uri="{FF2B5EF4-FFF2-40B4-BE49-F238E27FC236}">
                    <a16:creationId xmlns:a16="http://schemas.microsoft.com/office/drawing/2014/main" id="{FB36F56D-65D1-4162-8FB2-3D62ACD3527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12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63" name="Oval 255">
                <a:extLst>
                  <a:ext uri="{FF2B5EF4-FFF2-40B4-BE49-F238E27FC236}">
                    <a16:creationId xmlns:a16="http://schemas.microsoft.com/office/drawing/2014/main" id="{341843C9-71DC-478A-85CD-AF9634BD603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68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64" name="Oval 256">
                <a:extLst>
                  <a:ext uri="{FF2B5EF4-FFF2-40B4-BE49-F238E27FC236}">
                    <a16:creationId xmlns:a16="http://schemas.microsoft.com/office/drawing/2014/main" id="{DDE63213-835A-4027-A036-EEBA9253EC8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3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65" name="Oval 257">
                <a:extLst>
                  <a:ext uri="{FF2B5EF4-FFF2-40B4-BE49-F238E27FC236}">
                    <a16:creationId xmlns:a16="http://schemas.microsoft.com/office/drawing/2014/main" id="{E1910C47-1EB3-40FB-8353-E33D7C63B80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79" y="2073"/>
                <a:ext cx="15" cy="1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66" name="Oval 258">
                <a:extLst>
                  <a:ext uri="{FF2B5EF4-FFF2-40B4-BE49-F238E27FC236}">
                    <a16:creationId xmlns:a16="http://schemas.microsoft.com/office/drawing/2014/main" id="{92D289FC-2BCC-4570-9C8C-1DB0677EFC5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207" y="2028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67" name="Oval 259">
                <a:extLst>
                  <a:ext uri="{FF2B5EF4-FFF2-40B4-BE49-F238E27FC236}">
                    <a16:creationId xmlns:a16="http://schemas.microsoft.com/office/drawing/2014/main" id="{FAAD2C17-A356-479B-8EDA-F25A7F8941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62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</p:grpSp>
        <p:grpSp>
          <p:nvGrpSpPr>
            <p:cNvPr id="59" name="Group 461">
              <a:extLst>
                <a:ext uri="{FF2B5EF4-FFF2-40B4-BE49-F238E27FC236}">
                  <a16:creationId xmlns:a16="http://schemas.microsoft.com/office/drawing/2014/main" id="{8E1BEB64-9D24-4B48-918A-443909DE4EA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2901" y="1851"/>
              <a:ext cx="2320" cy="694"/>
              <a:chOff x="2901" y="1851"/>
              <a:chExt cx="2320" cy="694"/>
            </a:xfrm>
            <a:grpFill/>
          </p:grpSpPr>
          <p:sp>
            <p:nvSpPr>
              <p:cNvPr id="268" name="Oval 261">
                <a:extLst>
                  <a:ext uri="{FF2B5EF4-FFF2-40B4-BE49-F238E27FC236}">
                    <a16:creationId xmlns:a16="http://schemas.microsoft.com/office/drawing/2014/main" id="{7C3F147E-F119-4FB2-92DD-807FE0E9A19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18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69" name="Freeform 262">
                <a:extLst>
                  <a:ext uri="{FF2B5EF4-FFF2-40B4-BE49-F238E27FC236}">
                    <a16:creationId xmlns:a16="http://schemas.microsoft.com/office/drawing/2014/main" id="{16FD8776-3CF7-416D-86FD-18137705A2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74" y="2028"/>
                <a:ext cx="15" cy="15"/>
              </a:xfrm>
              <a:custGeom>
                <a:avLst/>
                <a:gdLst>
                  <a:gd name="T0" fmla="*/ 8 w 15"/>
                  <a:gd name="T1" fmla="*/ 0 h 15"/>
                  <a:gd name="T2" fmla="*/ 0 w 15"/>
                  <a:gd name="T3" fmla="*/ 8 h 15"/>
                  <a:gd name="T4" fmla="*/ 6 w 15"/>
                  <a:gd name="T5" fmla="*/ 15 h 15"/>
                  <a:gd name="T6" fmla="*/ 9 w 15"/>
                  <a:gd name="T7" fmla="*/ 15 h 15"/>
                  <a:gd name="T8" fmla="*/ 15 w 15"/>
                  <a:gd name="T9" fmla="*/ 8 h 15"/>
                  <a:gd name="T10" fmla="*/ 8 w 15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5">
                    <a:moveTo>
                      <a:pt x="8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12"/>
                      <a:pt x="3" y="15"/>
                      <a:pt x="6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2" y="15"/>
                      <a:pt x="15" y="12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70" name="Freeform 263">
                <a:extLst>
                  <a:ext uri="{FF2B5EF4-FFF2-40B4-BE49-F238E27FC236}">
                    <a16:creationId xmlns:a16="http://schemas.microsoft.com/office/drawing/2014/main" id="{C3D85134-2410-4765-9CBC-1E9500A38E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0" y="2028"/>
                <a:ext cx="15" cy="15"/>
              </a:xfrm>
              <a:custGeom>
                <a:avLst/>
                <a:gdLst>
                  <a:gd name="T0" fmla="*/ 7 w 15"/>
                  <a:gd name="T1" fmla="*/ 0 h 15"/>
                  <a:gd name="T2" fmla="*/ 0 w 15"/>
                  <a:gd name="T3" fmla="*/ 8 h 15"/>
                  <a:gd name="T4" fmla="*/ 6 w 15"/>
                  <a:gd name="T5" fmla="*/ 15 h 15"/>
                  <a:gd name="T6" fmla="*/ 9 w 15"/>
                  <a:gd name="T7" fmla="*/ 15 h 15"/>
                  <a:gd name="T8" fmla="*/ 15 w 15"/>
                  <a:gd name="T9" fmla="*/ 8 h 15"/>
                  <a:gd name="T10" fmla="*/ 7 w 15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5">
                    <a:moveTo>
                      <a:pt x="7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12"/>
                      <a:pt x="3" y="15"/>
                      <a:pt x="6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2" y="15"/>
                      <a:pt x="15" y="12"/>
                      <a:pt x="15" y="8"/>
                    </a:cubicBezTo>
                    <a:cubicBezTo>
                      <a:pt x="15" y="4"/>
                      <a:pt x="12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71" name="Oval 264">
                <a:extLst>
                  <a:ext uri="{FF2B5EF4-FFF2-40B4-BE49-F238E27FC236}">
                    <a16:creationId xmlns:a16="http://schemas.microsoft.com/office/drawing/2014/main" id="{C330AC31-C609-4FF1-B3E0-3048B3BEBE5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86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72" name="Freeform 265">
                <a:extLst>
                  <a:ext uri="{FF2B5EF4-FFF2-40B4-BE49-F238E27FC236}">
                    <a16:creationId xmlns:a16="http://schemas.microsoft.com/office/drawing/2014/main" id="{E76B5575-5CD9-4F93-AA08-8407307183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41" y="2028"/>
                <a:ext cx="16" cy="15"/>
              </a:xfrm>
              <a:custGeom>
                <a:avLst/>
                <a:gdLst>
                  <a:gd name="T0" fmla="*/ 7 w 15"/>
                  <a:gd name="T1" fmla="*/ 0 h 15"/>
                  <a:gd name="T2" fmla="*/ 0 w 15"/>
                  <a:gd name="T3" fmla="*/ 8 h 15"/>
                  <a:gd name="T4" fmla="*/ 6 w 15"/>
                  <a:gd name="T5" fmla="*/ 15 h 15"/>
                  <a:gd name="T6" fmla="*/ 8 w 15"/>
                  <a:gd name="T7" fmla="*/ 15 h 15"/>
                  <a:gd name="T8" fmla="*/ 15 w 15"/>
                  <a:gd name="T9" fmla="*/ 8 h 15"/>
                  <a:gd name="T10" fmla="*/ 7 w 15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5">
                    <a:moveTo>
                      <a:pt x="7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12"/>
                      <a:pt x="2" y="15"/>
                      <a:pt x="6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12" y="15"/>
                      <a:pt x="15" y="12"/>
                      <a:pt x="15" y="8"/>
                    </a:cubicBezTo>
                    <a:cubicBezTo>
                      <a:pt x="15" y="4"/>
                      <a:pt x="11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73" name="Freeform 266">
                <a:extLst>
                  <a:ext uri="{FF2B5EF4-FFF2-40B4-BE49-F238E27FC236}">
                    <a16:creationId xmlns:a16="http://schemas.microsoft.com/office/drawing/2014/main" id="{70566405-8E4B-4CA4-9E81-B0BDF44400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97" y="2028"/>
                <a:ext cx="15" cy="15"/>
              </a:xfrm>
              <a:custGeom>
                <a:avLst/>
                <a:gdLst>
                  <a:gd name="T0" fmla="*/ 7 w 15"/>
                  <a:gd name="T1" fmla="*/ 0 h 15"/>
                  <a:gd name="T2" fmla="*/ 0 w 15"/>
                  <a:gd name="T3" fmla="*/ 8 h 15"/>
                  <a:gd name="T4" fmla="*/ 6 w 15"/>
                  <a:gd name="T5" fmla="*/ 15 h 15"/>
                  <a:gd name="T6" fmla="*/ 8 w 15"/>
                  <a:gd name="T7" fmla="*/ 15 h 15"/>
                  <a:gd name="T8" fmla="*/ 15 w 15"/>
                  <a:gd name="T9" fmla="*/ 8 h 15"/>
                  <a:gd name="T10" fmla="*/ 7 w 15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5">
                    <a:moveTo>
                      <a:pt x="7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12"/>
                      <a:pt x="2" y="15"/>
                      <a:pt x="6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12" y="15"/>
                      <a:pt x="15" y="12"/>
                      <a:pt x="15" y="8"/>
                    </a:cubicBezTo>
                    <a:cubicBezTo>
                      <a:pt x="15" y="4"/>
                      <a:pt x="11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74" name="Oval 267">
                <a:extLst>
                  <a:ext uri="{FF2B5EF4-FFF2-40B4-BE49-F238E27FC236}">
                    <a16:creationId xmlns:a16="http://schemas.microsoft.com/office/drawing/2014/main" id="{4B04D31E-C6FA-4BC0-9440-DE9420EEE15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53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75" name="Freeform 268">
                <a:extLst>
                  <a:ext uri="{FF2B5EF4-FFF2-40B4-BE49-F238E27FC236}">
                    <a16:creationId xmlns:a16="http://schemas.microsoft.com/office/drawing/2014/main" id="{FE3BDE8A-6BAF-4191-9077-9C78FB8DDC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08" y="2028"/>
                <a:ext cx="15" cy="15"/>
              </a:xfrm>
              <a:custGeom>
                <a:avLst/>
                <a:gdLst>
                  <a:gd name="T0" fmla="*/ 8 w 15"/>
                  <a:gd name="T1" fmla="*/ 0 h 15"/>
                  <a:gd name="T2" fmla="*/ 0 w 15"/>
                  <a:gd name="T3" fmla="*/ 8 h 15"/>
                  <a:gd name="T4" fmla="*/ 7 w 15"/>
                  <a:gd name="T5" fmla="*/ 15 h 15"/>
                  <a:gd name="T6" fmla="*/ 9 w 15"/>
                  <a:gd name="T7" fmla="*/ 15 h 15"/>
                  <a:gd name="T8" fmla="*/ 15 w 15"/>
                  <a:gd name="T9" fmla="*/ 8 h 15"/>
                  <a:gd name="T10" fmla="*/ 8 w 15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12"/>
                      <a:pt x="3" y="15"/>
                      <a:pt x="7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3" y="15"/>
                      <a:pt x="15" y="12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76" name="Freeform 269">
                <a:extLst>
                  <a:ext uri="{FF2B5EF4-FFF2-40B4-BE49-F238E27FC236}">
                    <a16:creationId xmlns:a16="http://schemas.microsoft.com/office/drawing/2014/main" id="{A2C49315-C981-42AC-91C7-97F9EB576A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4" y="2028"/>
                <a:ext cx="15" cy="15"/>
              </a:xfrm>
              <a:custGeom>
                <a:avLst/>
                <a:gdLst>
                  <a:gd name="T0" fmla="*/ 8 w 15"/>
                  <a:gd name="T1" fmla="*/ 0 h 15"/>
                  <a:gd name="T2" fmla="*/ 0 w 15"/>
                  <a:gd name="T3" fmla="*/ 8 h 15"/>
                  <a:gd name="T4" fmla="*/ 7 w 15"/>
                  <a:gd name="T5" fmla="*/ 15 h 15"/>
                  <a:gd name="T6" fmla="*/ 9 w 15"/>
                  <a:gd name="T7" fmla="*/ 15 h 15"/>
                  <a:gd name="T8" fmla="*/ 15 w 15"/>
                  <a:gd name="T9" fmla="*/ 8 h 15"/>
                  <a:gd name="T10" fmla="*/ 8 w 15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12"/>
                      <a:pt x="3" y="15"/>
                      <a:pt x="7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3" y="15"/>
                      <a:pt x="15" y="12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77" name="Oval 270">
                <a:extLst>
                  <a:ext uri="{FF2B5EF4-FFF2-40B4-BE49-F238E27FC236}">
                    <a16:creationId xmlns:a16="http://schemas.microsoft.com/office/drawing/2014/main" id="{13B69E96-CD4A-4AF9-A123-04E3A3D98C8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20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78" name="Freeform 271">
                <a:extLst>
                  <a:ext uri="{FF2B5EF4-FFF2-40B4-BE49-F238E27FC236}">
                    <a16:creationId xmlns:a16="http://schemas.microsoft.com/office/drawing/2014/main" id="{CF128CAD-A873-4A63-AE7C-F555A6CCE4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76" y="2028"/>
                <a:ext cx="15" cy="15"/>
              </a:xfrm>
              <a:custGeom>
                <a:avLst/>
                <a:gdLst>
                  <a:gd name="T0" fmla="*/ 8 w 15"/>
                  <a:gd name="T1" fmla="*/ 0 h 15"/>
                  <a:gd name="T2" fmla="*/ 0 w 15"/>
                  <a:gd name="T3" fmla="*/ 8 h 15"/>
                  <a:gd name="T4" fmla="*/ 6 w 15"/>
                  <a:gd name="T5" fmla="*/ 15 h 15"/>
                  <a:gd name="T6" fmla="*/ 9 w 15"/>
                  <a:gd name="T7" fmla="*/ 15 h 15"/>
                  <a:gd name="T8" fmla="*/ 15 w 15"/>
                  <a:gd name="T9" fmla="*/ 8 h 15"/>
                  <a:gd name="T10" fmla="*/ 8 w 15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5">
                    <a:moveTo>
                      <a:pt x="8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12"/>
                      <a:pt x="3" y="15"/>
                      <a:pt x="6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2" y="15"/>
                      <a:pt x="15" y="12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79" name="Freeform 272">
                <a:extLst>
                  <a:ext uri="{FF2B5EF4-FFF2-40B4-BE49-F238E27FC236}">
                    <a16:creationId xmlns:a16="http://schemas.microsoft.com/office/drawing/2014/main" id="{C113E532-BCEA-4520-B9F4-4230AC7F0C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2" y="2028"/>
                <a:ext cx="15" cy="15"/>
              </a:xfrm>
              <a:custGeom>
                <a:avLst/>
                <a:gdLst>
                  <a:gd name="T0" fmla="*/ 7 w 15"/>
                  <a:gd name="T1" fmla="*/ 0 h 15"/>
                  <a:gd name="T2" fmla="*/ 0 w 15"/>
                  <a:gd name="T3" fmla="*/ 8 h 15"/>
                  <a:gd name="T4" fmla="*/ 6 w 15"/>
                  <a:gd name="T5" fmla="*/ 15 h 15"/>
                  <a:gd name="T6" fmla="*/ 9 w 15"/>
                  <a:gd name="T7" fmla="*/ 15 h 15"/>
                  <a:gd name="T8" fmla="*/ 15 w 15"/>
                  <a:gd name="T9" fmla="*/ 8 h 15"/>
                  <a:gd name="T10" fmla="*/ 7 w 15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5">
                    <a:moveTo>
                      <a:pt x="7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12"/>
                      <a:pt x="3" y="15"/>
                      <a:pt x="6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2" y="15"/>
                      <a:pt x="15" y="12"/>
                      <a:pt x="15" y="8"/>
                    </a:cubicBezTo>
                    <a:cubicBezTo>
                      <a:pt x="15" y="4"/>
                      <a:pt x="12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80" name="Oval 273">
                <a:extLst>
                  <a:ext uri="{FF2B5EF4-FFF2-40B4-BE49-F238E27FC236}">
                    <a16:creationId xmlns:a16="http://schemas.microsoft.com/office/drawing/2014/main" id="{6CD82DDF-70D3-42CA-B66E-CE5E1CD30CD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87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81" name="Oval 274">
                <a:extLst>
                  <a:ext uri="{FF2B5EF4-FFF2-40B4-BE49-F238E27FC236}">
                    <a16:creationId xmlns:a16="http://schemas.microsoft.com/office/drawing/2014/main" id="{B73199E5-F760-4615-8B84-001EFAEBCAE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43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82" name="Oval 275">
                <a:extLst>
                  <a:ext uri="{FF2B5EF4-FFF2-40B4-BE49-F238E27FC236}">
                    <a16:creationId xmlns:a16="http://schemas.microsoft.com/office/drawing/2014/main" id="{0E4A00B6-412D-4068-AA8B-9691E7A127F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99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83" name="Oval 276">
                <a:extLst>
                  <a:ext uri="{FF2B5EF4-FFF2-40B4-BE49-F238E27FC236}">
                    <a16:creationId xmlns:a16="http://schemas.microsoft.com/office/drawing/2014/main" id="{59CA6D77-E150-4F84-81E6-0ACD3668CEC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55" y="2028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84" name="Oval 277">
                <a:extLst>
                  <a:ext uri="{FF2B5EF4-FFF2-40B4-BE49-F238E27FC236}">
                    <a16:creationId xmlns:a16="http://schemas.microsoft.com/office/drawing/2014/main" id="{6F31D9AB-0072-46E3-B950-9F0D39F220D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10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85" name="Oval 278">
                <a:extLst>
                  <a:ext uri="{FF2B5EF4-FFF2-40B4-BE49-F238E27FC236}">
                    <a16:creationId xmlns:a16="http://schemas.microsoft.com/office/drawing/2014/main" id="{04ABDEDD-AFD3-4EEB-989B-9E557AC82AC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66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86" name="Oval 279">
                <a:extLst>
                  <a:ext uri="{FF2B5EF4-FFF2-40B4-BE49-F238E27FC236}">
                    <a16:creationId xmlns:a16="http://schemas.microsoft.com/office/drawing/2014/main" id="{ADE0E7DD-B769-46FF-BBD6-34D83521DC3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22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87" name="Oval 280">
                <a:extLst>
                  <a:ext uri="{FF2B5EF4-FFF2-40B4-BE49-F238E27FC236}">
                    <a16:creationId xmlns:a16="http://schemas.microsoft.com/office/drawing/2014/main" id="{6F2DF88A-2E60-4916-990F-E7FB27D7966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78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88" name="Oval 281">
                <a:extLst>
                  <a:ext uri="{FF2B5EF4-FFF2-40B4-BE49-F238E27FC236}">
                    <a16:creationId xmlns:a16="http://schemas.microsoft.com/office/drawing/2014/main" id="{61D6A24C-39FE-42D9-B615-7C551A96E8E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33" y="2028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89" name="Freeform 282">
                <a:extLst>
                  <a:ext uri="{FF2B5EF4-FFF2-40B4-BE49-F238E27FC236}">
                    <a16:creationId xmlns:a16="http://schemas.microsoft.com/office/drawing/2014/main" id="{6B878C53-98EF-4E71-B651-65E57507CA1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189" y="2028"/>
                <a:ext cx="15" cy="15"/>
              </a:xfrm>
              <a:custGeom>
                <a:avLst/>
                <a:gdLst>
                  <a:gd name="T0" fmla="*/ 15 w 15"/>
                  <a:gd name="T1" fmla="*/ 10 h 15"/>
                  <a:gd name="T2" fmla="*/ 0 w 15"/>
                  <a:gd name="T3" fmla="*/ 10 h 15"/>
                  <a:gd name="T4" fmla="*/ 7 w 15"/>
                  <a:gd name="T5" fmla="*/ 15 h 15"/>
                  <a:gd name="T6" fmla="*/ 15 w 15"/>
                  <a:gd name="T7" fmla="*/ 10 h 15"/>
                  <a:gd name="T8" fmla="*/ 7 w 15"/>
                  <a:gd name="T9" fmla="*/ 0 h 15"/>
                  <a:gd name="T10" fmla="*/ 1 w 15"/>
                  <a:gd name="T11" fmla="*/ 4 h 15"/>
                  <a:gd name="T12" fmla="*/ 14 w 15"/>
                  <a:gd name="T13" fmla="*/ 4 h 15"/>
                  <a:gd name="T14" fmla="*/ 7 w 15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5" y="1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1" y="13"/>
                      <a:pt x="4" y="15"/>
                      <a:pt x="7" y="15"/>
                    </a:cubicBezTo>
                    <a:cubicBezTo>
                      <a:pt x="11" y="15"/>
                      <a:pt x="14" y="13"/>
                      <a:pt x="15" y="10"/>
                    </a:cubicBezTo>
                    <a:moveTo>
                      <a:pt x="7" y="0"/>
                    </a:moveTo>
                    <a:cubicBezTo>
                      <a:pt x="5" y="0"/>
                      <a:pt x="2" y="2"/>
                      <a:pt x="1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2"/>
                      <a:pt x="10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90" name="Freeform 283">
                <a:extLst>
                  <a:ext uri="{FF2B5EF4-FFF2-40B4-BE49-F238E27FC236}">
                    <a16:creationId xmlns:a16="http://schemas.microsoft.com/office/drawing/2014/main" id="{1F68FCDD-BBBB-4597-9D39-5355874A5DE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145" y="2028"/>
                <a:ext cx="14" cy="15"/>
              </a:xfrm>
              <a:custGeom>
                <a:avLst/>
                <a:gdLst>
                  <a:gd name="T0" fmla="*/ 14 w 14"/>
                  <a:gd name="T1" fmla="*/ 10 h 15"/>
                  <a:gd name="T2" fmla="*/ 0 w 14"/>
                  <a:gd name="T3" fmla="*/ 10 h 15"/>
                  <a:gd name="T4" fmla="*/ 7 w 14"/>
                  <a:gd name="T5" fmla="*/ 15 h 15"/>
                  <a:gd name="T6" fmla="*/ 14 w 14"/>
                  <a:gd name="T7" fmla="*/ 10 h 15"/>
                  <a:gd name="T8" fmla="*/ 7 w 14"/>
                  <a:gd name="T9" fmla="*/ 0 h 15"/>
                  <a:gd name="T10" fmla="*/ 1 w 14"/>
                  <a:gd name="T11" fmla="*/ 4 h 15"/>
                  <a:gd name="T12" fmla="*/ 14 w 14"/>
                  <a:gd name="T13" fmla="*/ 4 h 15"/>
                  <a:gd name="T14" fmla="*/ 7 w 14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5">
                    <a:moveTo>
                      <a:pt x="14" y="1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1" y="13"/>
                      <a:pt x="4" y="15"/>
                      <a:pt x="7" y="15"/>
                    </a:cubicBezTo>
                    <a:cubicBezTo>
                      <a:pt x="11" y="15"/>
                      <a:pt x="14" y="13"/>
                      <a:pt x="14" y="10"/>
                    </a:cubicBezTo>
                    <a:moveTo>
                      <a:pt x="7" y="0"/>
                    </a:moveTo>
                    <a:cubicBezTo>
                      <a:pt x="4" y="0"/>
                      <a:pt x="2" y="2"/>
                      <a:pt x="1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2" y="2"/>
                      <a:pt x="10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91" name="Freeform 284">
                <a:extLst>
                  <a:ext uri="{FF2B5EF4-FFF2-40B4-BE49-F238E27FC236}">
                    <a16:creationId xmlns:a16="http://schemas.microsoft.com/office/drawing/2014/main" id="{6CA8E080-5CF9-4840-B162-273FDFA8A1D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101" y="2028"/>
                <a:ext cx="14" cy="15"/>
              </a:xfrm>
              <a:custGeom>
                <a:avLst/>
                <a:gdLst>
                  <a:gd name="T0" fmla="*/ 14 w 14"/>
                  <a:gd name="T1" fmla="*/ 10 h 15"/>
                  <a:gd name="T2" fmla="*/ 0 w 14"/>
                  <a:gd name="T3" fmla="*/ 10 h 15"/>
                  <a:gd name="T4" fmla="*/ 7 w 14"/>
                  <a:gd name="T5" fmla="*/ 15 h 15"/>
                  <a:gd name="T6" fmla="*/ 14 w 14"/>
                  <a:gd name="T7" fmla="*/ 10 h 15"/>
                  <a:gd name="T8" fmla="*/ 7 w 14"/>
                  <a:gd name="T9" fmla="*/ 0 h 15"/>
                  <a:gd name="T10" fmla="*/ 1 w 14"/>
                  <a:gd name="T11" fmla="*/ 4 h 15"/>
                  <a:gd name="T12" fmla="*/ 14 w 14"/>
                  <a:gd name="T13" fmla="*/ 4 h 15"/>
                  <a:gd name="T14" fmla="*/ 7 w 14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5">
                    <a:moveTo>
                      <a:pt x="14" y="1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1" y="13"/>
                      <a:pt x="4" y="15"/>
                      <a:pt x="7" y="15"/>
                    </a:cubicBezTo>
                    <a:cubicBezTo>
                      <a:pt x="11" y="15"/>
                      <a:pt x="13" y="13"/>
                      <a:pt x="14" y="10"/>
                    </a:cubicBezTo>
                    <a:moveTo>
                      <a:pt x="7" y="0"/>
                    </a:moveTo>
                    <a:cubicBezTo>
                      <a:pt x="4" y="0"/>
                      <a:pt x="2" y="2"/>
                      <a:pt x="1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2" y="2"/>
                      <a:pt x="10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92" name="Freeform 285">
                <a:extLst>
                  <a:ext uri="{FF2B5EF4-FFF2-40B4-BE49-F238E27FC236}">
                    <a16:creationId xmlns:a16="http://schemas.microsoft.com/office/drawing/2014/main" id="{668644A6-FB7D-4E06-9159-361AA719F81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057" y="2028"/>
                <a:ext cx="14" cy="15"/>
              </a:xfrm>
              <a:custGeom>
                <a:avLst/>
                <a:gdLst>
                  <a:gd name="T0" fmla="*/ 14 w 14"/>
                  <a:gd name="T1" fmla="*/ 10 h 15"/>
                  <a:gd name="T2" fmla="*/ 0 w 14"/>
                  <a:gd name="T3" fmla="*/ 10 h 15"/>
                  <a:gd name="T4" fmla="*/ 7 w 14"/>
                  <a:gd name="T5" fmla="*/ 15 h 15"/>
                  <a:gd name="T6" fmla="*/ 14 w 14"/>
                  <a:gd name="T7" fmla="*/ 10 h 15"/>
                  <a:gd name="T8" fmla="*/ 7 w 14"/>
                  <a:gd name="T9" fmla="*/ 0 h 15"/>
                  <a:gd name="T10" fmla="*/ 0 w 14"/>
                  <a:gd name="T11" fmla="*/ 4 h 15"/>
                  <a:gd name="T12" fmla="*/ 13 w 14"/>
                  <a:gd name="T13" fmla="*/ 4 h 15"/>
                  <a:gd name="T14" fmla="*/ 7 w 14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5">
                    <a:moveTo>
                      <a:pt x="14" y="1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1" y="13"/>
                      <a:pt x="3" y="15"/>
                      <a:pt x="7" y="15"/>
                    </a:cubicBezTo>
                    <a:cubicBezTo>
                      <a:pt x="10" y="15"/>
                      <a:pt x="13" y="13"/>
                      <a:pt x="14" y="10"/>
                    </a:cubicBezTo>
                    <a:moveTo>
                      <a:pt x="7" y="0"/>
                    </a:moveTo>
                    <a:cubicBezTo>
                      <a:pt x="4" y="0"/>
                      <a:pt x="2" y="2"/>
                      <a:pt x="0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2" y="2"/>
                      <a:pt x="10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93" name="Freeform 286">
                <a:extLst>
                  <a:ext uri="{FF2B5EF4-FFF2-40B4-BE49-F238E27FC236}">
                    <a16:creationId xmlns:a16="http://schemas.microsoft.com/office/drawing/2014/main" id="{F59D0CF3-7983-40DB-9FA8-39219FA4A74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024" y="2029"/>
                <a:ext cx="3" cy="13"/>
              </a:xfrm>
              <a:custGeom>
                <a:avLst/>
                <a:gdLst>
                  <a:gd name="T0" fmla="*/ 3 w 3"/>
                  <a:gd name="T1" fmla="*/ 9 h 13"/>
                  <a:gd name="T2" fmla="*/ 0 w 3"/>
                  <a:gd name="T3" fmla="*/ 9 h 13"/>
                  <a:gd name="T4" fmla="*/ 0 w 3"/>
                  <a:gd name="T5" fmla="*/ 13 h 13"/>
                  <a:gd name="T6" fmla="*/ 3 w 3"/>
                  <a:gd name="T7" fmla="*/ 9 h 13"/>
                  <a:gd name="T8" fmla="*/ 0 w 3"/>
                  <a:gd name="T9" fmla="*/ 0 h 13"/>
                  <a:gd name="T10" fmla="*/ 0 w 3"/>
                  <a:gd name="T11" fmla="*/ 3 h 13"/>
                  <a:gd name="T12" fmla="*/ 2 w 3"/>
                  <a:gd name="T13" fmla="*/ 3 h 13"/>
                  <a:gd name="T14" fmla="*/ 0 w 3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3">
                    <a:moveTo>
                      <a:pt x="3" y="9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" y="12"/>
                      <a:pt x="3" y="11"/>
                      <a:pt x="3" y="9"/>
                    </a:cubicBezTo>
                    <a:moveTo>
                      <a:pt x="0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1" y="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94" name="Freeform 287">
                <a:extLst>
                  <a:ext uri="{FF2B5EF4-FFF2-40B4-BE49-F238E27FC236}">
                    <a16:creationId xmlns:a16="http://schemas.microsoft.com/office/drawing/2014/main" id="{5F887372-DA70-4D59-9374-86F5950DA7B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968" y="2028"/>
                <a:ext cx="14" cy="15"/>
              </a:xfrm>
              <a:custGeom>
                <a:avLst/>
                <a:gdLst>
                  <a:gd name="T0" fmla="*/ 14 w 14"/>
                  <a:gd name="T1" fmla="*/ 10 h 15"/>
                  <a:gd name="T2" fmla="*/ 0 w 14"/>
                  <a:gd name="T3" fmla="*/ 10 h 15"/>
                  <a:gd name="T4" fmla="*/ 8 w 14"/>
                  <a:gd name="T5" fmla="*/ 15 h 15"/>
                  <a:gd name="T6" fmla="*/ 14 w 14"/>
                  <a:gd name="T7" fmla="*/ 11 h 15"/>
                  <a:gd name="T8" fmla="*/ 14 w 14"/>
                  <a:gd name="T9" fmla="*/ 10 h 15"/>
                  <a:gd name="T10" fmla="*/ 8 w 14"/>
                  <a:gd name="T11" fmla="*/ 0 h 15"/>
                  <a:gd name="T12" fmla="*/ 1 w 14"/>
                  <a:gd name="T13" fmla="*/ 4 h 15"/>
                  <a:gd name="T14" fmla="*/ 14 w 14"/>
                  <a:gd name="T15" fmla="*/ 4 h 15"/>
                  <a:gd name="T16" fmla="*/ 8 w 14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15">
                    <a:moveTo>
                      <a:pt x="14" y="1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1" y="13"/>
                      <a:pt x="4" y="15"/>
                      <a:pt x="8" y="15"/>
                    </a:cubicBezTo>
                    <a:cubicBezTo>
                      <a:pt x="11" y="15"/>
                      <a:pt x="13" y="14"/>
                      <a:pt x="14" y="11"/>
                    </a:cubicBezTo>
                    <a:cubicBezTo>
                      <a:pt x="14" y="10"/>
                      <a:pt x="14" y="10"/>
                      <a:pt x="14" y="10"/>
                    </a:cubicBezTo>
                    <a:moveTo>
                      <a:pt x="8" y="0"/>
                    </a:moveTo>
                    <a:cubicBezTo>
                      <a:pt x="5" y="0"/>
                      <a:pt x="3" y="2"/>
                      <a:pt x="1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2"/>
                      <a:pt x="11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95" name="Freeform 288">
                <a:extLst>
                  <a:ext uri="{FF2B5EF4-FFF2-40B4-BE49-F238E27FC236}">
                    <a16:creationId xmlns:a16="http://schemas.microsoft.com/office/drawing/2014/main" id="{4C766F1E-24A8-40F3-B5D7-EC88EFCB1E6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923" y="2028"/>
                <a:ext cx="15" cy="15"/>
              </a:xfrm>
              <a:custGeom>
                <a:avLst/>
                <a:gdLst>
                  <a:gd name="T0" fmla="*/ 15 w 15"/>
                  <a:gd name="T1" fmla="*/ 10 h 15"/>
                  <a:gd name="T2" fmla="*/ 0 w 15"/>
                  <a:gd name="T3" fmla="*/ 10 h 15"/>
                  <a:gd name="T4" fmla="*/ 8 w 15"/>
                  <a:gd name="T5" fmla="*/ 15 h 15"/>
                  <a:gd name="T6" fmla="*/ 15 w 15"/>
                  <a:gd name="T7" fmla="*/ 10 h 15"/>
                  <a:gd name="T8" fmla="*/ 8 w 15"/>
                  <a:gd name="T9" fmla="*/ 0 h 15"/>
                  <a:gd name="T10" fmla="*/ 1 w 15"/>
                  <a:gd name="T11" fmla="*/ 4 h 15"/>
                  <a:gd name="T12" fmla="*/ 14 w 15"/>
                  <a:gd name="T13" fmla="*/ 4 h 15"/>
                  <a:gd name="T14" fmla="*/ 8 w 15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5" y="1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1" y="13"/>
                      <a:pt x="4" y="15"/>
                      <a:pt x="8" y="15"/>
                    </a:cubicBezTo>
                    <a:cubicBezTo>
                      <a:pt x="11" y="15"/>
                      <a:pt x="14" y="13"/>
                      <a:pt x="15" y="10"/>
                    </a:cubicBezTo>
                    <a:moveTo>
                      <a:pt x="8" y="0"/>
                    </a:moveTo>
                    <a:cubicBezTo>
                      <a:pt x="5" y="0"/>
                      <a:pt x="2" y="2"/>
                      <a:pt x="1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2"/>
                      <a:pt x="10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96" name="Freeform 289">
                <a:extLst>
                  <a:ext uri="{FF2B5EF4-FFF2-40B4-BE49-F238E27FC236}">
                    <a16:creationId xmlns:a16="http://schemas.microsoft.com/office/drawing/2014/main" id="{EA875339-AC59-4177-B648-6C8680BA22F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879" y="2028"/>
                <a:ext cx="15" cy="15"/>
              </a:xfrm>
              <a:custGeom>
                <a:avLst/>
                <a:gdLst>
                  <a:gd name="T0" fmla="*/ 15 w 15"/>
                  <a:gd name="T1" fmla="*/ 10 h 15"/>
                  <a:gd name="T2" fmla="*/ 0 w 15"/>
                  <a:gd name="T3" fmla="*/ 10 h 15"/>
                  <a:gd name="T4" fmla="*/ 7 w 15"/>
                  <a:gd name="T5" fmla="*/ 15 h 15"/>
                  <a:gd name="T6" fmla="*/ 15 w 15"/>
                  <a:gd name="T7" fmla="*/ 10 h 15"/>
                  <a:gd name="T8" fmla="*/ 7 w 15"/>
                  <a:gd name="T9" fmla="*/ 0 h 15"/>
                  <a:gd name="T10" fmla="*/ 1 w 15"/>
                  <a:gd name="T11" fmla="*/ 4 h 15"/>
                  <a:gd name="T12" fmla="*/ 14 w 15"/>
                  <a:gd name="T13" fmla="*/ 4 h 15"/>
                  <a:gd name="T14" fmla="*/ 7 w 15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5" y="1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1" y="13"/>
                      <a:pt x="4" y="15"/>
                      <a:pt x="7" y="15"/>
                    </a:cubicBezTo>
                    <a:cubicBezTo>
                      <a:pt x="11" y="15"/>
                      <a:pt x="14" y="13"/>
                      <a:pt x="15" y="10"/>
                    </a:cubicBezTo>
                    <a:moveTo>
                      <a:pt x="7" y="0"/>
                    </a:moveTo>
                    <a:cubicBezTo>
                      <a:pt x="5" y="0"/>
                      <a:pt x="2" y="2"/>
                      <a:pt x="1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2"/>
                      <a:pt x="10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97" name="Oval 290">
                <a:extLst>
                  <a:ext uri="{FF2B5EF4-FFF2-40B4-BE49-F238E27FC236}">
                    <a16:creationId xmlns:a16="http://schemas.microsoft.com/office/drawing/2014/main" id="{48694C4D-ED9B-4C01-A440-6A96F302322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207" y="1984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98" name="Oval 291">
                <a:extLst>
                  <a:ext uri="{FF2B5EF4-FFF2-40B4-BE49-F238E27FC236}">
                    <a16:creationId xmlns:a16="http://schemas.microsoft.com/office/drawing/2014/main" id="{A7B47629-F7AC-4C84-B681-BD0D159F7F7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62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99" name="Oval 292">
                <a:extLst>
                  <a:ext uri="{FF2B5EF4-FFF2-40B4-BE49-F238E27FC236}">
                    <a16:creationId xmlns:a16="http://schemas.microsoft.com/office/drawing/2014/main" id="{379E84D2-603F-4FC4-BF86-F2E928D35A4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18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00" name="Oval 293">
                <a:extLst>
                  <a:ext uri="{FF2B5EF4-FFF2-40B4-BE49-F238E27FC236}">
                    <a16:creationId xmlns:a16="http://schemas.microsoft.com/office/drawing/2014/main" id="{02634988-B612-4078-9BE4-07BAA502A40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74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01" name="Oval 294">
                <a:extLst>
                  <a:ext uri="{FF2B5EF4-FFF2-40B4-BE49-F238E27FC236}">
                    <a16:creationId xmlns:a16="http://schemas.microsoft.com/office/drawing/2014/main" id="{BE998FDE-C4E0-49C7-839F-D8C922F052E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30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02" name="Oval 295">
                <a:extLst>
                  <a:ext uri="{FF2B5EF4-FFF2-40B4-BE49-F238E27FC236}">
                    <a16:creationId xmlns:a16="http://schemas.microsoft.com/office/drawing/2014/main" id="{9187FD20-D093-4736-AA41-B1509911ED8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86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03" name="Oval 296">
                <a:extLst>
                  <a:ext uri="{FF2B5EF4-FFF2-40B4-BE49-F238E27FC236}">
                    <a16:creationId xmlns:a16="http://schemas.microsoft.com/office/drawing/2014/main" id="{7EC51AF8-DDF9-4608-9EF9-6F3216B0BF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41" y="1984"/>
                <a:ext cx="16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04" name="Oval 297">
                <a:extLst>
                  <a:ext uri="{FF2B5EF4-FFF2-40B4-BE49-F238E27FC236}">
                    <a16:creationId xmlns:a16="http://schemas.microsoft.com/office/drawing/2014/main" id="{6E10BD8E-8CF2-4DBA-B164-D216A989C74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97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05" name="Oval 298">
                <a:extLst>
                  <a:ext uri="{FF2B5EF4-FFF2-40B4-BE49-F238E27FC236}">
                    <a16:creationId xmlns:a16="http://schemas.microsoft.com/office/drawing/2014/main" id="{93E306DA-43FD-4872-81DE-63E1D2EFEE2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53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06" name="Oval 299">
                <a:extLst>
                  <a:ext uri="{FF2B5EF4-FFF2-40B4-BE49-F238E27FC236}">
                    <a16:creationId xmlns:a16="http://schemas.microsoft.com/office/drawing/2014/main" id="{61E7CE7C-F648-45FD-8DAF-C5E72275D11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08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07" name="Oval 300">
                <a:extLst>
                  <a:ext uri="{FF2B5EF4-FFF2-40B4-BE49-F238E27FC236}">
                    <a16:creationId xmlns:a16="http://schemas.microsoft.com/office/drawing/2014/main" id="{07CBF99C-0EEA-4F86-A89F-45CD58672C9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64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08" name="Oval 301">
                <a:extLst>
                  <a:ext uri="{FF2B5EF4-FFF2-40B4-BE49-F238E27FC236}">
                    <a16:creationId xmlns:a16="http://schemas.microsoft.com/office/drawing/2014/main" id="{27C1F64B-736A-4BFA-82D9-1BF6A26E654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20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09" name="Oval 302">
                <a:extLst>
                  <a:ext uri="{FF2B5EF4-FFF2-40B4-BE49-F238E27FC236}">
                    <a16:creationId xmlns:a16="http://schemas.microsoft.com/office/drawing/2014/main" id="{DE808B85-5439-40DA-AF59-4D548A18549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76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10" name="Oval 303">
                <a:extLst>
                  <a:ext uri="{FF2B5EF4-FFF2-40B4-BE49-F238E27FC236}">
                    <a16:creationId xmlns:a16="http://schemas.microsoft.com/office/drawing/2014/main" id="{628B6DB8-E855-4F50-856F-F309D21D901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32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11" name="Oval 304">
                <a:extLst>
                  <a:ext uri="{FF2B5EF4-FFF2-40B4-BE49-F238E27FC236}">
                    <a16:creationId xmlns:a16="http://schemas.microsoft.com/office/drawing/2014/main" id="{38E83F42-AF4A-4B4A-BA3E-7F6B8D52E39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87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12" name="Oval 305">
                <a:extLst>
                  <a:ext uri="{FF2B5EF4-FFF2-40B4-BE49-F238E27FC236}">
                    <a16:creationId xmlns:a16="http://schemas.microsoft.com/office/drawing/2014/main" id="{836D4C29-BFDF-4C00-BB30-AD00F6971B9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43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13" name="Oval 306">
                <a:extLst>
                  <a:ext uri="{FF2B5EF4-FFF2-40B4-BE49-F238E27FC236}">
                    <a16:creationId xmlns:a16="http://schemas.microsoft.com/office/drawing/2014/main" id="{B4D19E0B-DBB7-44CF-AF60-FC905CCEF97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99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14" name="Oval 307">
                <a:extLst>
                  <a:ext uri="{FF2B5EF4-FFF2-40B4-BE49-F238E27FC236}">
                    <a16:creationId xmlns:a16="http://schemas.microsoft.com/office/drawing/2014/main" id="{F5DF734C-C280-4BD5-B8FB-11248254144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55" y="1984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15" name="Oval 308">
                <a:extLst>
                  <a:ext uri="{FF2B5EF4-FFF2-40B4-BE49-F238E27FC236}">
                    <a16:creationId xmlns:a16="http://schemas.microsoft.com/office/drawing/2014/main" id="{9B3312A2-DD17-41B9-8E4E-F03003135A1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10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16" name="Oval 309">
                <a:extLst>
                  <a:ext uri="{FF2B5EF4-FFF2-40B4-BE49-F238E27FC236}">
                    <a16:creationId xmlns:a16="http://schemas.microsoft.com/office/drawing/2014/main" id="{46EB60DC-6614-467E-932A-E1A21FCC586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66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17" name="Oval 310">
                <a:extLst>
                  <a:ext uri="{FF2B5EF4-FFF2-40B4-BE49-F238E27FC236}">
                    <a16:creationId xmlns:a16="http://schemas.microsoft.com/office/drawing/2014/main" id="{9C3E007D-F139-49FA-A871-8CC454BB986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22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18" name="Oval 311">
                <a:extLst>
                  <a:ext uri="{FF2B5EF4-FFF2-40B4-BE49-F238E27FC236}">
                    <a16:creationId xmlns:a16="http://schemas.microsoft.com/office/drawing/2014/main" id="{DC2A0AA4-9670-4FEB-9AA4-E1579B492A7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78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19" name="Oval 312">
                <a:extLst>
                  <a:ext uri="{FF2B5EF4-FFF2-40B4-BE49-F238E27FC236}">
                    <a16:creationId xmlns:a16="http://schemas.microsoft.com/office/drawing/2014/main" id="{7B4A2EDD-EA7A-42C6-87E1-2C27981871D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33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20" name="Oval 313">
                <a:extLst>
                  <a:ext uri="{FF2B5EF4-FFF2-40B4-BE49-F238E27FC236}">
                    <a16:creationId xmlns:a16="http://schemas.microsoft.com/office/drawing/2014/main" id="{A97FEE9B-6B3E-493E-859A-201DB5A42F3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9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21" name="Oval 314">
                <a:extLst>
                  <a:ext uri="{FF2B5EF4-FFF2-40B4-BE49-F238E27FC236}">
                    <a16:creationId xmlns:a16="http://schemas.microsoft.com/office/drawing/2014/main" id="{D0D0867D-0AFD-4901-9B33-91E666BEA8A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45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22" name="Oval 315">
                <a:extLst>
                  <a:ext uri="{FF2B5EF4-FFF2-40B4-BE49-F238E27FC236}">
                    <a16:creationId xmlns:a16="http://schemas.microsoft.com/office/drawing/2014/main" id="{F3ADBB96-5A9D-479E-87D6-5E4E6537FD4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01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23" name="Oval 316">
                <a:extLst>
                  <a:ext uri="{FF2B5EF4-FFF2-40B4-BE49-F238E27FC236}">
                    <a16:creationId xmlns:a16="http://schemas.microsoft.com/office/drawing/2014/main" id="{10ECA45A-8AD8-4470-943C-EBCB3A75D4A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7" y="1984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24" name="Oval 317">
                <a:extLst>
                  <a:ext uri="{FF2B5EF4-FFF2-40B4-BE49-F238E27FC236}">
                    <a16:creationId xmlns:a16="http://schemas.microsoft.com/office/drawing/2014/main" id="{193734E5-8700-4950-87D6-06B04C905CC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12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25" name="Oval 318">
                <a:extLst>
                  <a:ext uri="{FF2B5EF4-FFF2-40B4-BE49-F238E27FC236}">
                    <a16:creationId xmlns:a16="http://schemas.microsoft.com/office/drawing/2014/main" id="{61CA7C4B-7F48-4BE2-BBA1-228EDEEFDD9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68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26" name="Oval 319">
                <a:extLst>
                  <a:ext uri="{FF2B5EF4-FFF2-40B4-BE49-F238E27FC236}">
                    <a16:creationId xmlns:a16="http://schemas.microsoft.com/office/drawing/2014/main" id="{754A24F6-6475-4EFC-BD2E-1E891191152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3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27" name="Oval 320">
                <a:extLst>
                  <a:ext uri="{FF2B5EF4-FFF2-40B4-BE49-F238E27FC236}">
                    <a16:creationId xmlns:a16="http://schemas.microsoft.com/office/drawing/2014/main" id="{EB23993D-868A-49C3-BFA6-FA10B9899C6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79" y="1984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28" name="Oval 321">
                <a:extLst>
                  <a:ext uri="{FF2B5EF4-FFF2-40B4-BE49-F238E27FC236}">
                    <a16:creationId xmlns:a16="http://schemas.microsoft.com/office/drawing/2014/main" id="{F2696611-B4E5-4698-9B90-61594EA8568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207" y="1940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29" name="Oval 322">
                <a:extLst>
                  <a:ext uri="{FF2B5EF4-FFF2-40B4-BE49-F238E27FC236}">
                    <a16:creationId xmlns:a16="http://schemas.microsoft.com/office/drawing/2014/main" id="{3CE2A350-1A53-418F-8BD0-16EC45263E8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62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30" name="Oval 323">
                <a:extLst>
                  <a:ext uri="{FF2B5EF4-FFF2-40B4-BE49-F238E27FC236}">
                    <a16:creationId xmlns:a16="http://schemas.microsoft.com/office/drawing/2014/main" id="{EB3C7E26-611D-47B8-AB3A-DAAF91D89EF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18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31" name="Freeform 324">
                <a:extLst>
                  <a:ext uri="{FF2B5EF4-FFF2-40B4-BE49-F238E27FC236}">
                    <a16:creationId xmlns:a16="http://schemas.microsoft.com/office/drawing/2014/main" id="{2C58C6CC-EAF2-4498-AA51-7FD275C2E5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74" y="1940"/>
                <a:ext cx="15" cy="9"/>
              </a:xfrm>
              <a:custGeom>
                <a:avLst/>
                <a:gdLst>
                  <a:gd name="T0" fmla="*/ 8 w 15"/>
                  <a:gd name="T1" fmla="*/ 0 h 9"/>
                  <a:gd name="T2" fmla="*/ 0 w 15"/>
                  <a:gd name="T3" fmla="*/ 8 h 9"/>
                  <a:gd name="T4" fmla="*/ 0 w 15"/>
                  <a:gd name="T5" fmla="*/ 9 h 9"/>
                  <a:gd name="T6" fmla="*/ 15 w 15"/>
                  <a:gd name="T7" fmla="*/ 9 h 9"/>
                  <a:gd name="T8" fmla="*/ 15 w 15"/>
                  <a:gd name="T9" fmla="*/ 8 h 9"/>
                  <a:gd name="T10" fmla="*/ 8 w 15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9">
                    <a:moveTo>
                      <a:pt x="8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8"/>
                      <a:pt x="0" y="9"/>
                      <a:pt x="0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9"/>
                      <a:pt x="15" y="8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32" name="Freeform 325">
                <a:extLst>
                  <a:ext uri="{FF2B5EF4-FFF2-40B4-BE49-F238E27FC236}">
                    <a16:creationId xmlns:a16="http://schemas.microsoft.com/office/drawing/2014/main" id="{74832456-5DFC-43F9-AE64-4DE43BB27F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0" y="1940"/>
                <a:ext cx="15" cy="9"/>
              </a:xfrm>
              <a:custGeom>
                <a:avLst/>
                <a:gdLst>
                  <a:gd name="T0" fmla="*/ 7 w 15"/>
                  <a:gd name="T1" fmla="*/ 0 h 9"/>
                  <a:gd name="T2" fmla="*/ 0 w 15"/>
                  <a:gd name="T3" fmla="*/ 8 h 9"/>
                  <a:gd name="T4" fmla="*/ 0 w 15"/>
                  <a:gd name="T5" fmla="*/ 9 h 9"/>
                  <a:gd name="T6" fmla="*/ 15 w 15"/>
                  <a:gd name="T7" fmla="*/ 9 h 9"/>
                  <a:gd name="T8" fmla="*/ 15 w 15"/>
                  <a:gd name="T9" fmla="*/ 8 h 9"/>
                  <a:gd name="T10" fmla="*/ 7 w 15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9">
                    <a:moveTo>
                      <a:pt x="7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8"/>
                      <a:pt x="0" y="9"/>
                      <a:pt x="0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9"/>
                      <a:pt x="15" y="8"/>
                      <a:pt x="15" y="8"/>
                    </a:cubicBezTo>
                    <a:cubicBezTo>
                      <a:pt x="15" y="4"/>
                      <a:pt x="12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33" name="Oval 326">
                <a:extLst>
                  <a:ext uri="{FF2B5EF4-FFF2-40B4-BE49-F238E27FC236}">
                    <a16:creationId xmlns:a16="http://schemas.microsoft.com/office/drawing/2014/main" id="{51FDD2FD-BBAD-4F59-9698-289C2B5EAA7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86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34" name="Freeform 327">
                <a:extLst>
                  <a:ext uri="{FF2B5EF4-FFF2-40B4-BE49-F238E27FC236}">
                    <a16:creationId xmlns:a16="http://schemas.microsoft.com/office/drawing/2014/main" id="{E506E5F5-C922-45AF-8FF1-5C7090E33F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41" y="1940"/>
                <a:ext cx="16" cy="9"/>
              </a:xfrm>
              <a:custGeom>
                <a:avLst/>
                <a:gdLst>
                  <a:gd name="T0" fmla="*/ 7 w 15"/>
                  <a:gd name="T1" fmla="*/ 0 h 9"/>
                  <a:gd name="T2" fmla="*/ 0 w 15"/>
                  <a:gd name="T3" fmla="*/ 8 h 9"/>
                  <a:gd name="T4" fmla="*/ 0 w 15"/>
                  <a:gd name="T5" fmla="*/ 9 h 9"/>
                  <a:gd name="T6" fmla="*/ 15 w 15"/>
                  <a:gd name="T7" fmla="*/ 9 h 9"/>
                  <a:gd name="T8" fmla="*/ 15 w 15"/>
                  <a:gd name="T9" fmla="*/ 8 h 9"/>
                  <a:gd name="T10" fmla="*/ 7 w 15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9">
                    <a:moveTo>
                      <a:pt x="7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8"/>
                      <a:pt x="0" y="9"/>
                      <a:pt x="0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9"/>
                      <a:pt x="15" y="8"/>
                      <a:pt x="15" y="8"/>
                    </a:cubicBezTo>
                    <a:cubicBezTo>
                      <a:pt x="15" y="4"/>
                      <a:pt x="11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35" name="Freeform 328">
                <a:extLst>
                  <a:ext uri="{FF2B5EF4-FFF2-40B4-BE49-F238E27FC236}">
                    <a16:creationId xmlns:a16="http://schemas.microsoft.com/office/drawing/2014/main" id="{3FD3DB8A-8D5B-4E1D-8AE7-E818D8CA18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97" y="1940"/>
                <a:ext cx="15" cy="9"/>
              </a:xfrm>
              <a:custGeom>
                <a:avLst/>
                <a:gdLst>
                  <a:gd name="T0" fmla="*/ 7 w 15"/>
                  <a:gd name="T1" fmla="*/ 0 h 9"/>
                  <a:gd name="T2" fmla="*/ 0 w 15"/>
                  <a:gd name="T3" fmla="*/ 8 h 9"/>
                  <a:gd name="T4" fmla="*/ 0 w 15"/>
                  <a:gd name="T5" fmla="*/ 9 h 9"/>
                  <a:gd name="T6" fmla="*/ 14 w 15"/>
                  <a:gd name="T7" fmla="*/ 9 h 9"/>
                  <a:gd name="T8" fmla="*/ 15 w 15"/>
                  <a:gd name="T9" fmla="*/ 8 h 9"/>
                  <a:gd name="T10" fmla="*/ 7 w 15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9">
                    <a:moveTo>
                      <a:pt x="7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8"/>
                      <a:pt x="0" y="9"/>
                      <a:pt x="0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5" y="9"/>
                      <a:pt x="15" y="8"/>
                      <a:pt x="15" y="8"/>
                    </a:cubicBezTo>
                    <a:cubicBezTo>
                      <a:pt x="15" y="4"/>
                      <a:pt x="11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36" name="Oval 329">
                <a:extLst>
                  <a:ext uri="{FF2B5EF4-FFF2-40B4-BE49-F238E27FC236}">
                    <a16:creationId xmlns:a16="http://schemas.microsoft.com/office/drawing/2014/main" id="{5EC40034-92F0-4504-96DC-18B7EB6175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53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37" name="Freeform 330">
                <a:extLst>
                  <a:ext uri="{FF2B5EF4-FFF2-40B4-BE49-F238E27FC236}">
                    <a16:creationId xmlns:a16="http://schemas.microsoft.com/office/drawing/2014/main" id="{C3A7A96E-4AE0-4FA7-80C4-C0C94EC851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08" y="1940"/>
                <a:ext cx="15" cy="9"/>
              </a:xfrm>
              <a:custGeom>
                <a:avLst/>
                <a:gdLst>
                  <a:gd name="T0" fmla="*/ 8 w 15"/>
                  <a:gd name="T1" fmla="*/ 0 h 9"/>
                  <a:gd name="T2" fmla="*/ 0 w 15"/>
                  <a:gd name="T3" fmla="*/ 8 h 9"/>
                  <a:gd name="T4" fmla="*/ 1 w 15"/>
                  <a:gd name="T5" fmla="*/ 9 h 9"/>
                  <a:gd name="T6" fmla="*/ 15 w 15"/>
                  <a:gd name="T7" fmla="*/ 9 h 9"/>
                  <a:gd name="T8" fmla="*/ 15 w 15"/>
                  <a:gd name="T9" fmla="*/ 8 h 9"/>
                  <a:gd name="T10" fmla="*/ 8 w 15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9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1" y="9"/>
                      <a:pt x="1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9"/>
                      <a:pt x="15" y="8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38" name="Freeform 331">
                <a:extLst>
                  <a:ext uri="{FF2B5EF4-FFF2-40B4-BE49-F238E27FC236}">
                    <a16:creationId xmlns:a16="http://schemas.microsoft.com/office/drawing/2014/main" id="{D3A1427D-66C2-4F49-BC03-FE6BD8689D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4" y="1940"/>
                <a:ext cx="15" cy="9"/>
              </a:xfrm>
              <a:custGeom>
                <a:avLst/>
                <a:gdLst>
                  <a:gd name="T0" fmla="*/ 8 w 15"/>
                  <a:gd name="T1" fmla="*/ 0 h 9"/>
                  <a:gd name="T2" fmla="*/ 0 w 15"/>
                  <a:gd name="T3" fmla="*/ 8 h 9"/>
                  <a:gd name="T4" fmla="*/ 1 w 15"/>
                  <a:gd name="T5" fmla="*/ 9 h 9"/>
                  <a:gd name="T6" fmla="*/ 15 w 15"/>
                  <a:gd name="T7" fmla="*/ 9 h 9"/>
                  <a:gd name="T8" fmla="*/ 15 w 15"/>
                  <a:gd name="T9" fmla="*/ 8 h 9"/>
                  <a:gd name="T10" fmla="*/ 8 w 15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9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9"/>
                      <a:pt x="1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9"/>
                      <a:pt x="15" y="8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39" name="Oval 332">
                <a:extLst>
                  <a:ext uri="{FF2B5EF4-FFF2-40B4-BE49-F238E27FC236}">
                    <a16:creationId xmlns:a16="http://schemas.microsoft.com/office/drawing/2014/main" id="{3C9F30E6-F051-44C2-B596-BDFB96F83CC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20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40" name="Freeform 333">
                <a:extLst>
                  <a:ext uri="{FF2B5EF4-FFF2-40B4-BE49-F238E27FC236}">
                    <a16:creationId xmlns:a16="http://schemas.microsoft.com/office/drawing/2014/main" id="{54F46E6A-E9FB-42AB-AC2A-549406E115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76" y="1940"/>
                <a:ext cx="15" cy="9"/>
              </a:xfrm>
              <a:custGeom>
                <a:avLst/>
                <a:gdLst>
                  <a:gd name="T0" fmla="*/ 8 w 15"/>
                  <a:gd name="T1" fmla="*/ 0 h 9"/>
                  <a:gd name="T2" fmla="*/ 0 w 15"/>
                  <a:gd name="T3" fmla="*/ 8 h 9"/>
                  <a:gd name="T4" fmla="*/ 0 w 15"/>
                  <a:gd name="T5" fmla="*/ 9 h 9"/>
                  <a:gd name="T6" fmla="*/ 15 w 15"/>
                  <a:gd name="T7" fmla="*/ 9 h 9"/>
                  <a:gd name="T8" fmla="*/ 15 w 15"/>
                  <a:gd name="T9" fmla="*/ 8 h 9"/>
                  <a:gd name="T10" fmla="*/ 8 w 15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9">
                    <a:moveTo>
                      <a:pt x="8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8"/>
                      <a:pt x="0" y="9"/>
                      <a:pt x="0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9"/>
                      <a:pt x="15" y="8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41" name="Freeform 334">
                <a:extLst>
                  <a:ext uri="{FF2B5EF4-FFF2-40B4-BE49-F238E27FC236}">
                    <a16:creationId xmlns:a16="http://schemas.microsoft.com/office/drawing/2014/main" id="{FD0042B0-302E-4711-A557-33C3F9EED4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2" y="1940"/>
                <a:ext cx="15" cy="9"/>
              </a:xfrm>
              <a:custGeom>
                <a:avLst/>
                <a:gdLst>
                  <a:gd name="T0" fmla="*/ 7 w 15"/>
                  <a:gd name="T1" fmla="*/ 0 h 9"/>
                  <a:gd name="T2" fmla="*/ 0 w 15"/>
                  <a:gd name="T3" fmla="*/ 8 h 9"/>
                  <a:gd name="T4" fmla="*/ 0 w 15"/>
                  <a:gd name="T5" fmla="*/ 9 h 9"/>
                  <a:gd name="T6" fmla="*/ 15 w 15"/>
                  <a:gd name="T7" fmla="*/ 9 h 9"/>
                  <a:gd name="T8" fmla="*/ 15 w 15"/>
                  <a:gd name="T9" fmla="*/ 8 h 9"/>
                  <a:gd name="T10" fmla="*/ 7 w 15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9">
                    <a:moveTo>
                      <a:pt x="7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8"/>
                      <a:pt x="0" y="9"/>
                      <a:pt x="0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9"/>
                      <a:pt x="15" y="8"/>
                      <a:pt x="15" y="8"/>
                    </a:cubicBezTo>
                    <a:cubicBezTo>
                      <a:pt x="15" y="4"/>
                      <a:pt x="12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42" name="Oval 335">
                <a:extLst>
                  <a:ext uri="{FF2B5EF4-FFF2-40B4-BE49-F238E27FC236}">
                    <a16:creationId xmlns:a16="http://schemas.microsoft.com/office/drawing/2014/main" id="{D68C22F8-F298-47C0-A79E-2BC6DAEDDEC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87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43" name="Oval 336">
                <a:extLst>
                  <a:ext uri="{FF2B5EF4-FFF2-40B4-BE49-F238E27FC236}">
                    <a16:creationId xmlns:a16="http://schemas.microsoft.com/office/drawing/2014/main" id="{A92B8165-0C14-486A-B950-95DD4E3795E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43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44" name="Oval 337">
                <a:extLst>
                  <a:ext uri="{FF2B5EF4-FFF2-40B4-BE49-F238E27FC236}">
                    <a16:creationId xmlns:a16="http://schemas.microsoft.com/office/drawing/2014/main" id="{3DE6E4CC-1823-4243-832E-843B4B4DD31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99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45" name="Oval 338">
                <a:extLst>
                  <a:ext uri="{FF2B5EF4-FFF2-40B4-BE49-F238E27FC236}">
                    <a16:creationId xmlns:a16="http://schemas.microsoft.com/office/drawing/2014/main" id="{00432A76-B1F8-4BA0-92C6-569AE588341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55" y="1940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46" name="Oval 339">
                <a:extLst>
                  <a:ext uri="{FF2B5EF4-FFF2-40B4-BE49-F238E27FC236}">
                    <a16:creationId xmlns:a16="http://schemas.microsoft.com/office/drawing/2014/main" id="{99FF8523-1A31-4CBE-951C-5E9481EEB57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10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47" name="Oval 340">
                <a:extLst>
                  <a:ext uri="{FF2B5EF4-FFF2-40B4-BE49-F238E27FC236}">
                    <a16:creationId xmlns:a16="http://schemas.microsoft.com/office/drawing/2014/main" id="{B70B3E11-6BF1-4A6F-88FA-38EF9656F60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66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48" name="Oval 341">
                <a:extLst>
                  <a:ext uri="{FF2B5EF4-FFF2-40B4-BE49-F238E27FC236}">
                    <a16:creationId xmlns:a16="http://schemas.microsoft.com/office/drawing/2014/main" id="{152C2AAC-FE9C-4FD9-8B27-BF19B75A70C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22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49" name="Oval 342">
                <a:extLst>
                  <a:ext uri="{FF2B5EF4-FFF2-40B4-BE49-F238E27FC236}">
                    <a16:creationId xmlns:a16="http://schemas.microsoft.com/office/drawing/2014/main" id="{8A597C4C-095C-4E18-8803-1B4B6F23589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78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50" name="Oval 343">
                <a:extLst>
                  <a:ext uri="{FF2B5EF4-FFF2-40B4-BE49-F238E27FC236}">
                    <a16:creationId xmlns:a16="http://schemas.microsoft.com/office/drawing/2014/main" id="{8B559E87-2718-4B79-B363-A7F0818369E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33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51" name="Oval 344">
                <a:extLst>
                  <a:ext uri="{FF2B5EF4-FFF2-40B4-BE49-F238E27FC236}">
                    <a16:creationId xmlns:a16="http://schemas.microsoft.com/office/drawing/2014/main" id="{78EF77DC-657A-4ADF-AD90-9C0FB1C3335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9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52" name="Oval 345">
                <a:extLst>
                  <a:ext uri="{FF2B5EF4-FFF2-40B4-BE49-F238E27FC236}">
                    <a16:creationId xmlns:a16="http://schemas.microsoft.com/office/drawing/2014/main" id="{59522FCB-4EB8-43BF-979C-29242ECB995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45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53" name="Oval 346">
                <a:extLst>
                  <a:ext uri="{FF2B5EF4-FFF2-40B4-BE49-F238E27FC236}">
                    <a16:creationId xmlns:a16="http://schemas.microsoft.com/office/drawing/2014/main" id="{67E28399-2F96-4D37-B358-58E0B7597B4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01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54" name="Oval 347">
                <a:extLst>
                  <a:ext uri="{FF2B5EF4-FFF2-40B4-BE49-F238E27FC236}">
                    <a16:creationId xmlns:a16="http://schemas.microsoft.com/office/drawing/2014/main" id="{05702679-FCA4-45A2-BEF4-7B81A0C1C59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7" y="1940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55" name="Oval 348">
                <a:extLst>
                  <a:ext uri="{FF2B5EF4-FFF2-40B4-BE49-F238E27FC236}">
                    <a16:creationId xmlns:a16="http://schemas.microsoft.com/office/drawing/2014/main" id="{90480D05-2381-4F52-964F-CF41B4007BE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12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56" name="Oval 349">
                <a:extLst>
                  <a:ext uri="{FF2B5EF4-FFF2-40B4-BE49-F238E27FC236}">
                    <a16:creationId xmlns:a16="http://schemas.microsoft.com/office/drawing/2014/main" id="{EE558162-0CD1-4AEF-98E8-97A254EB51A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68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57" name="Oval 350">
                <a:extLst>
                  <a:ext uri="{FF2B5EF4-FFF2-40B4-BE49-F238E27FC236}">
                    <a16:creationId xmlns:a16="http://schemas.microsoft.com/office/drawing/2014/main" id="{DD038B65-90A5-43BE-BE8F-7E392DD783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3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58" name="Oval 351">
                <a:extLst>
                  <a:ext uri="{FF2B5EF4-FFF2-40B4-BE49-F238E27FC236}">
                    <a16:creationId xmlns:a16="http://schemas.microsoft.com/office/drawing/2014/main" id="{1E93BD5C-8108-406F-9F12-ECB258B2125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79" y="1940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59" name="Oval 352">
                <a:extLst>
                  <a:ext uri="{FF2B5EF4-FFF2-40B4-BE49-F238E27FC236}">
                    <a16:creationId xmlns:a16="http://schemas.microsoft.com/office/drawing/2014/main" id="{601908E6-805C-4992-A3CF-2B18AC7196F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207" y="1895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60" name="Oval 353">
                <a:extLst>
                  <a:ext uri="{FF2B5EF4-FFF2-40B4-BE49-F238E27FC236}">
                    <a16:creationId xmlns:a16="http://schemas.microsoft.com/office/drawing/2014/main" id="{1664B892-4052-43E1-937B-4A2A50DD336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62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61" name="Oval 354">
                <a:extLst>
                  <a:ext uri="{FF2B5EF4-FFF2-40B4-BE49-F238E27FC236}">
                    <a16:creationId xmlns:a16="http://schemas.microsoft.com/office/drawing/2014/main" id="{476F42FF-1B2C-43E2-A93D-05F559E7599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18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62" name="Oval 355">
                <a:extLst>
                  <a:ext uri="{FF2B5EF4-FFF2-40B4-BE49-F238E27FC236}">
                    <a16:creationId xmlns:a16="http://schemas.microsoft.com/office/drawing/2014/main" id="{DB29A602-86D8-44A8-997F-B5B8164AD7E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74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63" name="Oval 356">
                <a:extLst>
                  <a:ext uri="{FF2B5EF4-FFF2-40B4-BE49-F238E27FC236}">
                    <a16:creationId xmlns:a16="http://schemas.microsoft.com/office/drawing/2014/main" id="{347E37B7-56BB-40AB-B199-0AABC5E81D6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30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64" name="Oval 357">
                <a:extLst>
                  <a:ext uri="{FF2B5EF4-FFF2-40B4-BE49-F238E27FC236}">
                    <a16:creationId xmlns:a16="http://schemas.microsoft.com/office/drawing/2014/main" id="{FAE6AB1E-66C2-4731-BBA2-A8EBFD00B95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86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65" name="Oval 358">
                <a:extLst>
                  <a:ext uri="{FF2B5EF4-FFF2-40B4-BE49-F238E27FC236}">
                    <a16:creationId xmlns:a16="http://schemas.microsoft.com/office/drawing/2014/main" id="{4457E994-32A2-4D83-B5F4-1C9B78AC7A7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41" y="1895"/>
                <a:ext cx="16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66" name="Oval 359">
                <a:extLst>
                  <a:ext uri="{FF2B5EF4-FFF2-40B4-BE49-F238E27FC236}">
                    <a16:creationId xmlns:a16="http://schemas.microsoft.com/office/drawing/2014/main" id="{9160D569-B8FC-46EA-9E35-4A710175BD0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97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67" name="Oval 360">
                <a:extLst>
                  <a:ext uri="{FF2B5EF4-FFF2-40B4-BE49-F238E27FC236}">
                    <a16:creationId xmlns:a16="http://schemas.microsoft.com/office/drawing/2014/main" id="{98BBDC64-29C0-41A9-9A64-D11EE9170FF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53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68" name="Oval 361">
                <a:extLst>
                  <a:ext uri="{FF2B5EF4-FFF2-40B4-BE49-F238E27FC236}">
                    <a16:creationId xmlns:a16="http://schemas.microsoft.com/office/drawing/2014/main" id="{ABF05AFB-D6E2-4AAF-8E9E-62F65CF8ECE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08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69" name="Oval 362">
                <a:extLst>
                  <a:ext uri="{FF2B5EF4-FFF2-40B4-BE49-F238E27FC236}">
                    <a16:creationId xmlns:a16="http://schemas.microsoft.com/office/drawing/2014/main" id="{8FF86A46-62B7-41D5-B84E-2B9263FFF30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64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70" name="Oval 363">
                <a:extLst>
                  <a:ext uri="{FF2B5EF4-FFF2-40B4-BE49-F238E27FC236}">
                    <a16:creationId xmlns:a16="http://schemas.microsoft.com/office/drawing/2014/main" id="{CD4DC33B-E147-4850-98FB-B00F4D6FA83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20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71" name="Oval 364">
                <a:extLst>
                  <a:ext uri="{FF2B5EF4-FFF2-40B4-BE49-F238E27FC236}">
                    <a16:creationId xmlns:a16="http://schemas.microsoft.com/office/drawing/2014/main" id="{9D09319A-1A69-4BD2-89FE-740D85981A3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76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72" name="Oval 365">
                <a:extLst>
                  <a:ext uri="{FF2B5EF4-FFF2-40B4-BE49-F238E27FC236}">
                    <a16:creationId xmlns:a16="http://schemas.microsoft.com/office/drawing/2014/main" id="{5AEC274B-EB89-48F8-A6CB-14523AAAC6B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32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73" name="Oval 366">
                <a:extLst>
                  <a:ext uri="{FF2B5EF4-FFF2-40B4-BE49-F238E27FC236}">
                    <a16:creationId xmlns:a16="http://schemas.microsoft.com/office/drawing/2014/main" id="{FB712B6F-F7CF-47EA-99C6-A432E7AFC69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87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74" name="Oval 367">
                <a:extLst>
                  <a:ext uri="{FF2B5EF4-FFF2-40B4-BE49-F238E27FC236}">
                    <a16:creationId xmlns:a16="http://schemas.microsoft.com/office/drawing/2014/main" id="{8C17A127-3606-4F8B-B52D-C0FF15667AC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43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75" name="Oval 368">
                <a:extLst>
                  <a:ext uri="{FF2B5EF4-FFF2-40B4-BE49-F238E27FC236}">
                    <a16:creationId xmlns:a16="http://schemas.microsoft.com/office/drawing/2014/main" id="{E9595E8C-9D7B-467C-AA40-CCE67AF1888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99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76" name="Oval 369">
                <a:extLst>
                  <a:ext uri="{FF2B5EF4-FFF2-40B4-BE49-F238E27FC236}">
                    <a16:creationId xmlns:a16="http://schemas.microsoft.com/office/drawing/2014/main" id="{FE532720-3AB5-4B7C-94BE-B7AAA2E4C61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55" y="1895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77" name="Oval 370">
                <a:extLst>
                  <a:ext uri="{FF2B5EF4-FFF2-40B4-BE49-F238E27FC236}">
                    <a16:creationId xmlns:a16="http://schemas.microsoft.com/office/drawing/2014/main" id="{2DA1D2CF-81FD-42BF-B18A-B11C2658A0E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10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78" name="Oval 371">
                <a:extLst>
                  <a:ext uri="{FF2B5EF4-FFF2-40B4-BE49-F238E27FC236}">
                    <a16:creationId xmlns:a16="http://schemas.microsoft.com/office/drawing/2014/main" id="{3BD38827-B51E-4A89-B8C9-4F72916DD87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66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79" name="Oval 372">
                <a:extLst>
                  <a:ext uri="{FF2B5EF4-FFF2-40B4-BE49-F238E27FC236}">
                    <a16:creationId xmlns:a16="http://schemas.microsoft.com/office/drawing/2014/main" id="{8435E467-186E-494E-978C-C22D3AF0D69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22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80" name="Oval 373">
                <a:extLst>
                  <a:ext uri="{FF2B5EF4-FFF2-40B4-BE49-F238E27FC236}">
                    <a16:creationId xmlns:a16="http://schemas.microsoft.com/office/drawing/2014/main" id="{7C740683-6762-49F3-AD6A-501A3FCA1F6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78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81" name="Oval 374">
                <a:extLst>
                  <a:ext uri="{FF2B5EF4-FFF2-40B4-BE49-F238E27FC236}">
                    <a16:creationId xmlns:a16="http://schemas.microsoft.com/office/drawing/2014/main" id="{F8EC913D-1001-48DD-AD2F-4EA7DD60E3C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33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82" name="Oval 375">
                <a:extLst>
                  <a:ext uri="{FF2B5EF4-FFF2-40B4-BE49-F238E27FC236}">
                    <a16:creationId xmlns:a16="http://schemas.microsoft.com/office/drawing/2014/main" id="{974605C0-1C1C-46CF-BA20-7CF35606B0D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9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83" name="Oval 376">
                <a:extLst>
                  <a:ext uri="{FF2B5EF4-FFF2-40B4-BE49-F238E27FC236}">
                    <a16:creationId xmlns:a16="http://schemas.microsoft.com/office/drawing/2014/main" id="{C75DFC8E-DD0D-4E72-A829-6F7D3A278DC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45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84" name="Oval 377">
                <a:extLst>
                  <a:ext uri="{FF2B5EF4-FFF2-40B4-BE49-F238E27FC236}">
                    <a16:creationId xmlns:a16="http://schemas.microsoft.com/office/drawing/2014/main" id="{3CBDBB72-6822-4070-9313-6754913393C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01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85" name="Oval 378">
                <a:extLst>
                  <a:ext uri="{FF2B5EF4-FFF2-40B4-BE49-F238E27FC236}">
                    <a16:creationId xmlns:a16="http://schemas.microsoft.com/office/drawing/2014/main" id="{A5A666FE-A11B-4304-895A-E40B230BB04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7" y="1895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86" name="Oval 379">
                <a:extLst>
                  <a:ext uri="{FF2B5EF4-FFF2-40B4-BE49-F238E27FC236}">
                    <a16:creationId xmlns:a16="http://schemas.microsoft.com/office/drawing/2014/main" id="{5DF19ACE-9DB7-47D7-8C6B-6DBB1C388A5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12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87" name="Oval 380">
                <a:extLst>
                  <a:ext uri="{FF2B5EF4-FFF2-40B4-BE49-F238E27FC236}">
                    <a16:creationId xmlns:a16="http://schemas.microsoft.com/office/drawing/2014/main" id="{C7928FC0-7532-474C-8632-9D841C0A5A4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68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88" name="Oval 381">
                <a:extLst>
                  <a:ext uri="{FF2B5EF4-FFF2-40B4-BE49-F238E27FC236}">
                    <a16:creationId xmlns:a16="http://schemas.microsoft.com/office/drawing/2014/main" id="{21A0FCF1-574D-44DA-B856-FC978532E26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3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89" name="Oval 382">
                <a:extLst>
                  <a:ext uri="{FF2B5EF4-FFF2-40B4-BE49-F238E27FC236}">
                    <a16:creationId xmlns:a16="http://schemas.microsoft.com/office/drawing/2014/main" id="{1477A21F-AFCB-479A-A326-AB52D0ED0D1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79" y="1895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90" name="Oval 383">
                <a:extLst>
                  <a:ext uri="{FF2B5EF4-FFF2-40B4-BE49-F238E27FC236}">
                    <a16:creationId xmlns:a16="http://schemas.microsoft.com/office/drawing/2014/main" id="{6BC77679-B801-473E-9AB6-81E28ED683E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207" y="1851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91" name="Oval 384">
                <a:extLst>
                  <a:ext uri="{FF2B5EF4-FFF2-40B4-BE49-F238E27FC236}">
                    <a16:creationId xmlns:a16="http://schemas.microsoft.com/office/drawing/2014/main" id="{F1DB384A-4235-4B8A-8B7A-02AD1DD8CDD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62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92" name="Oval 385">
                <a:extLst>
                  <a:ext uri="{FF2B5EF4-FFF2-40B4-BE49-F238E27FC236}">
                    <a16:creationId xmlns:a16="http://schemas.microsoft.com/office/drawing/2014/main" id="{FB9C744B-7465-4A05-A9EE-8F8AB057B0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18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93" name="Oval 386">
                <a:extLst>
                  <a:ext uri="{FF2B5EF4-FFF2-40B4-BE49-F238E27FC236}">
                    <a16:creationId xmlns:a16="http://schemas.microsoft.com/office/drawing/2014/main" id="{A11C3D91-4163-4CB3-A907-EBF696F039F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74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94" name="Oval 387">
                <a:extLst>
                  <a:ext uri="{FF2B5EF4-FFF2-40B4-BE49-F238E27FC236}">
                    <a16:creationId xmlns:a16="http://schemas.microsoft.com/office/drawing/2014/main" id="{AEDEB1BA-8908-4268-8DD1-D419E985C6A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30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95" name="Oval 388">
                <a:extLst>
                  <a:ext uri="{FF2B5EF4-FFF2-40B4-BE49-F238E27FC236}">
                    <a16:creationId xmlns:a16="http://schemas.microsoft.com/office/drawing/2014/main" id="{638D427D-7470-47D4-9757-0EEBD413242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86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96" name="Oval 389">
                <a:extLst>
                  <a:ext uri="{FF2B5EF4-FFF2-40B4-BE49-F238E27FC236}">
                    <a16:creationId xmlns:a16="http://schemas.microsoft.com/office/drawing/2014/main" id="{94D2D750-185A-40FB-A9DB-44188625D03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41" y="1851"/>
                <a:ext cx="16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97" name="Oval 390">
                <a:extLst>
                  <a:ext uri="{FF2B5EF4-FFF2-40B4-BE49-F238E27FC236}">
                    <a16:creationId xmlns:a16="http://schemas.microsoft.com/office/drawing/2014/main" id="{2800C586-FD52-4FE2-8ACB-F1B7142488A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97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98" name="Oval 391">
                <a:extLst>
                  <a:ext uri="{FF2B5EF4-FFF2-40B4-BE49-F238E27FC236}">
                    <a16:creationId xmlns:a16="http://schemas.microsoft.com/office/drawing/2014/main" id="{BE2CB8AD-9803-4C99-A60C-CDB01AD84EC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53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399" name="Oval 392">
                <a:extLst>
                  <a:ext uri="{FF2B5EF4-FFF2-40B4-BE49-F238E27FC236}">
                    <a16:creationId xmlns:a16="http://schemas.microsoft.com/office/drawing/2014/main" id="{340ADAAA-3602-41B7-A767-27EC7672E4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08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00" name="Oval 393">
                <a:extLst>
                  <a:ext uri="{FF2B5EF4-FFF2-40B4-BE49-F238E27FC236}">
                    <a16:creationId xmlns:a16="http://schemas.microsoft.com/office/drawing/2014/main" id="{6AC89D87-1FAA-4E95-8A97-F493D1FF746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64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01" name="Oval 394">
                <a:extLst>
                  <a:ext uri="{FF2B5EF4-FFF2-40B4-BE49-F238E27FC236}">
                    <a16:creationId xmlns:a16="http://schemas.microsoft.com/office/drawing/2014/main" id="{3B10C797-62F5-4FE8-A148-65FA9E06AEE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20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02" name="Oval 395">
                <a:extLst>
                  <a:ext uri="{FF2B5EF4-FFF2-40B4-BE49-F238E27FC236}">
                    <a16:creationId xmlns:a16="http://schemas.microsoft.com/office/drawing/2014/main" id="{A87025DE-BDE7-49BE-8BAF-AEE0058A40F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76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03" name="Oval 396">
                <a:extLst>
                  <a:ext uri="{FF2B5EF4-FFF2-40B4-BE49-F238E27FC236}">
                    <a16:creationId xmlns:a16="http://schemas.microsoft.com/office/drawing/2014/main" id="{CF25634D-DB5A-4B0A-B18F-FFD7B9456BD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32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04" name="Oval 397">
                <a:extLst>
                  <a:ext uri="{FF2B5EF4-FFF2-40B4-BE49-F238E27FC236}">
                    <a16:creationId xmlns:a16="http://schemas.microsoft.com/office/drawing/2014/main" id="{25A8E68D-C557-40B9-A45E-7211DE8B5C1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87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05" name="Oval 398">
                <a:extLst>
                  <a:ext uri="{FF2B5EF4-FFF2-40B4-BE49-F238E27FC236}">
                    <a16:creationId xmlns:a16="http://schemas.microsoft.com/office/drawing/2014/main" id="{7C89224C-40EE-4179-98B1-F8037FF3C85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43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06" name="Oval 399">
                <a:extLst>
                  <a:ext uri="{FF2B5EF4-FFF2-40B4-BE49-F238E27FC236}">
                    <a16:creationId xmlns:a16="http://schemas.microsoft.com/office/drawing/2014/main" id="{7E5BABDE-E3E4-4937-B495-CC208649CB7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99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07" name="Oval 400">
                <a:extLst>
                  <a:ext uri="{FF2B5EF4-FFF2-40B4-BE49-F238E27FC236}">
                    <a16:creationId xmlns:a16="http://schemas.microsoft.com/office/drawing/2014/main" id="{019013C4-97C1-4A63-BF2C-77DCF4F6551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55" y="1851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08" name="Oval 401">
                <a:extLst>
                  <a:ext uri="{FF2B5EF4-FFF2-40B4-BE49-F238E27FC236}">
                    <a16:creationId xmlns:a16="http://schemas.microsoft.com/office/drawing/2014/main" id="{4885C821-75E6-48EB-9435-73E948F6348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10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09" name="Oval 402">
                <a:extLst>
                  <a:ext uri="{FF2B5EF4-FFF2-40B4-BE49-F238E27FC236}">
                    <a16:creationId xmlns:a16="http://schemas.microsoft.com/office/drawing/2014/main" id="{21EFA648-63A4-4B22-A9A1-5E830453D0F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66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10" name="Oval 403">
                <a:extLst>
                  <a:ext uri="{FF2B5EF4-FFF2-40B4-BE49-F238E27FC236}">
                    <a16:creationId xmlns:a16="http://schemas.microsoft.com/office/drawing/2014/main" id="{7D3C856F-D413-459D-B024-9D78B14ACBB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22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11" name="Oval 404">
                <a:extLst>
                  <a:ext uri="{FF2B5EF4-FFF2-40B4-BE49-F238E27FC236}">
                    <a16:creationId xmlns:a16="http://schemas.microsoft.com/office/drawing/2014/main" id="{8244887F-635F-423A-AD76-D6D333FD214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78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12" name="Oval 405">
                <a:extLst>
                  <a:ext uri="{FF2B5EF4-FFF2-40B4-BE49-F238E27FC236}">
                    <a16:creationId xmlns:a16="http://schemas.microsoft.com/office/drawing/2014/main" id="{4724C5DF-A534-4FBA-96DD-0221FEE32A7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33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13" name="Oval 406">
                <a:extLst>
                  <a:ext uri="{FF2B5EF4-FFF2-40B4-BE49-F238E27FC236}">
                    <a16:creationId xmlns:a16="http://schemas.microsoft.com/office/drawing/2014/main" id="{EACDCF50-C390-4CBA-90C1-A91C22B8ED5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9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14" name="Oval 407">
                <a:extLst>
                  <a:ext uri="{FF2B5EF4-FFF2-40B4-BE49-F238E27FC236}">
                    <a16:creationId xmlns:a16="http://schemas.microsoft.com/office/drawing/2014/main" id="{44A2FC45-D6CD-4EB0-80F5-D172CB74358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45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15" name="Oval 408">
                <a:extLst>
                  <a:ext uri="{FF2B5EF4-FFF2-40B4-BE49-F238E27FC236}">
                    <a16:creationId xmlns:a16="http://schemas.microsoft.com/office/drawing/2014/main" id="{E1EA8FA7-892A-451E-9905-10F4A16FC12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01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16" name="Oval 409">
                <a:extLst>
                  <a:ext uri="{FF2B5EF4-FFF2-40B4-BE49-F238E27FC236}">
                    <a16:creationId xmlns:a16="http://schemas.microsoft.com/office/drawing/2014/main" id="{6021DFD7-C8CC-40FC-92ED-A3393A4E537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7" y="1851"/>
                <a:ext cx="14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17" name="Oval 410">
                <a:extLst>
                  <a:ext uri="{FF2B5EF4-FFF2-40B4-BE49-F238E27FC236}">
                    <a16:creationId xmlns:a16="http://schemas.microsoft.com/office/drawing/2014/main" id="{4829F5F8-2D1A-418B-9FA3-C83AF68560C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12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18" name="Oval 411">
                <a:extLst>
                  <a:ext uri="{FF2B5EF4-FFF2-40B4-BE49-F238E27FC236}">
                    <a16:creationId xmlns:a16="http://schemas.microsoft.com/office/drawing/2014/main" id="{A0ABCD35-348D-432B-ABFD-A55B50C2A64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68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19" name="Oval 412">
                <a:extLst>
                  <a:ext uri="{FF2B5EF4-FFF2-40B4-BE49-F238E27FC236}">
                    <a16:creationId xmlns:a16="http://schemas.microsoft.com/office/drawing/2014/main" id="{9A88055C-6620-40DB-9943-04A0D9DA48B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3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20" name="Oval 413">
                <a:extLst>
                  <a:ext uri="{FF2B5EF4-FFF2-40B4-BE49-F238E27FC236}">
                    <a16:creationId xmlns:a16="http://schemas.microsoft.com/office/drawing/2014/main" id="{46CDE987-5115-44D9-ABBC-900C8D0AD75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79" y="1851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21" name="Oval 414">
                <a:extLst>
                  <a:ext uri="{FF2B5EF4-FFF2-40B4-BE49-F238E27FC236}">
                    <a16:creationId xmlns:a16="http://schemas.microsoft.com/office/drawing/2014/main" id="{AB4314CA-E2BA-46C2-AC05-CCEA49CA5E6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02" y="2523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22" name="Oval 415">
                <a:extLst>
                  <a:ext uri="{FF2B5EF4-FFF2-40B4-BE49-F238E27FC236}">
                    <a16:creationId xmlns:a16="http://schemas.microsoft.com/office/drawing/2014/main" id="{C979165D-7EE4-4DD9-AB06-E4C0B55768E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38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23" name="Oval 416">
                <a:extLst>
                  <a:ext uri="{FF2B5EF4-FFF2-40B4-BE49-F238E27FC236}">
                    <a16:creationId xmlns:a16="http://schemas.microsoft.com/office/drawing/2014/main" id="{1C8FF89B-E428-4DB6-B874-FE579396DAE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74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24" name="Oval 417">
                <a:extLst>
                  <a:ext uri="{FF2B5EF4-FFF2-40B4-BE49-F238E27FC236}">
                    <a16:creationId xmlns:a16="http://schemas.microsoft.com/office/drawing/2014/main" id="{8EF28F6E-D0FE-4A2A-9DAA-59C02522D24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10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25" name="Oval 418">
                <a:extLst>
                  <a:ext uri="{FF2B5EF4-FFF2-40B4-BE49-F238E27FC236}">
                    <a16:creationId xmlns:a16="http://schemas.microsoft.com/office/drawing/2014/main" id="{D3C6E8D4-0AB2-440E-8888-6BBFC559E33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46" y="2523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26" name="Oval 419">
                <a:extLst>
                  <a:ext uri="{FF2B5EF4-FFF2-40B4-BE49-F238E27FC236}">
                    <a16:creationId xmlns:a16="http://schemas.microsoft.com/office/drawing/2014/main" id="{E74C5693-54A6-439B-98BC-21B29640E9F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2" y="2523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27" name="Oval 420">
                <a:extLst>
                  <a:ext uri="{FF2B5EF4-FFF2-40B4-BE49-F238E27FC236}">
                    <a16:creationId xmlns:a16="http://schemas.microsoft.com/office/drawing/2014/main" id="{1AFAB660-0895-46E9-9E87-CF93576F98E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18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28" name="Oval 421">
                <a:extLst>
                  <a:ext uri="{FF2B5EF4-FFF2-40B4-BE49-F238E27FC236}">
                    <a16:creationId xmlns:a16="http://schemas.microsoft.com/office/drawing/2014/main" id="{2E992627-6026-4FFB-A2B7-8D09F433565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4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29" name="Oval 422">
                <a:extLst>
                  <a:ext uri="{FF2B5EF4-FFF2-40B4-BE49-F238E27FC236}">
                    <a16:creationId xmlns:a16="http://schemas.microsoft.com/office/drawing/2014/main" id="{1E79016D-00B4-4B12-973B-3754F970903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90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30" name="Oval 423">
                <a:extLst>
                  <a:ext uri="{FF2B5EF4-FFF2-40B4-BE49-F238E27FC236}">
                    <a16:creationId xmlns:a16="http://schemas.microsoft.com/office/drawing/2014/main" id="{6E9383C3-B679-4D9B-BA84-F65E8DF155C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5" y="2523"/>
                <a:ext cx="23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31" name="Oval 424">
                <a:extLst>
                  <a:ext uri="{FF2B5EF4-FFF2-40B4-BE49-F238E27FC236}">
                    <a16:creationId xmlns:a16="http://schemas.microsoft.com/office/drawing/2014/main" id="{0D4DF742-B7EA-47FE-BA33-39C33FA50F0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62" y="2523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32" name="Oval 425">
                <a:extLst>
                  <a:ext uri="{FF2B5EF4-FFF2-40B4-BE49-F238E27FC236}">
                    <a16:creationId xmlns:a16="http://schemas.microsoft.com/office/drawing/2014/main" id="{A3796A1E-AF50-4EB4-958F-778A7674874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798" y="2523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33" name="Oval 426">
                <a:extLst>
                  <a:ext uri="{FF2B5EF4-FFF2-40B4-BE49-F238E27FC236}">
                    <a16:creationId xmlns:a16="http://schemas.microsoft.com/office/drawing/2014/main" id="{F18E748A-0729-4BB7-A284-575A583FFDD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734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34" name="Oval 427">
                <a:extLst>
                  <a:ext uri="{FF2B5EF4-FFF2-40B4-BE49-F238E27FC236}">
                    <a16:creationId xmlns:a16="http://schemas.microsoft.com/office/drawing/2014/main" id="{52A67E71-FD80-4C77-91D7-4C741AAB88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670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35" name="Oval 428">
                <a:extLst>
                  <a:ext uri="{FF2B5EF4-FFF2-40B4-BE49-F238E27FC236}">
                    <a16:creationId xmlns:a16="http://schemas.microsoft.com/office/drawing/2014/main" id="{C16CBFC3-7D64-4F34-B075-9A04A6C4151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605" y="2523"/>
                <a:ext cx="23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36" name="Oval 429">
                <a:extLst>
                  <a:ext uri="{FF2B5EF4-FFF2-40B4-BE49-F238E27FC236}">
                    <a16:creationId xmlns:a16="http://schemas.microsoft.com/office/drawing/2014/main" id="{4340781B-8B42-4FC1-93C4-9330EC3E422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542" y="2523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37" name="Oval 430">
                <a:extLst>
                  <a:ext uri="{FF2B5EF4-FFF2-40B4-BE49-F238E27FC236}">
                    <a16:creationId xmlns:a16="http://schemas.microsoft.com/office/drawing/2014/main" id="{CB4B00C2-7836-4E89-AB68-07E3A4C3690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478" y="2523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38" name="Oval 431">
                <a:extLst>
                  <a:ext uri="{FF2B5EF4-FFF2-40B4-BE49-F238E27FC236}">
                    <a16:creationId xmlns:a16="http://schemas.microsoft.com/office/drawing/2014/main" id="{B74550F6-3387-4567-BBB4-3B67B169F38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414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39" name="Oval 432">
                <a:extLst>
                  <a:ext uri="{FF2B5EF4-FFF2-40B4-BE49-F238E27FC236}">
                    <a16:creationId xmlns:a16="http://schemas.microsoft.com/office/drawing/2014/main" id="{2ECF2195-725E-4BFF-A73E-06EAB271D3E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350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40" name="Oval 433">
                <a:extLst>
                  <a:ext uri="{FF2B5EF4-FFF2-40B4-BE49-F238E27FC236}">
                    <a16:creationId xmlns:a16="http://schemas.microsoft.com/office/drawing/2014/main" id="{39E5129E-1FE7-412B-AA5F-AB849FC8562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286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41" name="Oval 434">
                <a:extLst>
                  <a:ext uri="{FF2B5EF4-FFF2-40B4-BE49-F238E27FC236}">
                    <a16:creationId xmlns:a16="http://schemas.microsoft.com/office/drawing/2014/main" id="{3E038E6C-B178-4288-861A-E8EDDE60A47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221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42" name="Oval 435">
                <a:extLst>
                  <a:ext uri="{FF2B5EF4-FFF2-40B4-BE49-F238E27FC236}">
                    <a16:creationId xmlns:a16="http://schemas.microsoft.com/office/drawing/2014/main" id="{E133404F-2254-4D75-B1C2-27D160CA297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158" y="2523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43" name="Oval 436">
                <a:extLst>
                  <a:ext uri="{FF2B5EF4-FFF2-40B4-BE49-F238E27FC236}">
                    <a16:creationId xmlns:a16="http://schemas.microsoft.com/office/drawing/2014/main" id="{24923DF6-D281-40D8-A3EA-AF259080DEE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094" y="2523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44" name="Oval 437">
                <a:extLst>
                  <a:ext uri="{FF2B5EF4-FFF2-40B4-BE49-F238E27FC236}">
                    <a16:creationId xmlns:a16="http://schemas.microsoft.com/office/drawing/2014/main" id="{2CB0FE3A-FBAC-47E9-8817-149746C4738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030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45" name="Oval 438">
                <a:extLst>
                  <a:ext uri="{FF2B5EF4-FFF2-40B4-BE49-F238E27FC236}">
                    <a16:creationId xmlns:a16="http://schemas.microsoft.com/office/drawing/2014/main" id="{549BB104-B752-442E-8833-2B097D1A20D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966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46" name="Oval 439">
                <a:extLst>
                  <a:ext uri="{FF2B5EF4-FFF2-40B4-BE49-F238E27FC236}">
                    <a16:creationId xmlns:a16="http://schemas.microsoft.com/office/drawing/2014/main" id="{9E5F8272-A711-4855-A6AC-9520F27AF4D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901" y="2523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47" name="Oval 440">
                <a:extLst>
                  <a:ext uri="{FF2B5EF4-FFF2-40B4-BE49-F238E27FC236}">
                    <a16:creationId xmlns:a16="http://schemas.microsoft.com/office/drawing/2014/main" id="{2A538AC6-7CD9-4EA4-8B3B-96EB09F9271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02" y="2459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48" name="Oval 441">
                <a:extLst>
                  <a:ext uri="{FF2B5EF4-FFF2-40B4-BE49-F238E27FC236}">
                    <a16:creationId xmlns:a16="http://schemas.microsoft.com/office/drawing/2014/main" id="{8FACD5E1-FFA5-4F0A-8F4D-ECC5C15EFB6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38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49" name="Oval 442">
                <a:extLst>
                  <a:ext uri="{FF2B5EF4-FFF2-40B4-BE49-F238E27FC236}">
                    <a16:creationId xmlns:a16="http://schemas.microsoft.com/office/drawing/2014/main" id="{25014F02-0E76-427D-911F-95F34B3B880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74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50" name="Oval 443">
                <a:extLst>
                  <a:ext uri="{FF2B5EF4-FFF2-40B4-BE49-F238E27FC236}">
                    <a16:creationId xmlns:a16="http://schemas.microsoft.com/office/drawing/2014/main" id="{B306497A-F207-431F-86C1-AA3FFB73DB1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10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51" name="Oval 444">
                <a:extLst>
                  <a:ext uri="{FF2B5EF4-FFF2-40B4-BE49-F238E27FC236}">
                    <a16:creationId xmlns:a16="http://schemas.microsoft.com/office/drawing/2014/main" id="{61AC197D-7D15-49D2-942E-E22B5CE3257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46" y="2459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52" name="Oval 445">
                <a:extLst>
                  <a:ext uri="{FF2B5EF4-FFF2-40B4-BE49-F238E27FC236}">
                    <a16:creationId xmlns:a16="http://schemas.microsoft.com/office/drawing/2014/main" id="{899F8D60-2FD7-4F53-9000-4744ED4E4BD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2" y="2459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53" name="Oval 446">
                <a:extLst>
                  <a:ext uri="{FF2B5EF4-FFF2-40B4-BE49-F238E27FC236}">
                    <a16:creationId xmlns:a16="http://schemas.microsoft.com/office/drawing/2014/main" id="{6F643677-3EDD-4453-A3C5-CEB68A8A7AE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18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54" name="Oval 447">
                <a:extLst>
                  <a:ext uri="{FF2B5EF4-FFF2-40B4-BE49-F238E27FC236}">
                    <a16:creationId xmlns:a16="http://schemas.microsoft.com/office/drawing/2014/main" id="{2C39CAB7-816A-4F22-ACD8-459A1A9012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4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55" name="Oval 448">
                <a:extLst>
                  <a:ext uri="{FF2B5EF4-FFF2-40B4-BE49-F238E27FC236}">
                    <a16:creationId xmlns:a16="http://schemas.microsoft.com/office/drawing/2014/main" id="{47F6E213-D0FC-46B5-80E1-35E32B25FD5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90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56" name="Oval 449">
                <a:extLst>
                  <a:ext uri="{FF2B5EF4-FFF2-40B4-BE49-F238E27FC236}">
                    <a16:creationId xmlns:a16="http://schemas.microsoft.com/office/drawing/2014/main" id="{721A4922-B36C-46C8-BE39-9ED05309314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5" y="2459"/>
                <a:ext cx="23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57" name="Oval 450">
                <a:extLst>
                  <a:ext uri="{FF2B5EF4-FFF2-40B4-BE49-F238E27FC236}">
                    <a16:creationId xmlns:a16="http://schemas.microsoft.com/office/drawing/2014/main" id="{D7D45CF4-D6BC-4E79-B127-DE3005CD528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62" y="2459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58" name="Oval 451">
                <a:extLst>
                  <a:ext uri="{FF2B5EF4-FFF2-40B4-BE49-F238E27FC236}">
                    <a16:creationId xmlns:a16="http://schemas.microsoft.com/office/drawing/2014/main" id="{E22CA870-4D7F-4C27-97E1-E53648B6B2D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798" y="2459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59" name="Oval 452">
                <a:extLst>
                  <a:ext uri="{FF2B5EF4-FFF2-40B4-BE49-F238E27FC236}">
                    <a16:creationId xmlns:a16="http://schemas.microsoft.com/office/drawing/2014/main" id="{EBDC1CD3-1595-4FB5-B960-74545BCDE8D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734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60" name="Oval 453">
                <a:extLst>
                  <a:ext uri="{FF2B5EF4-FFF2-40B4-BE49-F238E27FC236}">
                    <a16:creationId xmlns:a16="http://schemas.microsoft.com/office/drawing/2014/main" id="{2AEA4BB2-872A-4513-81D3-24EA09B0FDB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670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61" name="Oval 454">
                <a:extLst>
                  <a:ext uri="{FF2B5EF4-FFF2-40B4-BE49-F238E27FC236}">
                    <a16:creationId xmlns:a16="http://schemas.microsoft.com/office/drawing/2014/main" id="{F68E9F64-3332-4202-8F29-3E7141641F6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605" y="2459"/>
                <a:ext cx="23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62" name="Oval 455">
                <a:extLst>
                  <a:ext uri="{FF2B5EF4-FFF2-40B4-BE49-F238E27FC236}">
                    <a16:creationId xmlns:a16="http://schemas.microsoft.com/office/drawing/2014/main" id="{28570E80-5EF5-4E5E-B215-5A72C2EFE78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542" y="2459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63" name="Oval 456">
                <a:extLst>
                  <a:ext uri="{FF2B5EF4-FFF2-40B4-BE49-F238E27FC236}">
                    <a16:creationId xmlns:a16="http://schemas.microsoft.com/office/drawing/2014/main" id="{9CE3C18A-08C5-402B-85AE-2FBBB7206DE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478" y="2459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64" name="Oval 457">
                <a:extLst>
                  <a:ext uri="{FF2B5EF4-FFF2-40B4-BE49-F238E27FC236}">
                    <a16:creationId xmlns:a16="http://schemas.microsoft.com/office/drawing/2014/main" id="{796F4FE5-5310-48CF-81C3-B7F8015E2EC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414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65" name="Oval 458">
                <a:extLst>
                  <a:ext uri="{FF2B5EF4-FFF2-40B4-BE49-F238E27FC236}">
                    <a16:creationId xmlns:a16="http://schemas.microsoft.com/office/drawing/2014/main" id="{BFBD86DE-7F96-44F2-BAD2-DD53291356F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350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66" name="Oval 459">
                <a:extLst>
                  <a:ext uri="{FF2B5EF4-FFF2-40B4-BE49-F238E27FC236}">
                    <a16:creationId xmlns:a16="http://schemas.microsoft.com/office/drawing/2014/main" id="{18B7F1AB-C649-41D7-B25C-CEAAC287B64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286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467" name="Oval 460">
                <a:extLst>
                  <a:ext uri="{FF2B5EF4-FFF2-40B4-BE49-F238E27FC236}">
                    <a16:creationId xmlns:a16="http://schemas.microsoft.com/office/drawing/2014/main" id="{0D39402E-B532-4C22-BC23-5E6B87EB303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221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</p:grpSp>
        <p:grpSp>
          <p:nvGrpSpPr>
            <p:cNvPr id="60" name="Group 662">
              <a:extLst>
                <a:ext uri="{FF2B5EF4-FFF2-40B4-BE49-F238E27FC236}">
                  <a16:creationId xmlns:a16="http://schemas.microsoft.com/office/drawing/2014/main" id="{358771D2-134E-44D4-9F28-B16DF61DB570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2085" y="1586"/>
              <a:ext cx="3676" cy="1405"/>
              <a:chOff x="2085" y="1586"/>
              <a:chExt cx="3676" cy="1405"/>
            </a:xfrm>
            <a:grpFill/>
          </p:grpSpPr>
          <p:sp>
            <p:nvSpPr>
              <p:cNvPr id="67" name="Oval 462">
                <a:extLst>
                  <a:ext uri="{FF2B5EF4-FFF2-40B4-BE49-F238E27FC236}">
                    <a16:creationId xmlns:a16="http://schemas.microsoft.com/office/drawing/2014/main" id="{F32D2F85-A012-4EA1-9EFB-0526D30FB8F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158" y="2459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8" name="Oval 463">
                <a:extLst>
                  <a:ext uri="{FF2B5EF4-FFF2-40B4-BE49-F238E27FC236}">
                    <a16:creationId xmlns:a16="http://schemas.microsoft.com/office/drawing/2014/main" id="{FF8EBA70-1097-4777-A30F-FBBF718EBBE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094" y="2459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69" name="Oval 464">
                <a:extLst>
                  <a:ext uri="{FF2B5EF4-FFF2-40B4-BE49-F238E27FC236}">
                    <a16:creationId xmlns:a16="http://schemas.microsoft.com/office/drawing/2014/main" id="{0397A16F-09A9-4D5C-96F8-6F65817FD85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030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70" name="Oval 465">
                <a:extLst>
                  <a:ext uri="{FF2B5EF4-FFF2-40B4-BE49-F238E27FC236}">
                    <a16:creationId xmlns:a16="http://schemas.microsoft.com/office/drawing/2014/main" id="{EC0456D8-94C2-4DBA-8F5C-CD43996CA7D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966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71" name="Oval 466">
                <a:extLst>
                  <a:ext uri="{FF2B5EF4-FFF2-40B4-BE49-F238E27FC236}">
                    <a16:creationId xmlns:a16="http://schemas.microsoft.com/office/drawing/2014/main" id="{DEBCD340-5903-45CB-9A23-AB5802A2E48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901" y="2459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72" name="Oval 467">
                <a:extLst>
                  <a:ext uri="{FF2B5EF4-FFF2-40B4-BE49-F238E27FC236}">
                    <a16:creationId xmlns:a16="http://schemas.microsoft.com/office/drawing/2014/main" id="{E206CBCF-E4C3-4C89-9AFB-FE7A8F001EE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02" y="2395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73" name="Oval 468">
                <a:extLst>
                  <a:ext uri="{FF2B5EF4-FFF2-40B4-BE49-F238E27FC236}">
                    <a16:creationId xmlns:a16="http://schemas.microsoft.com/office/drawing/2014/main" id="{5A96760F-3E40-457E-8D3A-A98FA789627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38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74" name="Oval 469">
                <a:extLst>
                  <a:ext uri="{FF2B5EF4-FFF2-40B4-BE49-F238E27FC236}">
                    <a16:creationId xmlns:a16="http://schemas.microsoft.com/office/drawing/2014/main" id="{3EBA6D3A-A6C6-4729-B524-503733A18D8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74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75" name="Oval 470">
                <a:extLst>
                  <a:ext uri="{FF2B5EF4-FFF2-40B4-BE49-F238E27FC236}">
                    <a16:creationId xmlns:a16="http://schemas.microsoft.com/office/drawing/2014/main" id="{FFA4A851-BC06-4449-AB67-1E1E5E9198C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10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76" name="Oval 471">
                <a:extLst>
                  <a:ext uri="{FF2B5EF4-FFF2-40B4-BE49-F238E27FC236}">
                    <a16:creationId xmlns:a16="http://schemas.microsoft.com/office/drawing/2014/main" id="{844D7555-CB78-4DBA-8D23-9BAFCE33AA5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46" y="2395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77" name="Oval 472">
                <a:extLst>
                  <a:ext uri="{FF2B5EF4-FFF2-40B4-BE49-F238E27FC236}">
                    <a16:creationId xmlns:a16="http://schemas.microsoft.com/office/drawing/2014/main" id="{DDAF135D-F354-4AD4-BCB0-08FA35B9B03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2" y="2395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78" name="Oval 473">
                <a:extLst>
                  <a:ext uri="{FF2B5EF4-FFF2-40B4-BE49-F238E27FC236}">
                    <a16:creationId xmlns:a16="http://schemas.microsoft.com/office/drawing/2014/main" id="{045CDEB9-D08F-42A6-B81F-D65A61EFE21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18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79" name="Oval 474">
                <a:extLst>
                  <a:ext uri="{FF2B5EF4-FFF2-40B4-BE49-F238E27FC236}">
                    <a16:creationId xmlns:a16="http://schemas.microsoft.com/office/drawing/2014/main" id="{A6FCF334-0A62-4559-A74E-2749AAFC4C2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4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81" name="Oval 475">
                <a:extLst>
                  <a:ext uri="{FF2B5EF4-FFF2-40B4-BE49-F238E27FC236}">
                    <a16:creationId xmlns:a16="http://schemas.microsoft.com/office/drawing/2014/main" id="{34200F2C-E312-47E4-8174-033188AA7D1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90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82" name="Oval 476">
                <a:extLst>
                  <a:ext uri="{FF2B5EF4-FFF2-40B4-BE49-F238E27FC236}">
                    <a16:creationId xmlns:a16="http://schemas.microsoft.com/office/drawing/2014/main" id="{0620820F-1474-48E1-A172-3D9A86F3904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5" y="2395"/>
                <a:ext cx="23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83" name="Oval 477">
                <a:extLst>
                  <a:ext uri="{FF2B5EF4-FFF2-40B4-BE49-F238E27FC236}">
                    <a16:creationId xmlns:a16="http://schemas.microsoft.com/office/drawing/2014/main" id="{F83F93E8-4584-45C0-8BA4-88732E62097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62" y="2395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84" name="Oval 478">
                <a:extLst>
                  <a:ext uri="{FF2B5EF4-FFF2-40B4-BE49-F238E27FC236}">
                    <a16:creationId xmlns:a16="http://schemas.microsoft.com/office/drawing/2014/main" id="{FEB148EE-854C-4157-A586-53EFA3403CD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798" y="2395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85" name="Oval 479">
                <a:extLst>
                  <a:ext uri="{FF2B5EF4-FFF2-40B4-BE49-F238E27FC236}">
                    <a16:creationId xmlns:a16="http://schemas.microsoft.com/office/drawing/2014/main" id="{0035207E-7C5C-4D52-8987-831F4C2EA90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734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86" name="Oval 480">
                <a:extLst>
                  <a:ext uri="{FF2B5EF4-FFF2-40B4-BE49-F238E27FC236}">
                    <a16:creationId xmlns:a16="http://schemas.microsoft.com/office/drawing/2014/main" id="{6119172D-C236-465C-845E-B148A2AD525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670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87" name="Oval 481">
                <a:extLst>
                  <a:ext uri="{FF2B5EF4-FFF2-40B4-BE49-F238E27FC236}">
                    <a16:creationId xmlns:a16="http://schemas.microsoft.com/office/drawing/2014/main" id="{D34662AE-1D6F-4EB8-BC92-6F62376361D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605" y="2395"/>
                <a:ext cx="23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88" name="Oval 482">
                <a:extLst>
                  <a:ext uri="{FF2B5EF4-FFF2-40B4-BE49-F238E27FC236}">
                    <a16:creationId xmlns:a16="http://schemas.microsoft.com/office/drawing/2014/main" id="{C09CD71C-EFD9-4DD6-B0FC-4DDDA6818A9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542" y="2395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89" name="Oval 483">
                <a:extLst>
                  <a:ext uri="{FF2B5EF4-FFF2-40B4-BE49-F238E27FC236}">
                    <a16:creationId xmlns:a16="http://schemas.microsoft.com/office/drawing/2014/main" id="{E605F88C-D1B5-42A0-A11A-64844CD2AF9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478" y="2395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90" name="Oval 484">
                <a:extLst>
                  <a:ext uri="{FF2B5EF4-FFF2-40B4-BE49-F238E27FC236}">
                    <a16:creationId xmlns:a16="http://schemas.microsoft.com/office/drawing/2014/main" id="{8F334420-5977-4E2B-93B0-F7A4C70ED33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414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91" name="Oval 485">
                <a:extLst>
                  <a:ext uri="{FF2B5EF4-FFF2-40B4-BE49-F238E27FC236}">
                    <a16:creationId xmlns:a16="http://schemas.microsoft.com/office/drawing/2014/main" id="{AF8BA12C-978B-4890-A484-BB6904A139D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350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92" name="Oval 486">
                <a:extLst>
                  <a:ext uri="{FF2B5EF4-FFF2-40B4-BE49-F238E27FC236}">
                    <a16:creationId xmlns:a16="http://schemas.microsoft.com/office/drawing/2014/main" id="{EF9ABD70-CCF0-47E5-B018-0130A173D05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286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93" name="Oval 487">
                <a:extLst>
                  <a:ext uri="{FF2B5EF4-FFF2-40B4-BE49-F238E27FC236}">
                    <a16:creationId xmlns:a16="http://schemas.microsoft.com/office/drawing/2014/main" id="{2B542086-3E55-45DF-959E-50806C92B56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221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94" name="Oval 488">
                <a:extLst>
                  <a:ext uri="{FF2B5EF4-FFF2-40B4-BE49-F238E27FC236}">
                    <a16:creationId xmlns:a16="http://schemas.microsoft.com/office/drawing/2014/main" id="{6293A0DE-5009-4FA6-8B3A-F0C4F51C56B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158" y="2395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95" name="Oval 489">
                <a:extLst>
                  <a:ext uri="{FF2B5EF4-FFF2-40B4-BE49-F238E27FC236}">
                    <a16:creationId xmlns:a16="http://schemas.microsoft.com/office/drawing/2014/main" id="{7ACB59F9-A86C-4F7C-B93C-5746BF8FE0E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094" y="2395"/>
                <a:ext cx="21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96" name="Oval 490">
                <a:extLst>
                  <a:ext uri="{FF2B5EF4-FFF2-40B4-BE49-F238E27FC236}">
                    <a16:creationId xmlns:a16="http://schemas.microsoft.com/office/drawing/2014/main" id="{2DFEE221-4864-40A9-B603-D318A2C2F36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030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97" name="Oval 491">
                <a:extLst>
                  <a:ext uri="{FF2B5EF4-FFF2-40B4-BE49-F238E27FC236}">
                    <a16:creationId xmlns:a16="http://schemas.microsoft.com/office/drawing/2014/main" id="{F4512775-42E9-42FE-8E82-5E5A9BF5FB7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966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98" name="Oval 492">
                <a:extLst>
                  <a:ext uri="{FF2B5EF4-FFF2-40B4-BE49-F238E27FC236}">
                    <a16:creationId xmlns:a16="http://schemas.microsoft.com/office/drawing/2014/main" id="{10905F65-5AFF-4CDA-BC19-1D887C5066A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901" y="2395"/>
                <a:ext cx="22" cy="2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99" name="Oval 493">
                <a:extLst>
                  <a:ext uri="{FF2B5EF4-FFF2-40B4-BE49-F238E27FC236}">
                    <a16:creationId xmlns:a16="http://schemas.microsoft.com/office/drawing/2014/main" id="{9E01E8DA-BD7C-4272-A131-EE689411160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502" y="2331"/>
                <a:ext cx="21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00" name="Oval 494">
                <a:extLst>
                  <a:ext uri="{FF2B5EF4-FFF2-40B4-BE49-F238E27FC236}">
                    <a16:creationId xmlns:a16="http://schemas.microsoft.com/office/drawing/2014/main" id="{4D572475-5F19-412A-975F-497FE8A044D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438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01" name="Oval 495">
                <a:extLst>
                  <a:ext uri="{FF2B5EF4-FFF2-40B4-BE49-F238E27FC236}">
                    <a16:creationId xmlns:a16="http://schemas.microsoft.com/office/drawing/2014/main" id="{60001CA7-9BA3-4E77-AD97-224E79327A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74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02" name="Oval 496">
                <a:extLst>
                  <a:ext uri="{FF2B5EF4-FFF2-40B4-BE49-F238E27FC236}">
                    <a16:creationId xmlns:a16="http://schemas.microsoft.com/office/drawing/2014/main" id="{5DCDC075-90D3-4282-B4AA-AA273817A96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310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03" name="Oval 497">
                <a:extLst>
                  <a:ext uri="{FF2B5EF4-FFF2-40B4-BE49-F238E27FC236}">
                    <a16:creationId xmlns:a16="http://schemas.microsoft.com/office/drawing/2014/main" id="{F264856D-7A46-4C89-A47A-1EE1499A3D5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46" y="2331"/>
                <a:ext cx="21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04" name="Oval 498">
                <a:extLst>
                  <a:ext uri="{FF2B5EF4-FFF2-40B4-BE49-F238E27FC236}">
                    <a16:creationId xmlns:a16="http://schemas.microsoft.com/office/drawing/2014/main" id="{77E7837D-8D13-47E5-AF13-590504C5B0C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82" y="2331"/>
                <a:ext cx="21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05" name="Oval 499">
                <a:extLst>
                  <a:ext uri="{FF2B5EF4-FFF2-40B4-BE49-F238E27FC236}">
                    <a16:creationId xmlns:a16="http://schemas.microsoft.com/office/drawing/2014/main" id="{FE676F35-43EC-41B2-B0B2-CF80169582E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118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06" name="Oval 500">
                <a:extLst>
                  <a:ext uri="{FF2B5EF4-FFF2-40B4-BE49-F238E27FC236}">
                    <a16:creationId xmlns:a16="http://schemas.microsoft.com/office/drawing/2014/main" id="{C63681A6-3DB3-43BB-AFDF-1F417E88E7C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054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07" name="Oval 501">
                <a:extLst>
                  <a:ext uri="{FF2B5EF4-FFF2-40B4-BE49-F238E27FC236}">
                    <a16:creationId xmlns:a16="http://schemas.microsoft.com/office/drawing/2014/main" id="{BB26D675-42F1-4E05-8ADF-0FAA26300EE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90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08" name="Oval 502">
                <a:extLst>
                  <a:ext uri="{FF2B5EF4-FFF2-40B4-BE49-F238E27FC236}">
                    <a16:creationId xmlns:a16="http://schemas.microsoft.com/office/drawing/2014/main" id="{DF76878F-4CFC-423B-900A-25E8EEC90EF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25" y="2331"/>
                <a:ext cx="23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09" name="Oval 503">
                <a:extLst>
                  <a:ext uri="{FF2B5EF4-FFF2-40B4-BE49-F238E27FC236}">
                    <a16:creationId xmlns:a16="http://schemas.microsoft.com/office/drawing/2014/main" id="{46B6E918-EB39-453E-9448-BC23B2F0D2B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862" y="2331"/>
                <a:ext cx="21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10" name="Oval 504">
                <a:extLst>
                  <a:ext uri="{FF2B5EF4-FFF2-40B4-BE49-F238E27FC236}">
                    <a16:creationId xmlns:a16="http://schemas.microsoft.com/office/drawing/2014/main" id="{84224E98-1782-45B0-A547-2D677E29CC0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798" y="2331"/>
                <a:ext cx="21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11" name="Oval 505">
                <a:extLst>
                  <a:ext uri="{FF2B5EF4-FFF2-40B4-BE49-F238E27FC236}">
                    <a16:creationId xmlns:a16="http://schemas.microsoft.com/office/drawing/2014/main" id="{038AAB26-CBEC-42D1-AFBC-8E1BAF23BAC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734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12" name="Oval 506">
                <a:extLst>
                  <a:ext uri="{FF2B5EF4-FFF2-40B4-BE49-F238E27FC236}">
                    <a16:creationId xmlns:a16="http://schemas.microsoft.com/office/drawing/2014/main" id="{D2022235-9DBD-46C8-AD2A-B7D600F3701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670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13" name="Oval 507">
                <a:extLst>
                  <a:ext uri="{FF2B5EF4-FFF2-40B4-BE49-F238E27FC236}">
                    <a16:creationId xmlns:a16="http://schemas.microsoft.com/office/drawing/2014/main" id="{E15AE17E-537D-4A5C-8888-C622A559AE1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605" y="2331"/>
                <a:ext cx="23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14" name="Oval 508">
                <a:extLst>
                  <a:ext uri="{FF2B5EF4-FFF2-40B4-BE49-F238E27FC236}">
                    <a16:creationId xmlns:a16="http://schemas.microsoft.com/office/drawing/2014/main" id="{52448198-2BBF-46EE-B80A-4950AE4B148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542" y="2331"/>
                <a:ext cx="21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15" name="Oval 509">
                <a:extLst>
                  <a:ext uri="{FF2B5EF4-FFF2-40B4-BE49-F238E27FC236}">
                    <a16:creationId xmlns:a16="http://schemas.microsoft.com/office/drawing/2014/main" id="{C1419E1D-19D5-43C2-9413-5368908903E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478" y="2331"/>
                <a:ext cx="21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16" name="Oval 510">
                <a:extLst>
                  <a:ext uri="{FF2B5EF4-FFF2-40B4-BE49-F238E27FC236}">
                    <a16:creationId xmlns:a16="http://schemas.microsoft.com/office/drawing/2014/main" id="{759EB370-3C86-48FC-ACB2-5527F1BF965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414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17" name="Oval 511">
                <a:extLst>
                  <a:ext uri="{FF2B5EF4-FFF2-40B4-BE49-F238E27FC236}">
                    <a16:creationId xmlns:a16="http://schemas.microsoft.com/office/drawing/2014/main" id="{B7A746BE-3B51-4899-AE22-D5531953951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350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18" name="Oval 512">
                <a:extLst>
                  <a:ext uri="{FF2B5EF4-FFF2-40B4-BE49-F238E27FC236}">
                    <a16:creationId xmlns:a16="http://schemas.microsoft.com/office/drawing/2014/main" id="{1C259D4C-504A-4366-8E02-17C24C14EBE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286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19" name="Oval 513">
                <a:extLst>
                  <a:ext uri="{FF2B5EF4-FFF2-40B4-BE49-F238E27FC236}">
                    <a16:creationId xmlns:a16="http://schemas.microsoft.com/office/drawing/2014/main" id="{B9B5BECB-6306-44BD-91F0-866E0C0438C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221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20" name="Oval 514">
                <a:extLst>
                  <a:ext uri="{FF2B5EF4-FFF2-40B4-BE49-F238E27FC236}">
                    <a16:creationId xmlns:a16="http://schemas.microsoft.com/office/drawing/2014/main" id="{346CE80A-7289-453F-BE5A-3986C3F839F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158" y="2331"/>
                <a:ext cx="21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21" name="Oval 515">
                <a:extLst>
                  <a:ext uri="{FF2B5EF4-FFF2-40B4-BE49-F238E27FC236}">
                    <a16:creationId xmlns:a16="http://schemas.microsoft.com/office/drawing/2014/main" id="{C3400F7E-D544-4B2B-A59C-1C4FBC3BFDF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094" y="2331"/>
                <a:ext cx="21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22" name="Oval 516">
                <a:extLst>
                  <a:ext uri="{FF2B5EF4-FFF2-40B4-BE49-F238E27FC236}">
                    <a16:creationId xmlns:a16="http://schemas.microsoft.com/office/drawing/2014/main" id="{B7865ACF-DDC7-4516-B818-A4216990E67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030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23" name="Oval 517">
                <a:extLst>
                  <a:ext uri="{FF2B5EF4-FFF2-40B4-BE49-F238E27FC236}">
                    <a16:creationId xmlns:a16="http://schemas.microsoft.com/office/drawing/2014/main" id="{E0421450-19B9-4691-A82F-0965E642B57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966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24" name="Oval 518">
                <a:extLst>
                  <a:ext uri="{FF2B5EF4-FFF2-40B4-BE49-F238E27FC236}">
                    <a16:creationId xmlns:a16="http://schemas.microsoft.com/office/drawing/2014/main" id="{E71490B8-03CA-4A80-BE96-848A9BFBF86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901" y="2331"/>
                <a:ext cx="22" cy="2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25" name="Rectangle 519">
                <a:extLst>
                  <a:ext uri="{FF2B5EF4-FFF2-40B4-BE49-F238E27FC236}">
                    <a16:creationId xmlns:a16="http://schemas.microsoft.com/office/drawing/2014/main" id="{BB2A8578-B19D-4647-B549-74BBD529A47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613" y="1820"/>
                <a:ext cx="100" cy="10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26" name="Freeform 520">
                <a:extLst>
                  <a:ext uri="{FF2B5EF4-FFF2-40B4-BE49-F238E27FC236}">
                    <a16:creationId xmlns:a16="http://schemas.microsoft.com/office/drawing/2014/main" id="{2CB58DC9-4761-4D03-99E8-D473760C066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746" y="1820"/>
                <a:ext cx="100" cy="101"/>
              </a:xfrm>
              <a:custGeom>
                <a:avLst/>
                <a:gdLst>
                  <a:gd name="T0" fmla="*/ 6 w 100"/>
                  <a:gd name="T1" fmla="*/ 94 h 101"/>
                  <a:gd name="T2" fmla="*/ 6 w 100"/>
                  <a:gd name="T3" fmla="*/ 6 h 101"/>
                  <a:gd name="T4" fmla="*/ 94 w 100"/>
                  <a:gd name="T5" fmla="*/ 6 h 101"/>
                  <a:gd name="T6" fmla="*/ 94 w 100"/>
                  <a:gd name="T7" fmla="*/ 94 h 101"/>
                  <a:gd name="T8" fmla="*/ 6 w 100"/>
                  <a:gd name="T9" fmla="*/ 94 h 101"/>
                  <a:gd name="T10" fmla="*/ 100 w 100"/>
                  <a:gd name="T11" fmla="*/ 0 h 101"/>
                  <a:gd name="T12" fmla="*/ 0 w 100"/>
                  <a:gd name="T13" fmla="*/ 0 h 101"/>
                  <a:gd name="T14" fmla="*/ 0 w 100"/>
                  <a:gd name="T15" fmla="*/ 101 h 101"/>
                  <a:gd name="T16" fmla="*/ 100 w 100"/>
                  <a:gd name="T17" fmla="*/ 101 h 101"/>
                  <a:gd name="T18" fmla="*/ 100 w 100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1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close/>
                    <a:moveTo>
                      <a:pt x="100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0" y="101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27" name="Freeform 521">
                <a:extLst>
                  <a:ext uri="{FF2B5EF4-FFF2-40B4-BE49-F238E27FC236}">
                    <a16:creationId xmlns:a16="http://schemas.microsoft.com/office/drawing/2014/main" id="{B4798A11-1B45-46DF-82EC-AACA4B0E4EA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746" y="1820"/>
                <a:ext cx="100" cy="101"/>
              </a:xfrm>
              <a:custGeom>
                <a:avLst/>
                <a:gdLst>
                  <a:gd name="T0" fmla="*/ 6 w 100"/>
                  <a:gd name="T1" fmla="*/ 94 h 101"/>
                  <a:gd name="T2" fmla="*/ 6 w 100"/>
                  <a:gd name="T3" fmla="*/ 6 h 101"/>
                  <a:gd name="T4" fmla="*/ 94 w 100"/>
                  <a:gd name="T5" fmla="*/ 6 h 101"/>
                  <a:gd name="T6" fmla="*/ 94 w 100"/>
                  <a:gd name="T7" fmla="*/ 94 h 101"/>
                  <a:gd name="T8" fmla="*/ 6 w 100"/>
                  <a:gd name="T9" fmla="*/ 94 h 101"/>
                  <a:gd name="T10" fmla="*/ 100 w 100"/>
                  <a:gd name="T11" fmla="*/ 0 h 101"/>
                  <a:gd name="T12" fmla="*/ 0 w 100"/>
                  <a:gd name="T13" fmla="*/ 0 h 101"/>
                  <a:gd name="T14" fmla="*/ 0 w 100"/>
                  <a:gd name="T15" fmla="*/ 101 h 101"/>
                  <a:gd name="T16" fmla="*/ 100 w 100"/>
                  <a:gd name="T17" fmla="*/ 101 h 101"/>
                  <a:gd name="T18" fmla="*/ 100 w 100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1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moveTo>
                      <a:pt x="100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0" y="101"/>
                    </a:lnTo>
                    <a:lnTo>
                      <a:pt x="10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28" name="Freeform 522">
                <a:extLst>
                  <a:ext uri="{FF2B5EF4-FFF2-40B4-BE49-F238E27FC236}">
                    <a16:creationId xmlns:a16="http://schemas.microsoft.com/office/drawing/2014/main" id="{AB7C300C-AEC0-4A83-ABD1-6A93DDFEB50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879" y="1820"/>
                <a:ext cx="101" cy="101"/>
              </a:xfrm>
              <a:custGeom>
                <a:avLst/>
                <a:gdLst>
                  <a:gd name="T0" fmla="*/ 6 w 101"/>
                  <a:gd name="T1" fmla="*/ 94 h 101"/>
                  <a:gd name="T2" fmla="*/ 6 w 101"/>
                  <a:gd name="T3" fmla="*/ 6 h 101"/>
                  <a:gd name="T4" fmla="*/ 95 w 101"/>
                  <a:gd name="T5" fmla="*/ 6 h 101"/>
                  <a:gd name="T6" fmla="*/ 95 w 101"/>
                  <a:gd name="T7" fmla="*/ 94 h 101"/>
                  <a:gd name="T8" fmla="*/ 6 w 101"/>
                  <a:gd name="T9" fmla="*/ 94 h 101"/>
                  <a:gd name="T10" fmla="*/ 101 w 101"/>
                  <a:gd name="T11" fmla="*/ 0 h 101"/>
                  <a:gd name="T12" fmla="*/ 0 w 101"/>
                  <a:gd name="T13" fmla="*/ 0 h 101"/>
                  <a:gd name="T14" fmla="*/ 0 w 101"/>
                  <a:gd name="T15" fmla="*/ 101 h 101"/>
                  <a:gd name="T16" fmla="*/ 101 w 101"/>
                  <a:gd name="T17" fmla="*/ 101 h 101"/>
                  <a:gd name="T18" fmla="*/ 101 w 101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101">
                    <a:moveTo>
                      <a:pt x="6" y="94"/>
                    </a:moveTo>
                    <a:lnTo>
                      <a:pt x="6" y="6"/>
                    </a:lnTo>
                    <a:lnTo>
                      <a:pt x="95" y="6"/>
                    </a:lnTo>
                    <a:lnTo>
                      <a:pt x="95" y="94"/>
                    </a:lnTo>
                    <a:lnTo>
                      <a:pt x="6" y="94"/>
                    </a:lnTo>
                    <a:close/>
                    <a:moveTo>
                      <a:pt x="101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1" y="101"/>
                    </a:lnTo>
                    <a:lnTo>
                      <a:pt x="10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29" name="Freeform 523">
                <a:extLst>
                  <a:ext uri="{FF2B5EF4-FFF2-40B4-BE49-F238E27FC236}">
                    <a16:creationId xmlns:a16="http://schemas.microsoft.com/office/drawing/2014/main" id="{DC54DE07-D66A-47EF-86C8-EC7999B74C9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879" y="1820"/>
                <a:ext cx="101" cy="101"/>
              </a:xfrm>
              <a:custGeom>
                <a:avLst/>
                <a:gdLst>
                  <a:gd name="T0" fmla="*/ 6 w 101"/>
                  <a:gd name="T1" fmla="*/ 94 h 101"/>
                  <a:gd name="T2" fmla="*/ 6 w 101"/>
                  <a:gd name="T3" fmla="*/ 6 h 101"/>
                  <a:gd name="T4" fmla="*/ 95 w 101"/>
                  <a:gd name="T5" fmla="*/ 6 h 101"/>
                  <a:gd name="T6" fmla="*/ 95 w 101"/>
                  <a:gd name="T7" fmla="*/ 94 h 101"/>
                  <a:gd name="T8" fmla="*/ 6 w 101"/>
                  <a:gd name="T9" fmla="*/ 94 h 101"/>
                  <a:gd name="T10" fmla="*/ 101 w 101"/>
                  <a:gd name="T11" fmla="*/ 0 h 101"/>
                  <a:gd name="T12" fmla="*/ 0 w 101"/>
                  <a:gd name="T13" fmla="*/ 0 h 101"/>
                  <a:gd name="T14" fmla="*/ 0 w 101"/>
                  <a:gd name="T15" fmla="*/ 101 h 101"/>
                  <a:gd name="T16" fmla="*/ 101 w 101"/>
                  <a:gd name="T17" fmla="*/ 101 h 101"/>
                  <a:gd name="T18" fmla="*/ 101 w 101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101">
                    <a:moveTo>
                      <a:pt x="6" y="94"/>
                    </a:moveTo>
                    <a:lnTo>
                      <a:pt x="6" y="6"/>
                    </a:lnTo>
                    <a:lnTo>
                      <a:pt x="95" y="6"/>
                    </a:lnTo>
                    <a:lnTo>
                      <a:pt x="95" y="94"/>
                    </a:lnTo>
                    <a:lnTo>
                      <a:pt x="6" y="94"/>
                    </a:lnTo>
                    <a:moveTo>
                      <a:pt x="101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1" y="101"/>
                    </a:lnTo>
                    <a:lnTo>
                      <a:pt x="10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30" name="Freeform 524">
                <a:extLst>
                  <a:ext uri="{FF2B5EF4-FFF2-40B4-BE49-F238E27FC236}">
                    <a16:creationId xmlns:a16="http://schemas.microsoft.com/office/drawing/2014/main" id="{A861FA27-6959-41C4-B0F3-053E5F27100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013" y="1820"/>
                <a:ext cx="100" cy="101"/>
              </a:xfrm>
              <a:custGeom>
                <a:avLst/>
                <a:gdLst>
                  <a:gd name="T0" fmla="*/ 6 w 100"/>
                  <a:gd name="T1" fmla="*/ 94 h 101"/>
                  <a:gd name="T2" fmla="*/ 6 w 100"/>
                  <a:gd name="T3" fmla="*/ 6 h 101"/>
                  <a:gd name="T4" fmla="*/ 94 w 100"/>
                  <a:gd name="T5" fmla="*/ 6 h 101"/>
                  <a:gd name="T6" fmla="*/ 94 w 100"/>
                  <a:gd name="T7" fmla="*/ 94 h 101"/>
                  <a:gd name="T8" fmla="*/ 6 w 100"/>
                  <a:gd name="T9" fmla="*/ 94 h 101"/>
                  <a:gd name="T10" fmla="*/ 100 w 100"/>
                  <a:gd name="T11" fmla="*/ 0 h 101"/>
                  <a:gd name="T12" fmla="*/ 0 w 100"/>
                  <a:gd name="T13" fmla="*/ 0 h 101"/>
                  <a:gd name="T14" fmla="*/ 0 w 100"/>
                  <a:gd name="T15" fmla="*/ 101 h 101"/>
                  <a:gd name="T16" fmla="*/ 100 w 100"/>
                  <a:gd name="T17" fmla="*/ 101 h 101"/>
                  <a:gd name="T18" fmla="*/ 100 w 100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1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close/>
                    <a:moveTo>
                      <a:pt x="100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0" y="101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31" name="Freeform 525">
                <a:extLst>
                  <a:ext uri="{FF2B5EF4-FFF2-40B4-BE49-F238E27FC236}">
                    <a16:creationId xmlns:a16="http://schemas.microsoft.com/office/drawing/2014/main" id="{F1B07886-0C2E-4E5E-88E2-8F8EFC86D87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013" y="1820"/>
                <a:ext cx="100" cy="101"/>
              </a:xfrm>
              <a:custGeom>
                <a:avLst/>
                <a:gdLst>
                  <a:gd name="T0" fmla="*/ 6 w 100"/>
                  <a:gd name="T1" fmla="*/ 94 h 101"/>
                  <a:gd name="T2" fmla="*/ 6 w 100"/>
                  <a:gd name="T3" fmla="*/ 6 h 101"/>
                  <a:gd name="T4" fmla="*/ 94 w 100"/>
                  <a:gd name="T5" fmla="*/ 6 h 101"/>
                  <a:gd name="T6" fmla="*/ 94 w 100"/>
                  <a:gd name="T7" fmla="*/ 94 h 101"/>
                  <a:gd name="T8" fmla="*/ 6 w 100"/>
                  <a:gd name="T9" fmla="*/ 94 h 101"/>
                  <a:gd name="T10" fmla="*/ 100 w 100"/>
                  <a:gd name="T11" fmla="*/ 0 h 101"/>
                  <a:gd name="T12" fmla="*/ 0 w 100"/>
                  <a:gd name="T13" fmla="*/ 0 h 101"/>
                  <a:gd name="T14" fmla="*/ 0 w 100"/>
                  <a:gd name="T15" fmla="*/ 101 h 101"/>
                  <a:gd name="T16" fmla="*/ 100 w 100"/>
                  <a:gd name="T17" fmla="*/ 101 h 101"/>
                  <a:gd name="T18" fmla="*/ 100 w 100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1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moveTo>
                      <a:pt x="100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0" y="101"/>
                    </a:lnTo>
                    <a:lnTo>
                      <a:pt x="10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32" name="Freeform 526">
                <a:extLst>
                  <a:ext uri="{FF2B5EF4-FFF2-40B4-BE49-F238E27FC236}">
                    <a16:creationId xmlns:a16="http://schemas.microsoft.com/office/drawing/2014/main" id="{D917BA05-1D89-4C4D-9F8C-938E4D6B70A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146" y="1820"/>
                <a:ext cx="100" cy="101"/>
              </a:xfrm>
              <a:custGeom>
                <a:avLst/>
                <a:gdLst>
                  <a:gd name="T0" fmla="*/ 6 w 100"/>
                  <a:gd name="T1" fmla="*/ 94 h 101"/>
                  <a:gd name="T2" fmla="*/ 6 w 100"/>
                  <a:gd name="T3" fmla="*/ 6 h 101"/>
                  <a:gd name="T4" fmla="*/ 94 w 100"/>
                  <a:gd name="T5" fmla="*/ 6 h 101"/>
                  <a:gd name="T6" fmla="*/ 94 w 100"/>
                  <a:gd name="T7" fmla="*/ 94 h 101"/>
                  <a:gd name="T8" fmla="*/ 6 w 100"/>
                  <a:gd name="T9" fmla="*/ 94 h 101"/>
                  <a:gd name="T10" fmla="*/ 100 w 100"/>
                  <a:gd name="T11" fmla="*/ 0 h 101"/>
                  <a:gd name="T12" fmla="*/ 0 w 100"/>
                  <a:gd name="T13" fmla="*/ 0 h 101"/>
                  <a:gd name="T14" fmla="*/ 0 w 100"/>
                  <a:gd name="T15" fmla="*/ 101 h 101"/>
                  <a:gd name="T16" fmla="*/ 100 w 100"/>
                  <a:gd name="T17" fmla="*/ 101 h 101"/>
                  <a:gd name="T18" fmla="*/ 100 w 100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1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close/>
                    <a:moveTo>
                      <a:pt x="100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0" y="101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33" name="Freeform 527">
                <a:extLst>
                  <a:ext uri="{FF2B5EF4-FFF2-40B4-BE49-F238E27FC236}">
                    <a16:creationId xmlns:a16="http://schemas.microsoft.com/office/drawing/2014/main" id="{34C1DAC4-512B-44D2-9458-81653E2BAC7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146" y="1820"/>
                <a:ext cx="100" cy="101"/>
              </a:xfrm>
              <a:custGeom>
                <a:avLst/>
                <a:gdLst>
                  <a:gd name="T0" fmla="*/ 6 w 100"/>
                  <a:gd name="T1" fmla="*/ 94 h 101"/>
                  <a:gd name="T2" fmla="*/ 6 w 100"/>
                  <a:gd name="T3" fmla="*/ 6 h 101"/>
                  <a:gd name="T4" fmla="*/ 94 w 100"/>
                  <a:gd name="T5" fmla="*/ 6 h 101"/>
                  <a:gd name="T6" fmla="*/ 94 w 100"/>
                  <a:gd name="T7" fmla="*/ 94 h 101"/>
                  <a:gd name="T8" fmla="*/ 6 w 100"/>
                  <a:gd name="T9" fmla="*/ 94 h 101"/>
                  <a:gd name="T10" fmla="*/ 100 w 100"/>
                  <a:gd name="T11" fmla="*/ 0 h 101"/>
                  <a:gd name="T12" fmla="*/ 0 w 100"/>
                  <a:gd name="T13" fmla="*/ 0 h 101"/>
                  <a:gd name="T14" fmla="*/ 0 w 100"/>
                  <a:gd name="T15" fmla="*/ 101 h 101"/>
                  <a:gd name="T16" fmla="*/ 100 w 100"/>
                  <a:gd name="T17" fmla="*/ 101 h 101"/>
                  <a:gd name="T18" fmla="*/ 100 w 100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1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moveTo>
                      <a:pt x="100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0" y="101"/>
                    </a:lnTo>
                    <a:lnTo>
                      <a:pt x="10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34" name="Freeform 528">
                <a:extLst>
                  <a:ext uri="{FF2B5EF4-FFF2-40B4-BE49-F238E27FC236}">
                    <a16:creationId xmlns:a16="http://schemas.microsoft.com/office/drawing/2014/main" id="{D451350D-C551-4658-9062-D5A6B624F57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280" y="1820"/>
                <a:ext cx="100" cy="101"/>
              </a:xfrm>
              <a:custGeom>
                <a:avLst/>
                <a:gdLst>
                  <a:gd name="T0" fmla="*/ 6 w 100"/>
                  <a:gd name="T1" fmla="*/ 94 h 101"/>
                  <a:gd name="T2" fmla="*/ 6 w 100"/>
                  <a:gd name="T3" fmla="*/ 6 h 101"/>
                  <a:gd name="T4" fmla="*/ 94 w 100"/>
                  <a:gd name="T5" fmla="*/ 6 h 101"/>
                  <a:gd name="T6" fmla="*/ 94 w 100"/>
                  <a:gd name="T7" fmla="*/ 94 h 101"/>
                  <a:gd name="T8" fmla="*/ 6 w 100"/>
                  <a:gd name="T9" fmla="*/ 94 h 101"/>
                  <a:gd name="T10" fmla="*/ 100 w 100"/>
                  <a:gd name="T11" fmla="*/ 0 h 101"/>
                  <a:gd name="T12" fmla="*/ 0 w 100"/>
                  <a:gd name="T13" fmla="*/ 0 h 101"/>
                  <a:gd name="T14" fmla="*/ 0 w 100"/>
                  <a:gd name="T15" fmla="*/ 101 h 101"/>
                  <a:gd name="T16" fmla="*/ 100 w 100"/>
                  <a:gd name="T17" fmla="*/ 101 h 101"/>
                  <a:gd name="T18" fmla="*/ 100 w 100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1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close/>
                    <a:moveTo>
                      <a:pt x="100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0" y="101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35" name="Freeform 529">
                <a:extLst>
                  <a:ext uri="{FF2B5EF4-FFF2-40B4-BE49-F238E27FC236}">
                    <a16:creationId xmlns:a16="http://schemas.microsoft.com/office/drawing/2014/main" id="{502B73F9-1058-4910-8CCE-715C50ECC3D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280" y="1820"/>
                <a:ext cx="100" cy="101"/>
              </a:xfrm>
              <a:custGeom>
                <a:avLst/>
                <a:gdLst>
                  <a:gd name="T0" fmla="*/ 6 w 100"/>
                  <a:gd name="T1" fmla="*/ 94 h 101"/>
                  <a:gd name="T2" fmla="*/ 6 w 100"/>
                  <a:gd name="T3" fmla="*/ 6 h 101"/>
                  <a:gd name="T4" fmla="*/ 94 w 100"/>
                  <a:gd name="T5" fmla="*/ 6 h 101"/>
                  <a:gd name="T6" fmla="*/ 94 w 100"/>
                  <a:gd name="T7" fmla="*/ 94 h 101"/>
                  <a:gd name="T8" fmla="*/ 6 w 100"/>
                  <a:gd name="T9" fmla="*/ 94 h 101"/>
                  <a:gd name="T10" fmla="*/ 100 w 100"/>
                  <a:gd name="T11" fmla="*/ 0 h 101"/>
                  <a:gd name="T12" fmla="*/ 0 w 100"/>
                  <a:gd name="T13" fmla="*/ 0 h 101"/>
                  <a:gd name="T14" fmla="*/ 0 w 100"/>
                  <a:gd name="T15" fmla="*/ 101 h 101"/>
                  <a:gd name="T16" fmla="*/ 100 w 100"/>
                  <a:gd name="T17" fmla="*/ 101 h 101"/>
                  <a:gd name="T18" fmla="*/ 100 w 100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1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moveTo>
                      <a:pt x="100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0" y="101"/>
                    </a:lnTo>
                    <a:lnTo>
                      <a:pt x="10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36" name="Freeform 530">
                <a:extLst>
                  <a:ext uri="{FF2B5EF4-FFF2-40B4-BE49-F238E27FC236}">
                    <a16:creationId xmlns:a16="http://schemas.microsoft.com/office/drawing/2014/main" id="{77283384-23BB-4D7F-96F1-20EFB08EEE5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413" y="1820"/>
                <a:ext cx="100" cy="101"/>
              </a:xfrm>
              <a:custGeom>
                <a:avLst/>
                <a:gdLst>
                  <a:gd name="T0" fmla="*/ 6 w 100"/>
                  <a:gd name="T1" fmla="*/ 94 h 101"/>
                  <a:gd name="T2" fmla="*/ 6 w 100"/>
                  <a:gd name="T3" fmla="*/ 6 h 101"/>
                  <a:gd name="T4" fmla="*/ 94 w 100"/>
                  <a:gd name="T5" fmla="*/ 6 h 101"/>
                  <a:gd name="T6" fmla="*/ 94 w 100"/>
                  <a:gd name="T7" fmla="*/ 94 h 101"/>
                  <a:gd name="T8" fmla="*/ 6 w 100"/>
                  <a:gd name="T9" fmla="*/ 94 h 101"/>
                  <a:gd name="T10" fmla="*/ 100 w 100"/>
                  <a:gd name="T11" fmla="*/ 0 h 101"/>
                  <a:gd name="T12" fmla="*/ 0 w 100"/>
                  <a:gd name="T13" fmla="*/ 0 h 101"/>
                  <a:gd name="T14" fmla="*/ 0 w 100"/>
                  <a:gd name="T15" fmla="*/ 101 h 101"/>
                  <a:gd name="T16" fmla="*/ 100 w 100"/>
                  <a:gd name="T17" fmla="*/ 101 h 101"/>
                  <a:gd name="T18" fmla="*/ 100 w 100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1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close/>
                    <a:moveTo>
                      <a:pt x="100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0" y="101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37" name="Freeform 531">
                <a:extLst>
                  <a:ext uri="{FF2B5EF4-FFF2-40B4-BE49-F238E27FC236}">
                    <a16:creationId xmlns:a16="http://schemas.microsoft.com/office/drawing/2014/main" id="{116EBB88-5C6F-4909-A37D-8517F210B45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413" y="1820"/>
                <a:ext cx="100" cy="101"/>
              </a:xfrm>
              <a:custGeom>
                <a:avLst/>
                <a:gdLst>
                  <a:gd name="T0" fmla="*/ 6 w 100"/>
                  <a:gd name="T1" fmla="*/ 94 h 101"/>
                  <a:gd name="T2" fmla="*/ 6 w 100"/>
                  <a:gd name="T3" fmla="*/ 6 h 101"/>
                  <a:gd name="T4" fmla="*/ 94 w 100"/>
                  <a:gd name="T5" fmla="*/ 6 h 101"/>
                  <a:gd name="T6" fmla="*/ 94 w 100"/>
                  <a:gd name="T7" fmla="*/ 94 h 101"/>
                  <a:gd name="T8" fmla="*/ 6 w 100"/>
                  <a:gd name="T9" fmla="*/ 94 h 101"/>
                  <a:gd name="T10" fmla="*/ 100 w 100"/>
                  <a:gd name="T11" fmla="*/ 0 h 101"/>
                  <a:gd name="T12" fmla="*/ 0 w 100"/>
                  <a:gd name="T13" fmla="*/ 0 h 101"/>
                  <a:gd name="T14" fmla="*/ 0 w 100"/>
                  <a:gd name="T15" fmla="*/ 101 h 101"/>
                  <a:gd name="T16" fmla="*/ 100 w 100"/>
                  <a:gd name="T17" fmla="*/ 101 h 101"/>
                  <a:gd name="T18" fmla="*/ 100 w 100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1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moveTo>
                      <a:pt x="100" y="0"/>
                    </a:moveTo>
                    <a:lnTo>
                      <a:pt x="0" y="0"/>
                    </a:lnTo>
                    <a:lnTo>
                      <a:pt x="0" y="101"/>
                    </a:lnTo>
                    <a:lnTo>
                      <a:pt x="100" y="101"/>
                    </a:lnTo>
                    <a:lnTo>
                      <a:pt x="10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38" name="Freeform 532">
                <a:extLst>
                  <a:ext uri="{FF2B5EF4-FFF2-40B4-BE49-F238E27FC236}">
                    <a16:creationId xmlns:a16="http://schemas.microsoft.com/office/drawing/2014/main" id="{70216BD8-0B46-4D6C-935C-D25C078120B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613" y="1949"/>
                <a:ext cx="100" cy="100"/>
              </a:xfrm>
              <a:custGeom>
                <a:avLst/>
                <a:gdLst>
                  <a:gd name="T0" fmla="*/ 6 w 100"/>
                  <a:gd name="T1" fmla="*/ 94 h 100"/>
                  <a:gd name="T2" fmla="*/ 6 w 100"/>
                  <a:gd name="T3" fmla="*/ 6 h 100"/>
                  <a:gd name="T4" fmla="*/ 94 w 100"/>
                  <a:gd name="T5" fmla="*/ 6 h 100"/>
                  <a:gd name="T6" fmla="*/ 94 w 100"/>
                  <a:gd name="T7" fmla="*/ 94 h 100"/>
                  <a:gd name="T8" fmla="*/ 72 w 100"/>
                  <a:gd name="T9" fmla="*/ 94 h 100"/>
                  <a:gd name="T10" fmla="*/ 71 w 100"/>
                  <a:gd name="T11" fmla="*/ 94 h 100"/>
                  <a:gd name="T12" fmla="*/ 69 w 100"/>
                  <a:gd name="T13" fmla="*/ 94 h 100"/>
                  <a:gd name="T14" fmla="*/ 28 w 100"/>
                  <a:gd name="T15" fmla="*/ 94 h 100"/>
                  <a:gd name="T16" fmla="*/ 26 w 100"/>
                  <a:gd name="T17" fmla="*/ 94 h 100"/>
                  <a:gd name="T18" fmla="*/ 25 w 100"/>
                  <a:gd name="T19" fmla="*/ 94 h 100"/>
                  <a:gd name="T20" fmla="*/ 6 w 100"/>
                  <a:gd name="T21" fmla="*/ 94 h 100"/>
                  <a:gd name="T22" fmla="*/ 100 w 100"/>
                  <a:gd name="T23" fmla="*/ 0 h 100"/>
                  <a:gd name="T24" fmla="*/ 78 w 100"/>
                  <a:gd name="T25" fmla="*/ 0 h 100"/>
                  <a:gd name="T26" fmla="*/ 71 w 100"/>
                  <a:gd name="T27" fmla="*/ 6 h 100"/>
                  <a:gd name="T28" fmla="*/ 63 w 100"/>
                  <a:gd name="T29" fmla="*/ 0 h 100"/>
                  <a:gd name="T30" fmla="*/ 34 w 100"/>
                  <a:gd name="T31" fmla="*/ 0 h 100"/>
                  <a:gd name="T32" fmla="*/ 26 w 100"/>
                  <a:gd name="T33" fmla="*/ 6 h 100"/>
                  <a:gd name="T34" fmla="*/ 19 w 100"/>
                  <a:gd name="T35" fmla="*/ 0 h 100"/>
                  <a:gd name="T36" fmla="*/ 0 w 100"/>
                  <a:gd name="T37" fmla="*/ 0 h 100"/>
                  <a:gd name="T38" fmla="*/ 0 w 100"/>
                  <a:gd name="T39" fmla="*/ 100 h 100"/>
                  <a:gd name="T40" fmla="*/ 100 w 100"/>
                  <a:gd name="T41" fmla="*/ 100 h 100"/>
                  <a:gd name="T42" fmla="*/ 100 w 100"/>
                  <a:gd name="T4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0" h="100">
                    <a:moveTo>
                      <a:pt x="6" y="94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4" y="94"/>
                      <a:pt x="94" y="94"/>
                      <a:pt x="94" y="94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71" y="94"/>
                      <a:pt x="71" y="94"/>
                      <a:pt x="71" y="94"/>
                    </a:cubicBezTo>
                    <a:cubicBezTo>
                      <a:pt x="70" y="94"/>
                      <a:pt x="70" y="94"/>
                      <a:pt x="69" y="94"/>
                    </a:cubicBezTo>
                    <a:cubicBezTo>
                      <a:pt x="28" y="94"/>
                      <a:pt x="28" y="94"/>
                      <a:pt x="28" y="94"/>
                    </a:cubicBezTo>
                    <a:cubicBezTo>
                      <a:pt x="27" y="94"/>
                      <a:pt x="27" y="94"/>
                      <a:pt x="26" y="94"/>
                    </a:cubicBezTo>
                    <a:cubicBezTo>
                      <a:pt x="26" y="94"/>
                      <a:pt x="26" y="94"/>
                      <a:pt x="25" y="94"/>
                    </a:cubicBezTo>
                    <a:cubicBezTo>
                      <a:pt x="6" y="94"/>
                      <a:pt x="6" y="94"/>
                      <a:pt x="6" y="94"/>
                    </a:cubicBezTo>
                    <a:moveTo>
                      <a:pt x="100" y="0"/>
                    </a:moveTo>
                    <a:cubicBezTo>
                      <a:pt x="78" y="0"/>
                      <a:pt x="78" y="0"/>
                      <a:pt x="78" y="0"/>
                    </a:cubicBezTo>
                    <a:cubicBezTo>
                      <a:pt x="77" y="4"/>
                      <a:pt x="74" y="6"/>
                      <a:pt x="71" y="6"/>
                    </a:cubicBezTo>
                    <a:cubicBezTo>
                      <a:pt x="67" y="6"/>
                      <a:pt x="64" y="4"/>
                      <a:pt x="63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3" y="4"/>
                      <a:pt x="30" y="6"/>
                      <a:pt x="26" y="6"/>
                    </a:cubicBezTo>
                    <a:cubicBezTo>
                      <a:pt x="23" y="6"/>
                      <a:pt x="20" y="4"/>
                      <a:pt x="1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00" y="100"/>
                      <a:pt x="100" y="100"/>
                      <a:pt x="100" y="100"/>
                    </a:cubicBezTo>
                    <a:cubicBezTo>
                      <a:pt x="100" y="0"/>
                      <a:pt x="100" y="0"/>
                      <a:pt x="1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39" name="Freeform 533">
                <a:extLst>
                  <a:ext uri="{FF2B5EF4-FFF2-40B4-BE49-F238E27FC236}">
                    <a16:creationId xmlns:a16="http://schemas.microsoft.com/office/drawing/2014/main" id="{65C52F75-9159-45B3-A0EC-7AEF26957F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2" y="2043"/>
                <a:ext cx="3" cy="0"/>
              </a:xfrm>
              <a:custGeom>
                <a:avLst/>
                <a:gdLst>
                  <a:gd name="T0" fmla="*/ 3 w 3"/>
                  <a:gd name="T1" fmla="*/ 0 w 3"/>
                  <a:gd name="T2" fmla="*/ 2 w 3"/>
                  <a:gd name="T3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40" name="Freeform 534">
                <a:extLst>
                  <a:ext uri="{FF2B5EF4-FFF2-40B4-BE49-F238E27FC236}">
                    <a16:creationId xmlns:a16="http://schemas.microsoft.com/office/drawing/2014/main" id="{BAA61AB5-BF5F-4FBF-9EA3-7C3D710B18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8" y="2043"/>
                <a:ext cx="3" cy="0"/>
              </a:xfrm>
              <a:custGeom>
                <a:avLst/>
                <a:gdLst>
                  <a:gd name="T0" fmla="*/ 3 w 3"/>
                  <a:gd name="T1" fmla="*/ 0 w 3"/>
                  <a:gd name="T2" fmla="*/ 1 w 3"/>
                  <a:gd name="T3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41" name="Freeform 535">
                <a:extLst>
                  <a:ext uri="{FF2B5EF4-FFF2-40B4-BE49-F238E27FC236}">
                    <a16:creationId xmlns:a16="http://schemas.microsoft.com/office/drawing/2014/main" id="{4253E76A-55BE-46E0-B4F0-C21226EF75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76" y="1949"/>
                <a:ext cx="15" cy="6"/>
              </a:xfrm>
              <a:custGeom>
                <a:avLst/>
                <a:gdLst>
                  <a:gd name="T0" fmla="*/ 15 w 15"/>
                  <a:gd name="T1" fmla="*/ 0 h 6"/>
                  <a:gd name="T2" fmla="*/ 0 w 15"/>
                  <a:gd name="T3" fmla="*/ 0 h 6"/>
                  <a:gd name="T4" fmla="*/ 8 w 15"/>
                  <a:gd name="T5" fmla="*/ 6 h 6"/>
                  <a:gd name="T6" fmla="*/ 15 w 1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6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4"/>
                      <a:pt x="4" y="6"/>
                      <a:pt x="8" y="6"/>
                    </a:cubicBezTo>
                    <a:cubicBezTo>
                      <a:pt x="11" y="6"/>
                      <a:pt x="14" y="4"/>
                      <a:pt x="1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42" name="Freeform 536">
                <a:extLst>
                  <a:ext uri="{FF2B5EF4-FFF2-40B4-BE49-F238E27FC236}">
                    <a16:creationId xmlns:a16="http://schemas.microsoft.com/office/drawing/2014/main" id="{E92B5BD9-B4B9-431D-882F-B32E96D31A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2" y="1949"/>
                <a:ext cx="15" cy="6"/>
              </a:xfrm>
              <a:custGeom>
                <a:avLst/>
                <a:gdLst>
                  <a:gd name="T0" fmla="*/ 15 w 15"/>
                  <a:gd name="T1" fmla="*/ 0 h 6"/>
                  <a:gd name="T2" fmla="*/ 0 w 15"/>
                  <a:gd name="T3" fmla="*/ 0 h 6"/>
                  <a:gd name="T4" fmla="*/ 7 w 15"/>
                  <a:gd name="T5" fmla="*/ 6 h 6"/>
                  <a:gd name="T6" fmla="*/ 15 w 1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6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4"/>
                      <a:pt x="4" y="6"/>
                      <a:pt x="7" y="6"/>
                    </a:cubicBezTo>
                    <a:cubicBezTo>
                      <a:pt x="11" y="6"/>
                      <a:pt x="14" y="4"/>
                      <a:pt x="1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43" name="Freeform 537">
                <a:extLst>
                  <a:ext uri="{FF2B5EF4-FFF2-40B4-BE49-F238E27FC236}">
                    <a16:creationId xmlns:a16="http://schemas.microsoft.com/office/drawing/2014/main" id="{B6FADC48-930A-45C2-A4DE-883EF96840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46" y="1949"/>
                <a:ext cx="100" cy="100"/>
              </a:xfrm>
              <a:custGeom>
                <a:avLst/>
                <a:gdLst>
                  <a:gd name="T0" fmla="*/ 100 w 100"/>
                  <a:gd name="T1" fmla="*/ 0 h 100"/>
                  <a:gd name="T2" fmla="*/ 77 w 100"/>
                  <a:gd name="T3" fmla="*/ 0 h 100"/>
                  <a:gd name="T4" fmla="*/ 70 w 100"/>
                  <a:gd name="T5" fmla="*/ 6 h 100"/>
                  <a:gd name="T6" fmla="*/ 63 w 100"/>
                  <a:gd name="T7" fmla="*/ 0 h 100"/>
                  <a:gd name="T8" fmla="*/ 33 w 100"/>
                  <a:gd name="T9" fmla="*/ 0 h 100"/>
                  <a:gd name="T10" fmla="*/ 26 w 100"/>
                  <a:gd name="T11" fmla="*/ 6 h 100"/>
                  <a:gd name="T12" fmla="*/ 19 w 100"/>
                  <a:gd name="T13" fmla="*/ 0 h 100"/>
                  <a:gd name="T14" fmla="*/ 0 w 100"/>
                  <a:gd name="T15" fmla="*/ 0 h 100"/>
                  <a:gd name="T16" fmla="*/ 0 w 100"/>
                  <a:gd name="T17" fmla="*/ 25 h 100"/>
                  <a:gd name="T18" fmla="*/ 6 w 100"/>
                  <a:gd name="T19" fmla="*/ 29 h 100"/>
                  <a:gd name="T20" fmla="*/ 6 w 100"/>
                  <a:gd name="T21" fmla="*/ 6 h 100"/>
                  <a:gd name="T22" fmla="*/ 94 w 100"/>
                  <a:gd name="T23" fmla="*/ 6 h 100"/>
                  <a:gd name="T24" fmla="*/ 94 w 100"/>
                  <a:gd name="T25" fmla="*/ 94 h 100"/>
                  <a:gd name="T26" fmla="*/ 71 w 100"/>
                  <a:gd name="T27" fmla="*/ 94 h 100"/>
                  <a:gd name="T28" fmla="*/ 70 w 100"/>
                  <a:gd name="T29" fmla="*/ 94 h 100"/>
                  <a:gd name="T30" fmla="*/ 69 w 100"/>
                  <a:gd name="T31" fmla="*/ 94 h 100"/>
                  <a:gd name="T32" fmla="*/ 27 w 100"/>
                  <a:gd name="T33" fmla="*/ 94 h 100"/>
                  <a:gd name="T34" fmla="*/ 26 w 100"/>
                  <a:gd name="T35" fmla="*/ 94 h 100"/>
                  <a:gd name="T36" fmla="*/ 25 w 100"/>
                  <a:gd name="T37" fmla="*/ 94 h 100"/>
                  <a:gd name="T38" fmla="*/ 6 w 100"/>
                  <a:gd name="T39" fmla="*/ 94 h 100"/>
                  <a:gd name="T40" fmla="*/ 6 w 100"/>
                  <a:gd name="T41" fmla="*/ 40 h 100"/>
                  <a:gd name="T42" fmla="*/ 0 w 100"/>
                  <a:gd name="T43" fmla="*/ 44 h 100"/>
                  <a:gd name="T44" fmla="*/ 0 w 100"/>
                  <a:gd name="T45" fmla="*/ 100 h 100"/>
                  <a:gd name="T46" fmla="*/ 100 w 100"/>
                  <a:gd name="T47" fmla="*/ 100 h 100"/>
                  <a:gd name="T48" fmla="*/ 100 w 100"/>
                  <a:gd name="T49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0" h="100">
                    <a:moveTo>
                      <a:pt x="100" y="0"/>
                    </a:moveTo>
                    <a:cubicBezTo>
                      <a:pt x="77" y="0"/>
                      <a:pt x="77" y="0"/>
                      <a:pt x="77" y="0"/>
                    </a:cubicBezTo>
                    <a:cubicBezTo>
                      <a:pt x="76" y="4"/>
                      <a:pt x="73" y="6"/>
                      <a:pt x="70" y="6"/>
                    </a:cubicBezTo>
                    <a:cubicBezTo>
                      <a:pt x="66" y="6"/>
                      <a:pt x="63" y="4"/>
                      <a:pt x="63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2" y="4"/>
                      <a:pt x="29" y="6"/>
                      <a:pt x="26" y="6"/>
                    </a:cubicBezTo>
                    <a:cubicBezTo>
                      <a:pt x="22" y="6"/>
                      <a:pt x="19" y="4"/>
                      <a:pt x="1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" y="25"/>
                      <a:pt x="4" y="27"/>
                      <a:pt x="6" y="29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4" y="94"/>
                      <a:pt x="94" y="94"/>
                      <a:pt x="94" y="94"/>
                    </a:cubicBezTo>
                    <a:cubicBezTo>
                      <a:pt x="71" y="94"/>
                      <a:pt x="71" y="94"/>
                      <a:pt x="71" y="94"/>
                    </a:cubicBezTo>
                    <a:cubicBezTo>
                      <a:pt x="71" y="94"/>
                      <a:pt x="70" y="94"/>
                      <a:pt x="70" y="94"/>
                    </a:cubicBezTo>
                    <a:cubicBezTo>
                      <a:pt x="70" y="94"/>
                      <a:pt x="69" y="94"/>
                      <a:pt x="69" y="94"/>
                    </a:cubicBezTo>
                    <a:cubicBezTo>
                      <a:pt x="27" y="94"/>
                      <a:pt x="27" y="94"/>
                      <a:pt x="27" y="94"/>
                    </a:cubicBezTo>
                    <a:cubicBezTo>
                      <a:pt x="27" y="94"/>
                      <a:pt x="26" y="94"/>
                      <a:pt x="26" y="94"/>
                    </a:cubicBezTo>
                    <a:cubicBezTo>
                      <a:pt x="25" y="94"/>
                      <a:pt x="25" y="94"/>
                      <a:pt x="25" y="94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4" y="42"/>
                      <a:pt x="2" y="44"/>
                      <a:pt x="0" y="44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00" y="100"/>
                      <a:pt x="100" y="100"/>
                      <a:pt x="100" y="100"/>
                    </a:cubicBezTo>
                    <a:cubicBezTo>
                      <a:pt x="100" y="0"/>
                      <a:pt x="100" y="0"/>
                      <a:pt x="1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44" name="Freeform 538">
                <a:extLst>
                  <a:ext uri="{FF2B5EF4-FFF2-40B4-BE49-F238E27FC236}">
                    <a16:creationId xmlns:a16="http://schemas.microsoft.com/office/drawing/2014/main" id="{52E1BD17-A111-4A32-A799-EDC315A4F3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15" y="204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1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45" name="Freeform 539">
                <a:extLst>
                  <a:ext uri="{FF2B5EF4-FFF2-40B4-BE49-F238E27FC236}">
                    <a16:creationId xmlns:a16="http://schemas.microsoft.com/office/drawing/2014/main" id="{877DA79C-6913-4913-B352-1B41B817D9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71" y="204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1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46" name="Freeform 540">
                <a:extLst>
                  <a:ext uri="{FF2B5EF4-FFF2-40B4-BE49-F238E27FC236}">
                    <a16:creationId xmlns:a16="http://schemas.microsoft.com/office/drawing/2014/main" id="{F115C71F-D147-4585-8495-B7399260A2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09" y="1949"/>
                <a:ext cx="14" cy="6"/>
              </a:xfrm>
              <a:custGeom>
                <a:avLst/>
                <a:gdLst>
                  <a:gd name="T0" fmla="*/ 14 w 14"/>
                  <a:gd name="T1" fmla="*/ 0 h 6"/>
                  <a:gd name="T2" fmla="*/ 0 w 14"/>
                  <a:gd name="T3" fmla="*/ 0 h 6"/>
                  <a:gd name="T4" fmla="*/ 7 w 14"/>
                  <a:gd name="T5" fmla="*/ 6 h 6"/>
                  <a:gd name="T6" fmla="*/ 14 w 14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3" y="6"/>
                      <a:pt x="7" y="6"/>
                    </a:cubicBezTo>
                    <a:cubicBezTo>
                      <a:pt x="10" y="6"/>
                      <a:pt x="13" y="4"/>
                      <a:pt x="1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47" name="Freeform 541">
                <a:extLst>
                  <a:ext uri="{FF2B5EF4-FFF2-40B4-BE49-F238E27FC236}">
                    <a16:creationId xmlns:a16="http://schemas.microsoft.com/office/drawing/2014/main" id="{9F57FA55-80FB-4129-BE37-A6DDB15890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5" y="1949"/>
                <a:ext cx="14" cy="6"/>
              </a:xfrm>
              <a:custGeom>
                <a:avLst/>
                <a:gdLst>
                  <a:gd name="T0" fmla="*/ 14 w 14"/>
                  <a:gd name="T1" fmla="*/ 0 h 6"/>
                  <a:gd name="T2" fmla="*/ 0 w 14"/>
                  <a:gd name="T3" fmla="*/ 0 h 6"/>
                  <a:gd name="T4" fmla="*/ 7 w 14"/>
                  <a:gd name="T5" fmla="*/ 6 h 6"/>
                  <a:gd name="T6" fmla="*/ 14 w 14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3" y="6"/>
                      <a:pt x="7" y="6"/>
                    </a:cubicBezTo>
                    <a:cubicBezTo>
                      <a:pt x="10" y="6"/>
                      <a:pt x="13" y="4"/>
                      <a:pt x="1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48" name="Freeform 542">
                <a:extLst>
                  <a:ext uri="{FF2B5EF4-FFF2-40B4-BE49-F238E27FC236}">
                    <a16:creationId xmlns:a16="http://schemas.microsoft.com/office/drawing/2014/main" id="{6BB4E424-15C8-412D-9D59-1C96BDBCD2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46" y="1975"/>
                <a:ext cx="6" cy="17"/>
              </a:xfrm>
              <a:custGeom>
                <a:avLst/>
                <a:gdLst>
                  <a:gd name="T0" fmla="*/ 0 w 6"/>
                  <a:gd name="T1" fmla="*/ 0 h 17"/>
                  <a:gd name="T2" fmla="*/ 0 w 6"/>
                  <a:gd name="T3" fmla="*/ 17 h 17"/>
                  <a:gd name="T4" fmla="*/ 6 w 6"/>
                  <a:gd name="T5" fmla="*/ 10 h 17"/>
                  <a:gd name="T6" fmla="*/ 6 w 6"/>
                  <a:gd name="T7" fmla="*/ 6 h 17"/>
                  <a:gd name="T8" fmla="*/ 0 w 6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7">
                    <a:moveTo>
                      <a:pt x="0" y="0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3" y="16"/>
                      <a:pt x="5" y="13"/>
                      <a:pt x="6" y="10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5" y="3"/>
                      <a:pt x="3" y="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49" name="Freeform 543">
                <a:extLst>
                  <a:ext uri="{FF2B5EF4-FFF2-40B4-BE49-F238E27FC236}">
                    <a16:creationId xmlns:a16="http://schemas.microsoft.com/office/drawing/2014/main" id="{B696EDDD-0867-4677-9843-C9EC00A69AE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879" y="1949"/>
                <a:ext cx="101" cy="100"/>
              </a:xfrm>
              <a:custGeom>
                <a:avLst/>
                <a:gdLst>
                  <a:gd name="T0" fmla="*/ 6 w 100"/>
                  <a:gd name="T1" fmla="*/ 94 h 100"/>
                  <a:gd name="T2" fmla="*/ 6 w 100"/>
                  <a:gd name="T3" fmla="*/ 6 h 100"/>
                  <a:gd name="T4" fmla="*/ 94 w 100"/>
                  <a:gd name="T5" fmla="*/ 6 h 100"/>
                  <a:gd name="T6" fmla="*/ 94 w 100"/>
                  <a:gd name="T7" fmla="*/ 94 h 100"/>
                  <a:gd name="T8" fmla="*/ 70 w 100"/>
                  <a:gd name="T9" fmla="*/ 94 h 100"/>
                  <a:gd name="T10" fmla="*/ 69 w 100"/>
                  <a:gd name="T11" fmla="*/ 94 h 100"/>
                  <a:gd name="T12" fmla="*/ 68 w 100"/>
                  <a:gd name="T13" fmla="*/ 94 h 100"/>
                  <a:gd name="T14" fmla="*/ 26 w 100"/>
                  <a:gd name="T15" fmla="*/ 94 h 100"/>
                  <a:gd name="T16" fmla="*/ 25 w 100"/>
                  <a:gd name="T17" fmla="*/ 94 h 100"/>
                  <a:gd name="T18" fmla="*/ 24 w 100"/>
                  <a:gd name="T19" fmla="*/ 94 h 100"/>
                  <a:gd name="T20" fmla="*/ 6 w 100"/>
                  <a:gd name="T21" fmla="*/ 94 h 100"/>
                  <a:gd name="T22" fmla="*/ 100 w 100"/>
                  <a:gd name="T23" fmla="*/ 0 h 100"/>
                  <a:gd name="T24" fmla="*/ 77 w 100"/>
                  <a:gd name="T25" fmla="*/ 0 h 100"/>
                  <a:gd name="T26" fmla="*/ 69 w 100"/>
                  <a:gd name="T27" fmla="*/ 6 h 100"/>
                  <a:gd name="T28" fmla="*/ 62 w 100"/>
                  <a:gd name="T29" fmla="*/ 0 h 100"/>
                  <a:gd name="T30" fmla="*/ 32 w 100"/>
                  <a:gd name="T31" fmla="*/ 0 h 100"/>
                  <a:gd name="T32" fmla="*/ 25 w 100"/>
                  <a:gd name="T33" fmla="*/ 6 h 100"/>
                  <a:gd name="T34" fmla="*/ 18 w 100"/>
                  <a:gd name="T35" fmla="*/ 0 h 100"/>
                  <a:gd name="T36" fmla="*/ 0 w 100"/>
                  <a:gd name="T37" fmla="*/ 0 h 100"/>
                  <a:gd name="T38" fmla="*/ 0 w 100"/>
                  <a:gd name="T39" fmla="*/ 100 h 100"/>
                  <a:gd name="T40" fmla="*/ 100 w 100"/>
                  <a:gd name="T41" fmla="*/ 100 h 100"/>
                  <a:gd name="T42" fmla="*/ 100 w 100"/>
                  <a:gd name="T4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0" h="100">
                    <a:moveTo>
                      <a:pt x="6" y="94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4" y="94"/>
                      <a:pt x="94" y="94"/>
                      <a:pt x="94" y="94"/>
                    </a:cubicBezTo>
                    <a:cubicBezTo>
                      <a:pt x="70" y="94"/>
                      <a:pt x="70" y="94"/>
                      <a:pt x="70" y="94"/>
                    </a:cubicBezTo>
                    <a:cubicBezTo>
                      <a:pt x="70" y="94"/>
                      <a:pt x="70" y="94"/>
                      <a:pt x="69" y="94"/>
                    </a:cubicBezTo>
                    <a:cubicBezTo>
                      <a:pt x="69" y="94"/>
                      <a:pt x="68" y="94"/>
                      <a:pt x="68" y="94"/>
                    </a:cubicBezTo>
                    <a:cubicBezTo>
                      <a:pt x="26" y="94"/>
                      <a:pt x="26" y="94"/>
                      <a:pt x="26" y="94"/>
                    </a:cubicBezTo>
                    <a:cubicBezTo>
                      <a:pt x="26" y="94"/>
                      <a:pt x="26" y="94"/>
                      <a:pt x="25" y="94"/>
                    </a:cubicBezTo>
                    <a:cubicBezTo>
                      <a:pt x="25" y="94"/>
                      <a:pt x="24" y="94"/>
                      <a:pt x="24" y="94"/>
                    </a:cubicBezTo>
                    <a:cubicBezTo>
                      <a:pt x="6" y="94"/>
                      <a:pt x="6" y="94"/>
                      <a:pt x="6" y="94"/>
                    </a:cubicBezTo>
                    <a:moveTo>
                      <a:pt x="100" y="0"/>
                    </a:moveTo>
                    <a:cubicBezTo>
                      <a:pt x="77" y="0"/>
                      <a:pt x="77" y="0"/>
                      <a:pt x="77" y="0"/>
                    </a:cubicBezTo>
                    <a:cubicBezTo>
                      <a:pt x="76" y="4"/>
                      <a:pt x="73" y="6"/>
                      <a:pt x="69" y="6"/>
                    </a:cubicBezTo>
                    <a:cubicBezTo>
                      <a:pt x="66" y="6"/>
                      <a:pt x="63" y="4"/>
                      <a:pt x="6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4"/>
                      <a:pt x="29" y="6"/>
                      <a:pt x="25" y="6"/>
                    </a:cubicBezTo>
                    <a:cubicBezTo>
                      <a:pt x="22" y="6"/>
                      <a:pt x="19" y="4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00" y="100"/>
                      <a:pt x="100" y="100"/>
                      <a:pt x="100" y="100"/>
                    </a:cubicBezTo>
                    <a:cubicBezTo>
                      <a:pt x="100" y="0"/>
                      <a:pt x="100" y="0"/>
                      <a:pt x="1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50" name="Freeform 544">
                <a:extLst>
                  <a:ext uri="{FF2B5EF4-FFF2-40B4-BE49-F238E27FC236}">
                    <a16:creationId xmlns:a16="http://schemas.microsoft.com/office/drawing/2014/main" id="{5BC62059-BCA9-48ED-95A4-E14CB30C6D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48" y="204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1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51" name="Freeform 545">
                <a:extLst>
                  <a:ext uri="{FF2B5EF4-FFF2-40B4-BE49-F238E27FC236}">
                    <a16:creationId xmlns:a16="http://schemas.microsoft.com/office/drawing/2014/main" id="{5D64372D-52EE-46A3-B0A9-D7324D5CF1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3" y="204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1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52" name="Freeform 546">
                <a:extLst>
                  <a:ext uri="{FF2B5EF4-FFF2-40B4-BE49-F238E27FC236}">
                    <a16:creationId xmlns:a16="http://schemas.microsoft.com/office/drawing/2014/main" id="{446D5036-87C4-44C3-95FA-B5B4F89988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41" y="1949"/>
                <a:ext cx="16" cy="6"/>
              </a:xfrm>
              <a:custGeom>
                <a:avLst/>
                <a:gdLst>
                  <a:gd name="T0" fmla="*/ 15 w 15"/>
                  <a:gd name="T1" fmla="*/ 0 h 6"/>
                  <a:gd name="T2" fmla="*/ 0 w 15"/>
                  <a:gd name="T3" fmla="*/ 0 h 6"/>
                  <a:gd name="T4" fmla="*/ 7 w 15"/>
                  <a:gd name="T5" fmla="*/ 6 h 6"/>
                  <a:gd name="T6" fmla="*/ 15 w 1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6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4"/>
                      <a:pt x="4" y="6"/>
                      <a:pt x="7" y="6"/>
                    </a:cubicBezTo>
                    <a:cubicBezTo>
                      <a:pt x="11" y="6"/>
                      <a:pt x="14" y="4"/>
                      <a:pt x="1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53" name="Freeform 547">
                <a:extLst>
                  <a:ext uri="{FF2B5EF4-FFF2-40B4-BE49-F238E27FC236}">
                    <a16:creationId xmlns:a16="http://schemas.microsoft.com/office/drawing/2014/main" id="{4EE61C88-9B25-468E-BE68-974D6F10C7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97" y="1949"/>
                <a:ext cx="14" cy="6"/>
              </a:xfrm>
              <a:custGeom>
                <a:avLst/>
                <a:gdLst>
                  <a:gd name="T0" fmla="*/ 14 w 14"/>
                  <a:gd name="T1" fmla="*/ 0 h 6"/>
                  <a:gd name="T2" fmla="*/ 0 w 14"/>
                  <a:gd name="T3" fmla="*/ 0 h 6"/>
                  <a:gd name="T4" fmla="*/ 7 w 14"/>
                  <a:gd name="T5" fmla="*/ 6 h 6"/>
                  <a:gd name="T6" fmla="*/ 14 w 14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4"/>
                      <a:pt x="4" y="6"/>
                      <a:pt x="7" y="6"/>
                    </a:cubicBezTo>
                    <a:cubicBezTo>
                      <a:pt x="11" y="6"/>
                      <a:pt x="14" y="4"/>
                      <a:pt x="1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54" name="Freeform 548">
                <a:extLst>
                  <a:ext uri="{FF2B5EF4-FFF2-40B4-BE49-F238E27FC236}">
                    <a16:creationId xmlns:a16="http://schemas.microsoft.com/office/drawing/2014/main" id="{11A130F7-A224-4801-849E-9AA095E6013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013" y="1949"/>
                <a:ext cx="100" cy="100"/>
              </a:xfrm>
              <a:custGeom>
                <a:avLst/>
                <a:gdLst>
                  <a:gd name="T0" fmla="*/ 6 w 100"/>
                  <a:gd name="T1" fmla="*/ 94 h 100"/>
                  <a:gd name="T2" fmla="*/ 6 w 100"/>
                  <a:gd name="T3" fmla="*/ 6 h 100"/>
                  <a:gd name="T4" fmla="*/ 94 w 100"/>
                  <a:gd name="T5" fmla="*/ 6 h 100"/>
                  <a:gd name="T6" fmla="*/ 94 w 100"/>
                  <a:gd name="T7" fmla="*/ 94 h 100"/>
                  <a:gd name="T8" fmla="*/ 70 w 100"/>
                  <a:gd name="T9" fmla="*/ 94 h 100"/>
                  <a:gd name="T10" fmla="*/ 69 w 100"/>
                  <a:gd name="T11" fmla="*/ 94 h 100"/>
                  <a:gd name="T12" fmla="*/ 67 w 100"/>
                  <a:gd name="T13" fmla="*/ 94 h 100"/>
                  <a:gd name="T14" fmla="*/ 26 w 100"/>
                  <a:gd name="T15" fmla="*/ 94 h 100"/>
                  <a:gd name="T16" fmla="*/ 24 w 100"/>
                  <a:gd name="T17" fmla="*/ 94 h 100"/>
                  <a:gd name="T18" fmla="*/ 23 w 100"/>
                  <a:gd name="T19" fmla="*/ 94 h 100"/>
                  <a:gd name="T20" fmla="*/ 6 w 100"/>
                  <a:gd name="T21" fmla="*/ 94 h 100"/>
                  <a:gd name="T22" fmla="*/ 100 w 100"/>
                  <a:gd name="T23" fmla="*/ 0 h 100"/>
                  <a:gd name="T24" fmla="*/ 76 w 100"/>
                  <a:gd name="T25" fmla="*/ 0 h 100"/>
                  <a:gd name="T26" fmla="*/ 69 w 100"/>
                  <a:gd name="T27" fmla="*/ 6 h 100"/>
                  <a:gd name="T28" fmla="*/ 61 w 100"/>
                  <a:gd name="T29" fmla="*/ 0 h 100"/>
                  <a:gd name="T30" fmla="*/ 32 w 100"/>
                  <a:gd name="T31" fmla="*/ 0 h 100"/>
                  <a:gd name="T32" fmla="*/ 24 w 100"/>
                  <a:gd name="T33" fmla="*/ 6 h 100"/>
                  <a:gd name="T34" fmla="*/ 17 w 100"/>
                  <a:gd name="T35" fmla="*/ 0 h 100"/>
                  <a:gd name="T36" fmla="*/ 0 w 100"/>
                  <a:gd name="T37" fmla="*/ 0 h 100"/>
                  <a:gd name="T38" fmla="*/ 0 w 100"/>
                  <a:gd name="T39" fmla="*/ 100 h 100"/>
                  <a:gd name="T40" fmla="*/ 100 w 100"/>
                  <a:gd name="T41" fmla="*/ 100 h 100"/>
                  <a:gd name="T42" fmla="*/ 100 w 100"/>
                  <a:gd name="T4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0" h="100">
                    <a:moveTo>
                      <a:pt x="6" y="94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4" y="94"/>
                      <a:pt x="94" y="94"/>
                      <a:pt x="94" y="94"/>
                    </a:cubicBezTo>
                    <a:cubicBezTo>
                      <a:pt x="70" y="94"/>
                      <a:pt x="70" y="94"/>
                      <a:pt x="70" y="94"/>
                    </a:cubicBezTo>
                    <a:cubicBezTo>
                      <a:pt x="69" y="94"/>
                      <a:pt x="69" y="94"/>
                      <a:pt x="69" y="94"/>
                    </a:cubicBezTo>
                    <a:cubicBezTo>
                      <a:pt x="68" y="94"/>
                      <a:pt x="68" y="94"/>
                      <a:pt x="67" y="94"/>
                    </a:cubicBezTo>
                    <a:cubicBezTo>
                      <a:pt x="26" y="94"/>
                      <a:pt x="26" y="94"/>
                      <a:pt x="26" y="94"/>
                    </a:cubicBezTo>
                    <a:cubicBezTo>
                      <a:pt x="25" y="94"/>
                      <a:pt x="25" y="94"/>
                      <a:pt x="24" y="94"/>
                    </a:cubicBezTo>
                    <a:cubicBezTo>
                      <a:pt x="24" y="94"/>
                      <a:pt x="24" y="94"/>
                      <a:pt x="23" y="94"/>
                    </a:cubicBezTo>
                    <a:cubicBezTo>
                      <a:pt x="6" y="94"/>
                      <a:pt x="6" y="94"/>
                      <a:pt x="6" y="94"/>
                    </a:cubicBezTo>
                    <a:moveTo>
                      <a:pt x="100" y="0"/>
                    </a:moveTo>
                    <a:cubicBezTo>
                      <a:pt x="76" y="0"/>
                      <a:pt x="76" y="0"/>
                      <a:pt x="76" y="0"/>
                    </a:cubicBezTo>
                    <a:cubicBezTo>
                      <a:pt x="75" y="4"/>
                      <a:pt x="72" y="6"/>
                      <a:pt x="69" y="6"/>
                    </a:cubicBezTo>
                    <a:cubicBezTo>
                      <a:pt x="65" y="6"/>
                      <a:pt x="62" y="4"/>
                      <a:pt x="61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1" y="4"/>
                      <a:pt x="28" y="6"/>
                      <a:pt x="24" y="6"/>
                    </a:cubicBezTo>
                    <a:cubicBezTo>
                      <a:pt x="21" y="6"/>
                      <a:pt x="18" y="4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00" y="100"/>
                      <a:pt x="100" y="100"/>
                      <a:pt x="100" y="100"/>
                    </a:cubicBezTo>
                    <a:cubicBezTo>
                      <a:pt x="100" y="0"/>
                      <a:pt x="100" y="0"/>
                      <a:pt x="1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55" name="Freeform 549">
                <a:extLst>
                  <a:ext uri="{FF2B5EF4-FFF2-40B4-BE49-F238E27FC236}">
                    <a16:creationId xmlns:a16="http://schemas.microsoft.com/office/drawing/2014/main" id="{C897D3D1-0474-4C9F-9C53-818FA066F7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80" y="2043"/>
                <a:ext cx="3" cy="0"/>
              </a:xfrm>
              <a:custGeom>
                <a:avLst/>
                <a:gdLst>
                  <a:gd name="T0" fmla="*/ 3 w 3"/>
                  <a:gd name="T1" fmla="*/ 0 w 3"/>
                  <a:gd name="T2" fmla="*/ 2 w 3"/>
                  <a:gd name="T3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56" name="Freeform 550">
                <a:extLst>
                  <a:ext uri="{FF2B5EF4-FFF2-40B4-BE49-F238E27FC236}">
                    <a16:creationId xmlns:a16="http://schemas.microsoft.com/office/drawing/2014/main" id="{28A31A44-46E5-436C-9D68-83AD356752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043"/>
                <a:ext cx="3" cy="0"/>
              </a:xfrm>
              <a:custGeom>
                <a:avLst/>
                <a:gdLst>
                  <a:gd name="T0" fmla="*/ 3 w 3"/>
                  <a:gd name="T1" fmla="*/ 0 w 3"/>
                  <a:gd name="T2" fmla="*/ 1 w 3"/>
                  <a:gd name="T3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57" name="Freeform 551">
                <a:extLst>
                  <a:ext uri="{FF2B5EF4-FFF2-40B4-BE49-F238E27FC236}">
                    <a16:creationId xmlns:a16="http://schemas.microsoft.com/office/drawing/2014/main" id="{AC95A354-EA6E-4394-A0FD-9672812538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74" y="1949"/>
                <a:ext cx="15" cy="6"/>
              </a:xfrm>
              <a:custGeom>
                <a:avLst/>
                <a:gdLst>
                  <a:gd name="T0" fmla="*/ 15 w 15"/>
                  <a:gd name="T1" fmla="*/ 0 h 6"/>
                  <a:gd name="T2" fmla="*/ 0 w 15"/>
                  <a:gd name="T3" fmla="*/ 0 h 6"/>
                  <a:gd name="T4" fmla="*/ 8 w 15"/>
                  <a:gd name="T5" fmla="*/ 6 h 6"/>
                  <a:gd name="T6" fmla="*/ 15 w 1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6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4"/>
                      <a:pt x="4" y="6"/>
                      <a:pt x="8" y="6"/>
                    </a:cubicBezTo>
                    <a:cubicBezTo>
                      <a:pt x="11" y="6"/>
                      <a:pt x="14" y="4"/>
                      <a:pt x="1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58" name="Freeform 552">
                <a:extLst>
                  <a:ext uri="{FF2B5EF4-FFF2-40B4-BE49-F238E27FC236}">
                    <a16:creationId xmlns:a16="http://schemas.microsoft.com/office/drawing/2014/main" id="{6E7136C7-D32F-4C72-B0A2-C731005340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0" y="1949"/>
                <a:ext cx="15" cy="6"/>
              </a:xfrm>
              <a:custGeom>
                <a:avLst/>
                <a:gdLst>
                  <a:gd name="T0" fmla="*/ 15 w 15"/>
                  <a:gd name="T1" fmla="*/ 0 h 6"/>
                  <a:gd name="T2" fmla="*/ 0 w 15"/>
                  <a:gd name="T3" fmla="*/ 0 h 6"/>
                  <a:gd name="T4" fmla="*/ 7 w 15"/>
                  <a:gd name="T5" fmla="*/ 6 h 6"/>
                  <a:gd name="T6" fmla="*/ 15 w 1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6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4"/>
                      <a:pt x="4" y="6"/>
                      <a:pt x="7" y="6"/>
                    </a:cubicBezTo>
                    <a:cubicBezTo>
                      <a:pt x="11" y="6"/>
                      <a:pt x="14" y="4"/>
                      <a:pt x="1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59" name="Freeform 553">
                <a:extLst>
                  <a:ext uri="{FF2B5EF4-FFF2-40B4-BE49-F238E27FC236}">
                    <a16:creationId xmlns:a16="http://schemas.microsoft.com/office/drawing/2014/main" id="{A863CCEB-3D5E-4259-B508-6F132A277C0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280" y="1949"/>
                <a:ext cx="100" cy="100"/>
              </a:xfrm>
              <a:custGeom>
                <a:avLst/>
                <a:gdLst>
                  <a:gd name="T0" fmla="*/ 0 w 100"/>
                  <a:gd name="T1" fmla="*/ 34 h 100"/>
                  <a:gd name="T2" fmla="*/ 0 w 100"/>
                  <a:gd name="T3" fmla="*/ 47 h 100"/>
                  <a:gd name="T4" fmla="*/ 1 w 100"/>
                  <a:gd name="T5" fmla="*/ 40 h 100"/>
                  <a:gd name="T6" fmla="*/ 0 w 100"/>
                  <a:gd name="T7" fmla="*/ 34 h 100"/>
                  <a:gd name="T8" fmla="*/ 100 w 100"/>
                  <a:gd name="T9" fmla="*/ 0 h 100"/>
                  <a:gd name="T10" fmla="*/ 0 w 100"/>
                  <a:gd name="T11" fmla="*/ 0 h 100"/>
                  <a:gd name="T12" fmla="*/ 0 w 100"/>
                  <a:gd name="T13" fmla="*/ 19 h 100"/>
                  <a:gd name="T14" fmla="*/ 6 w 100"/>
                  <a:gd name="T15" fmla="*/ 26 h 100"/>
                  <a:gd name="T16" fmla="*/ 6 w 100"/>
                  <a:gd name="T17" fmla="*/ 6 h 100"/>
                  <a:gd name="T18" fmla="*/ 94 w 100"/>
                  <a:gd name="T19" fmla="*/ 6 h 100"/>
                  <a:gd name="T20" fmla="*/ 94 w 100"/>
                  <a:gd name="T21" fmla="*/ 94 h 100"/>
                  <a:gd name="T22" fmla="*/ 6 w 100"/>
                  <a:gd name="T23" fmla="*/ 94 h 100"/>
                  <a:gd name="T24" fmla="*/ 6 w 100"/>
                  <a:gd name="T25" fmla="*/ 55 h 100"/>
                  <a:gd name="T26" fmla="*/ 0 w 100"/>
                  <a:gd name="T27" fmla="*/ 62 h 100"/>
                  <a:gd name="T28" fmla="*/ 0 w 100"/>
                  <a:gd name="T29" fmla="*/ 100 h 100"/>
                  <a:gd name="T30" fmla="*/ 100 w 100"/>
                  <a:gd name="T31" fmla="*/ 100 h 100"/>
                  <a:gd name="T32" fmla="*/ 100 w 100"/>
                  <a:gd name="T3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100">
                    <a:moveTo>
                      <a:pt x="0" y="34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1" y="45"/>
                      <a:pt x="1" y="43"/>
                      <a:pt x="1" y="40"/>
                    </a:cubicBezTo>
                    <a:cubicBezTo>
                      <a:pt x="1" y="38"/>
                      <a:pt x="1" y="36"/>
                      <a:pt x="0" y="34"/>
                    </a:cubicBezTo>
                    <a:moveTo>
                      <a:pt x="10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3" y="21"/>
                      <a:pt x="5" y="23"/>
                      <a:pt x="6" y="2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4" y="94"/>
                      <a:pt x="94" y="94"/>
                      <a:pt x="94" y="94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5" y="58"/>
                      <a:pt x="3" y="60"/>
                      <a:pt x="0" y="62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00" y="100"/>
                      <a:pt x="100" y="100"/>
                      <a:pt x="100" y="100"/>
                    </a:cubicBezTo>
                    <a:cubicBezTo>
                      <a:pt x="100" y="0"/>
                      <a:pt x="100" y="0"/>
                      <a:pt x="1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60" name="Freeform 554">
                <a:extLst>
                  <a:ext uri="{FF2B5EF4-FFF2-40B4-BE49-F238E27FC236}">
                    <a16:creationId xmlns:a16="http://schemas.microsoft.com/office/drawing/2014/main" id="{3C96917D-E270-41E5-8CF6-DE6F72C5241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413" y="1949"/>
                <a:ext cx="100" cy="100"/>
              </a:xfrm>
              <a:custGeom>
                <a:avLst/>
                <a:gdLst>
                  <a:gd name="T0" fmla="*/ 6 w 100"/>
                  <a:gd name="T1" fmla="*/ 94 h 100"/>
                  <a:gd name="T2" fmla="*/ 6 w 100"/>
                  <a:gd name="T3" fmla="*/ 6 h 100"/>
                  <a:gd name="T4" fmla="*/ 94 w 100"/>
                  <a:gd name="T5" fmla="*/ 6 h 100"/>
                  <a:gd name="T6" fmla="*/ 94 w 100"/>
                  <a:gd name="T7" fmla="*/ 94 h 100"/>
                  <a:gd name="T8" fmla="*/ 6 w 100"/>
                  <a:gd name="T9" fmla="*/ 94 h 100"/>
                  <a:gd name="T10" fmla="*/ 100 w 100"/>
                  <a:gd name="T11" fmla="*/ 0 h 100"/>
                  <a:gd name="T12" fmla="*/ 0 w 100"/>
                  <a:gd name="T13" fmla="*/ 0 h 100"/>
                  <a:gd name="T14" fmla="*/ 0 w 100"/>
                  <a:gd name="T15" fmla="*/ 100 h 100"/>
                  <a:gd name="T16" fmla="*/ 100 w 100"/>
                  <a:gd name="T17" fmla="*/ 100 h 100"/>
                  <a:gd name="T18" fmla="*/ 100 w 100"/>
                  <a:gd name="T19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0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close/>
                    <a:moveTo>
                      <a:pt x="100" y="0"/>
                    </a:moveTo>
                    <a:lnTo>
                      <a:pt x="0" y="0"/>
                    </a:lnTo>
                    <a:lnTo>
                      <a:pt x="0" y="100"/>
                    </a:lnTo>
                    <a:lnTo>
                      <a:pt x="100" y="100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61" name="Freeform 555">
                <a:extLst>
                  <a:ext uri="{FF2B5EF4-FFF2-40B4-BE49-F238E27FC236}">
                    <a16:creationId xmlns:a16="http://schemas.microsoft.com/office/drawing/2014/main" id="{97C7CF8B-169E-4E07-B652-8504D53B980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413" y="1949"/>
                <a:ext cx="100" cy="100"/>
              </a:xfrm>
              <a:custGeom>
                <a:avLst/>
                <a:gdLst>
                  <a:gd name="T0" fmla="*/ 6 w 100"/>
                  <a:gd name="T1" fmla="*/ 94 h 100"/>
                  <a:gd name="T2" fmla="*/ 6 w 100"/>
                  <a:gd name="T3" fmla="*/ 6 h 100"/>
                  <a:gd name="T4" fmla="*/ 94 w 100"/>
                  <a:gd name="T5" fmla="*/ 6 h 100"/>
                  <a:gd name="T6" fmla="*/ 94 w 100"/>
                  <a:gd name="T7" fmla="*/ 94 h 100"/>
                  <a:gd name="T8" fmla="*/ 6 w 100"/>
                  <a:gd name="T9" fmla="*/ 94 h 100"/>
                  <a:gd name="T10" fmla="*/ 100 w 100"/>
                  <a:gd name="T11" fmla="*/ 0 h 100"/>
                  <a:gd name="T12" fmla="*/ 0 w 100"/>
                  <a:gd name="T13" fmla="*/ 0 h 100"/>
                  <a:gd name="T14" fmla="*/ 0 w 100"/>
                  <a:gd name="T15" fmla="*/ 100 h 100"/>
                  <a:gd name="T16" fmla="*/ 100 w 100"/>
                  <a:gd name="T17" fmla="*/ 100 h 100"/>
                  <a:gd name="T18" fmla="*/ 100 w 100"/>
                  <a:gd name="T19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100">
                    <a:moveTo>
                      <a:pt x="6" y="94"/>
                    </a:moveTo>
                    <a:lnTo>
                      <a:pt x="6" y="6"/>
                    </a:lnTo>
                    <a:lnTo>
                      <a:pt x="94" y="6"/>
                    </a:lnTo>
                    <a:lnTo>
                      <a:pt x="94" y="94"/>
                    </a:lnTo>
                    <a:lnTo>
                      <a:pt x="6" y="94"/>
                    </a:lnTo>
                    <a:moveTo>
                      <a:pt x="100" y="0"/>
                    </a:moveTo>
                    <a:lnTo>
                      <a:pt x="0" y="0"/>
                    </a:lnTo>
                    <a:lnTo>
                      <a:pt x="0" y="100"/>
                    </a:lnTo>
                    <a:lnTo>
                      <a:pt x="100" y="100"/>
                    </a:lnTo>
                    <a:lnTo>
                      <a:pt x="10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62" name="Freeform 556">
                <a:extLst>
                  <a:ext uri="{FF2B5EF4-FFF2-40B4-BE49-F238E27FC236}">
                    <a16:creationId xmlns:a16="http://schemas.microsoft.com/office/drawing/2014/main" id="{38E1993A-5F9C-4098-A029-925D052C13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96" y="1879"/>
                <a:ext cx="1921" cy="159"/>
              </a:xfrm>
              <a:custGeom>
                <a:avLst/>
                <a:gdLst>
                  <a:gd name="T0" fmla="*/ 302 w 1921"/>
                  <a:gd name="T1" fmla="*/ 0 h 159"/>
                  <a:gd name="T2" fmla="*/ 784 w 1921"/>
                  <a:gd name="T3" fmla="*/ 0 h 159"/>
                  <a:gd name="T4" fmla="*/ 864 w 1921"/>
                  <a:gd name="T5" fmla="*/ 81 h 159"/>
                  <a:gd name="T6" fmla="*/ 1336 w 1921"/>
                  <a:gd name="T7" fmla="*/ 81 h 159"/>
                  <a:gd name="T8" fmla="*/ 1408 w 1921"/>
                  <a:gd name="T9" fmla="*/ 153 h 159"/>
                  <a:gd name="T10" fmla="*/ 1921 w 1921"/>
                  <a:gd name="T11" fmla="*/ 153 h 159"/>
                  <a:gd name="T12" fmla="*/ 1921 w 1921"/>
                  <a:gd name="T13" fmla="*/ 159 h 159"/>
                  <a:gd name="T14" fmla="*/ 1406 w 1921"/>
                  <a:gd name="T15" fmla="*/ 159 h 159"/>
                  <a:gd name="T16" fmla="*/ 1334 w 1921"/>
                  <a:gd name="T17" fmla="*/ 87 h 159"/>
                  <a:gd name="T18" fmla="*/ 862 w 1921"/>
                  <a:gd name="T19" fmla="*/ 87 h 159"/>
                  <a:gd name="T20" fmla="*/ 782 w 1921"/>
                  <a:gd name="T21" fmla="*/ 6 h 159"/>
                  <a:gd name="T22" fmla="*/ 304 w 1921"/>
                  <a:gd name="T23" fmla="*/ 6 h 159"/>
                  <a:gd name="T24" fmla="*/ 198 w 1921"/>
                  <a:gd name="T25" fmla="*/ 113 h 159"/>
                  <a:gd name="T26" fmla="*/ 0 w 1921"/>
                  <a:gd name="T27" fmla="*/ 113 h 159"/>
                  <a:gd name="T28" fmla="*/ 0 w 1921"/>
                  <a:gd name="T29" fmla="*/ 108 h 159"/>
                  <a:gd name="T30" fmla="*/ 196 w 1921"/>
                  <a:gd name="T31" fmla="*/ 108 h 159"/>
                  <a:gd name="T32" fmla="*/ 302 w 1921"/>
                  <a:gd name="T33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21" h="159">
                    <a:moveTo>
                      <a:pt x="302" y="0"/>
                    </a:moveTo>
                    <a:lnTo>
                      <a:pt x="784" y="0"/>
                    </a:lnTo>
                    <a:lnTo>
                      <a:pt x="864" y="81"/>
                    </a:lnTo>
                    <a:lnTo>
                      <a:pt x="1336" y="81"/>
                    </a:lnTo>
                    <a:lnTo>
                      <a:pt x="1408" y="153"/>
                    </a:lnTo>
                    <a:lnTo>
                      <a:pt x="1921" y="153"/>
                    </a:lnTo>
                    <a:lnTo>
                      <a:pt x="1921" y="159"/>
                    </a:lnTo>
                    <a:lnTo>
                      <a:pt x="1406" y="159"/>
                    </a:lnTo>
                    <a:lnTo>
                      <a:pt x="1334" y="87"/>
                    </a:lnTo>
                    <a:lnTo>
                      <a:pt x="862" y="87"/>
                    </a:lnTo>
                    <a:lnTo>
                      <a:pt x="782" y="6"/>
                    </a:lnTo>
                    <a:lnTo>
                      <a:pt x="304" y="6"/>
                    </a:lnTo>
                    <a:lnTo>
                      <a:pt x="198" y="113"/>
                    </a:lnTo>
                    <a:lnTo>
                      <a:pt x="0" y="113"/>
                    </a:lnTo>
                    <a:lnTo>
                      <a:pt x="0" y="108"/>
                    </a:lnTo>
                    <a:lnTo>
                      <a:pt x="196" y="108"/>
                    </a:lnTo>
                    <a:lnTo>
                      <a:pt x="30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63" name="Freeform 557">
                <a:extLst>
                  <a:ext uri="{FF2B5EF4-FFF2-40B4-BE49-F238E27FC236}">
                    <a16:creationId xmlns:a16="http://schemas.microsoft.com/office/drawing/2014/main" id="{4B4E18BF-CDCF-4FA7-AAE7-B68F86D6B0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96" y="1879"/>
                <a:ext cx="1921" cy="159"/>
              </a:xfrm>
              <a:custGeom>
                <a:avLst/>
                <a:gdLst>
                  <a:gd name="T0" fmla="*/ 302 w 1921"/>
                  <a:gd name="T1" fmla="*/ 0 h 159"/>
                  <a:gd name="T2" fmla="*/ 784 w 1921"/>
                  <a:gd name="T3" fmla="*/ 0 h 159"/>
                  <a:gd name="T4" fmla="*/ 864 w 1921"/>
                  <a:gd name="T5" fmla="*/ 81 h 159"/>
                  <a:gd name="T6" fmla="*/ 1336 w 1921"/>
                  <a:gd name="T7" fmla="*/ 81 h 159"/>
                  <a:gd name="T8" fmla="*/ 1408 w 1921"/>
                  <a:gd name="T9" fmla="*/ 153 h 159"/>
                  <a:gd name="T10" fmla="*/ 1921 w 1921"/>
                  <a:gd name="T11" fmla="*/ 153 h 159"/>
                  <a:gd name="T12" fmla="*/ 1921 w 1921"/>
                  <a:gd name="T13" fmla="*/ 159 h 159"/>
                  <a:gd name="T14" fmla="*/ 1406 w 1921"/>
                  <a:gd name="T15" fmla="*/ 159 h 159"/>
                  <a:gd name="T16" fmla="*/ 1334 w 1921"/>
                  <a:gd name="T17" fmla="*/ 87 h 159"/>
                  <a:gd name="T18" fmla="*/ 862 w 1921"/>
                  <a:gd name="T19" fmla="*/ 87 h 159"/>
                  <a:gd name="T20" fmla="*/ 782 w 1921"/>
                  <a:gd name="T21" fmla="*/ 6 h 159"/>
                  <a:gd name="T22" fmla="*/ 304 w 1921"/>
                  <a:gd name="T23" fmla="*/ 6 h 159"/>
                  <a:gd name="T24" fmla="*/ 198 w 1921"/>
                  <a:gd name="T25" fmla="*/ 113 h 159"/>
                  <a:gd name="T26" fmla="*/ 0 w 1921"/>
                  <a:gd name="T27" fmla="*/ 113 h 159"/>
                  <a:gd name="T28" fmla="*/ 0 w 1921"/>
                  <a:gd name="T29" fmla="*/ 108 h 159"/>
                  <a:gd name="T30" fmla="*/ 196 w 1921"/>
                  <a:gd name="T31" fmla="*/ 108 h 159"/>
                  <a:gd name="T32" fmla="*/ 302 w 1921"/>
                  <a:gd name="T33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21" h="159">
                    <a:moveTo>
                      <a:pt x="302" y="0"/>
                    </a:moveTo>
                    <a:lnTo>
                      <a:pt x="784" y="0"/>
                    </a:lnTo>
                    <a:lnTo>
                      <a:pt x="864" y="81"/>
                    </a:lnTo>
                    <a:lnTo>
                      <a:pt x="1336" y="81"/>
                    </a:lnTo>
                    <a:lnTo>
                      <a:pt x="1408" y="153"/>
                    </a:lnTo>
                    <a:lnTo>
                      <a:pt x="1921" y="153"/>
                    </a:lnTo>
                    <a:lnTo>
                      <a:pt x="1921" y="159"/>
                    </a:lnTo>
                    <a:lnTo>
                      <a:pt x="1406" y="159"/>
                    </a:lnTo>
                    <a:lnTo>
                      <a:pt x="1334" y="87"/>
                    </a:lnTo>
                    <a:lnTo>
                      <a:pt x="862" y="87"/>
                    </a:lnTo>
                    <a:lnTo>
                      <a:pt x="782" y="6"/>
                    </a:lnTo>
                    <a:lnTo>
                      <a:pt x="304" y="6"/>
                    </a:lnTo>
                    <a:lnTo>
                      <a:pt x="198" y="113"/>
                    </a:lnTo>
                    <a:lnTo>
                      <a:pt x="0" y="113"/>
                    </a:lnTo>
                    <a:lnTo>
                      <a:pt x="0" y="108"/>
                    </a:lnTo>
                    <a:lnTo>
                      <a:pt x="196" y="108"/>
                    </a:lnTo>
                    <a:lnTo>
                      <a:pt x="302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64" name="Oval 558">
                <a:extLst>
                  <a:ext uri="{FF2B5EF4-FFF2-40B4-BE49-F238E27FC236}">
                    <a16:creationId xmlns:a16="http://schemas.microsoft.com/office/drawing/2014/main" id="{1EF1B5DD-7061-4B53-838B-32BA1D7C258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204" y="2022"/>
                <a:ext cx="25" cy="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65" name="Oval 559">
                <a:extLst>
                  <a:ext uri="{FF2B5EF4-FFF2-40B4-BE49-F238E27FC236}">
                    <a16:creationId xmlns:a16="http://schemas.microsoft.com/office/drawing/2014/main" id="{32DBC3BD-30BB-4142-AC94-569C4436B70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284" y="1977"/>
                <a:ext cx="25" cy="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66" name="Freeform 560">
                <a:extLst>
                  <a:ext uri="{FF2B5EF4-FFF2-40B4-BE49-F238E27FC236}">
                    <a16:creationId xmlns:a16="http://schemas.microsoft.com/office/drawing/2014/main" id="{F83E348D-FE06-47B4-8301-BDF2E5451E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05" y="2355"/>
                <a:ext cx="1881" cy="279"/>
              </a:xfrm>
              <a:custGeom>
                <a:avLst/>
                <a:gdLst>
                  <a:gd name="T0" fmla="*/ 1881 w 1881"/>
                  <a:gd name="T1" fmla="*/ 279 h 279"/>
                  <a:gd name="T2" fmla="*/ 1676 w 1881"/>
                  <a:gd name="T3" fmla="*/ 279 h 279"/>
                  <a:gd name="T4" fmla="*/ 1634 w 1881"/>
                  <a:gd name="T5" fmla="*/ 236 h 279"/>
                  <a:gd name="T6" fmla="*/ 1482 w 1881"/>
                  <a:gd name="T7" fmla="*/ 236 h 279"/>
                  <a:gd name="T8" fmla="*/ 1402 w 1881"/>
                  <a:gd name="T9" fmla="*/ 157 h 279"/>
                  <a:gd name="T10" fmla="*/ 1149 w 1881"/>
                  <a:gd name="T11" fmla="*/ 157 h 279"/>
                  <a:gd name="T12" fmla="*/ 1086 w 1881"/>
                  <a:gd name="T13" fmla="*/ 219 h 279"/>
                  <a:gd name="T14" fmla="*/ 965 w 1881"/>
                  <a:gd name="T15" fmla="*/ 219 h 279"/>
                  <a:gd name="T16" fmla="*/ 894 w 1881"/>
                  <a:gd name="T17" fmla="*/ 147 h 279"/>
                  <a:gd name="T18" fmla="*/ 680 w 1881"/>
                  <a:gd name="T19" fmla="*/ 147 h 279"/>
                  <a:gd name="T20" fmla="*/ 601 w 1881"/>
                  <a:gd name="T21" fmla="*/ 68 h 279"/>
                  <a:gd name="T22" fmla="*/ 421 w 1881"/>
                  <a:gd name="T23" fmla="*/ 68 h 279"/>
                  <a:gd name="T24" fmla="*/ 357 w 1881"/>
                  <a:gd name="T25" fmla="*/ 4 h 279"/>
                  <a:gd name="T26" fmla="*/ 0 w 1881"/>
                  <a:gd name="T27" fmla="*/ 4 h 279"/>
                  <a:gd name="T28" fmla="*/ 0 w 1881"/>
                  <a:gd name="T29" fmla="*/ 0 h 279"/>
                  <a:gd name="T30" fmla="*/ 359 w 1881"/>
                  <a:gd name="T31" fmla="*/ 0 h 279"/>
                  <a:gd name="T32" fmla="*/ 422 w 1881"/>
                  <a:gd name="T33" fmla="*/ 64 h 279"/>
                  <a:gd name="T34" fmla="*/ 602 w 1881"/>
                  <a:gd name="T35" fmla="*/ 64 h 279"/>
                  <a:gd name="T36" fmla="*/ 682 w 1881"/>
                  <a:gd name="T37" fmla="*/ 144 h 279"/>
                  <a:gd name="T38" fmla="*/ 896 w 1881"/>
                  <a:gd name="T39" fmla="*/ 144 h 279"/>
                  <a:gd name="T40" fmla="*/ 967 w 1881"/>
                  <a:gd name="T41" fmla="*/ 215 h 279"/>
                  <a:gd name="T42" fmla="*/ 1084 w 1881"/>
                  <a:gd name="T43" fmla="*/ 215 h 279"/>
                  <a:gd name="T44" fmla="*/ 1147 w 1881"/>
                  <a:gd name="T45" fmla="*/ 153 h 279"/>
                  <a:gd name="T46" fmla="*/ 1404 w 1881"/>
                  <a:gd name="T47" fmla="*/ 153 h 279"/>
                  <a:gd name="T48" fmla="*/ 1484 w 1881"/>
                  <a:gd name="T49" fmla="*/ 232 h 279"/>
                  <a:gd name="T50" fmla="*/ 1636 w 1881"/>
                  <a:gd name="T51" fmla="*/ 232 h 279"/>
                  <a:gd name="T52" fmla="*/ 1677 w 1881"/>
                  <a:gd name="T53" fmla="*/ 275 h 279"/>
                  <a:gd name="T54" fmla="*/ 1881 w 1881"/>
                  <a:gd name="T55" fmla="*/ 275 h 279"/>
                  <a:gd name="T56" fmla="*/ 1881 w 1881"/>
                  <a:gd name="T57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81" h="279">
                    <a:moveTo>
                      <a:pt x="1881" y="279"/>
                    </a:moveTo>
                    <a:lnTo>
                      <a:pt x="1676" y="279"/>
                    </a:lnTo>
                    <a:lnTo>
                      <a:pt x="1634" y="236"/>
                    </a:lnTo>
                    <a:lnTo>
                      <a:pt x="1482" y="236"/>
                    </a:lnTo>
                    <a:lnTo>
                      <a:pt x="1402" y="157"/>
                    </a:lnTo>
                    <a:lnTo>
                      <a:pt x="1149" y="157"/>
                    </a:lnTo>
                    <a:lnTo>
                      <a:pt x="1086" y="219"/>
                    </a:lnTo>
                    <a:lnTo>
                      <a:pt x="965" y="219"/>
                    </a:lnTo>
                    <a:lnTo>
                      <a:pt x="894" y="147"/>
                    </a:lnTo>
                    <a:lnTo>
                      <a:pt x="680" y="147"/>
                    </a:lnTo>
                    <a:lnTo>
                      <a:pt x="601" y="68"/>
                    </a:lnTo>
                    <a:lnTo>
                      <a:pt x="421" y="68"/>
                    </a:lnTo>
                    <a:lnTo>
                      <a:pt x="357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359" y="0"/>
                    </a:lnTo>
                    <a:lnTo>
                      <a:pt x="422" y="64"/>
                    </a:lnTo>
                    <a:lnTo>
                      <a:pt x="602" y="64"/>
                    </a:lnTo>
                    <a:lnTo>
                      <a:pt x="682" y="144"/>
                    </a:lnTo>
                    <a:lnTo>
                      <a:pt x="896" y="144"/>
                    </a:lnTo>
                    <a:lnTo>
                      <a:pt x="967" y="215"/>
                    </a:lnTo>
                    <a:lnTo>
                      <a:pt x="1084" y="215"/>
                    </a:lnTo>
                    <a:lnTo>
                      <a:pt x="1147" y="153"/>
                    </a:lnTo>
                    <a:lnTo>
                      <a:pt x="1404" y="153"/>
                    </a:lnTo>
                    <a:lnTo>
                      <a:pt x="1484" y="232"/>
                    </a:lnTo>
                    <a:lnTo>
                      <a:pt x="1636" y="232"/>
                    </a:lnTo>
                    <a:lnTo>
                      <a:pt x="1677" y="275"/>
                    </a:lnTo>
                    <a:lnTo>
                      <a:pt x="1881" y="275"/>
                    </a:lnTo>
                    <a:lnTo>
                      <a:pt x="1881" y="2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67" name="Oval 561">
                <a:extLst>
                  <a:ext uri="{FF2B5EF4-FFF2-40B4-BE49-F238E27FC236}">
                    <a16:creationId xmlns:a16="http://schemas.microsoft.com/office/drawing/2014/main" id="{55C9B6AD-1474-42F9-AA23-1BAB5359439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797" y="2348"/>
                <a:ext cx="17" cy="1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68" name="Oval 562">
                <a:extLst>
                  <a:ext uri="{FF2B5EF4-FFF2-40B4-BE49-F238E27FC236}">
                    <a16:creationId xmlns:a16="http://schemas.microsoft.com/office/drawing/2014/main" id="{B5A11913-CA39-49C0-8D27-220AF394EE6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677" y="2623"/>
                <a:ext cx="18" cy="1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69" name="Freeform 563">
                <a:extLst>
                  <a:ext uri="{FF2B5EF4-FFF2-40B4-BE49-F238E27FC236}">
                    <a16:creationId xmlns:a16="http://schemas.microsoft.com/office/drawing/2014/main" id="{10CEAAA8-F1C1-471C-9B41-00C3FCCF4A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45" y="1594"/>
                <a:ext cx="36" cy="41"/>
              </a:xfrm>
              <a:custGeom>
                <a:avLst/>
                <a:gdLst>
                  <a:gd name="T0" fmla="*/ 36 w 36"/>
                  <a:gd name="T1" fmla="*/ 0 h 41"/>
                  <a:gd name="T2" fmla="*/ 0 w 36"/>
                  <a:gd name="T3" fmla="*/ 20 h 41"/>
                  <a:gd name="T4" fmla="*/ 36 w 36"/>
                  <a:gd name="T5" fmla="*/ 41 h 41"/>
                  <a:gd name="T6" fmla="*/ 36 w 36"/>
                  <a:gd name="T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1">
                    <a:moveTo>
                      <a:pt x="36" y="0"/>
                    </a:moveTo>
                    <a:lnTo>
                      <a:pt x="0" y="20"/>
                    </a:lnTo>
                    <a:lnTo>
                      <a:pt x="36" y="41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70" name="Freeform 564">
                <a:extLst>
                  <a:ext uri="{FF2B5EF4-FFF2-40B4-BE49-F238E27FC236}">
                    <a16:creationId xmlns:a16="http://schemas.microsoft.com/office/drawing/2014/main" id="{FA2F33B2-4890-46B7-B8F5-B6E31CA82C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45" y="1594"/>
                <a:ext cx="36" cy="41"/>
              </a:xfrm>
              <a:custGeom>
                <a:avLst/>
                <a:gdLst>
                  <a:gd name="T0" fmla="*/ 36 w 36"/>
                  <a:gd name="T1" fmla="*/ 0 h 41"/>
                  <a:gd name="T2" fmla="*/ 0 w 36"/>
                  <a:gd name="T3" fmla="*/ 20 h 41"/>
                  <a:gd name="T4" fmla="*/ 36 w 36"/>
                  <a:gd name="T5" fmla="*/ 41 h 41"/>
                  <a:gd name="T6" fmla="*/ 36 w 36"/>
                  <a:gd name="T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1">
                    <a:moveTo>
                      <a:pt x="36" y="0"/>
                    </a:moveTo>
                    <a:lnTo>
                      <a:pt x="0" y="20"/>
                    </a:lnTo>
                    <a:lnTo>
                      <a:pt x="36" y="41"/>
                    </a:lnTo>
                    <a:lnTo>
                      <a:pt x="36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71" name="Freeform 565">
                <a:extLst>
                  <a:ext uri="{FF2B5EF4-FFF2-40B4-BE49-F238E27FC236}">
                    <a16:creationId xmlns:a16="http://schemas.microsoft.com/office/drawing/2014/main" id="{9E4AE865-FC41-4D44-A47B-A6FF6373AE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66" y="2301"/>
                <a:ext cx="23" cy="26"/>
              </a:xfrm>
              <a:custGeom>
                <a:avLst/>
                <a:gdLst>
                  <a:gd name="T0" fmla="*/ 23 w 23"/>
                  <a:gd name="T1" fmla="*/ 0 h 26"/>
                  <a:gd name="T2" fmla="*/ 0 w 23"/>
                  <a:gd name="T3" fmla="*/ 13 h 26"/>
                  <a:gd name="T4" fmla="*/ 23 w 23"/>
                  <a:gd name="T5" fmla="*/ 26 h 26"/>
                  <a:gd name="T6" fmla="*/ 23 w 23"/>
                  <a:gd name="T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6">
                    <a:moveTo>
                      <a:pt x="23" y="0"/>
                    </a:moveTo>
                    <a:lnTo>
                      <a:pt x="0" y="13"/>
                    </a:lnTo>
                    <a:lnTo>
                      <a:pt x="23" y="26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72" name="Freeform 566">
                <a:extLst>
                  <a:ext uri="{FF2B5EF4-FFF2-40B4-BE49-F238E27FC236}">
                    <a16:creationId xmlns:a16="http://schemas.microsoft.com/office/drawing/2014/main" id="{7B9F62A0-0487-4105-9345-A11DC774AA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66" y="2301"/>
                <a:ext cx="23" cy="26"/>
              </a:xfrm>
              <a:custGeom>
                <a:avLst/>
                <a:gdLst>
                  <a:gd name="T0" fmla="*/ 23 w 23"/>
                  <a:gd name="T1" fmla="*/ 0 h 26"/>
                  <a:gd name="T2" fmla="*/ 0 w 23"/>
                  <a:gd name="T3" fmla="*/ 13 h 26"/>
                  <a:gd name="T4" fmla="*/ 23 w 23"/>
                  <a:gd name="T5" fmla="*/ 26 h 26"/>
                  <a:gd name="T6" fmla="*/ 23 w 23"/>
                  <a:gd name="T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6">
                    <a:moveTo>
                      <a:pt x="23" y="0"/>
                    </a:moveTo>
                    <a:lnTo>
                      <a:pt x="0" y="13"/>
                    </a:lnTo>
                    <a:lnTo>
                      <a:pt x="23" y="26"/>
                    </a:lnTo>
                    <a:lnTo>
                      <a:pt x="23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73" name="Freeform 567">
                <a:extLst>
                  <a:ext uri="{FF2B5EF4-FFF2-40B4-BE49-F238E27FC236}">
                    <a16:creationId xmlns:a16="http://schemas.microsoft.com/office/drawing/2014/main" id="{45AA835E-37BE-43CA-AF94-162FEFC1A4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14" y="2338"/>
                <a:ext cx="54" cy="63"/>
              </a:xfrm>
              <a:custGeom>
                <a:avLst/>
                <a:gdLst>
                  <a:gd name="T0" fmla="*/ 54 w 54"/>
                  <a:gd name="T1" fmla="*/ 0 h 62"/>
                  <a:gd name="T2" fmla="*/ 53 w 54"/>
                  <a:gd name="T3" fmla="*/ 1 h 62"/>
                  <a:gd name="T4" fmla="*/ 53 w 54"/>
                  <a:gd name="T5" fmla="*/ 3 h 62"/>
                  <a:gd name="T6" fmla="*/ 42 w 54"/>
                  <a:gd name="T7" fmla="*/ 14 h 62"/>
                  <a:gd name="T8" fmla="*/ 35 w 54"/>
                  <a:gd name="T9" fmla="*/ 11 h 62"/>
                  <a:gd name="T10" fmla="*/ 0 w 54"/>
                  <a:gd name="T11" fmla="*/ 31 h 62"/>
                  <a:gd name="T12" fmla="*/ 45 w 54"/>
                  <a:gd name="T13" fmla="*/ 57 h 62"/>
                  <a:gd name="T14" fmla="*/ 50 w 54"/>
                  <a:gd name="T15" fmla="*/ 60 h 62"/>
                  <a:gd name="T16" fmla="*/ 54 w 54"/>
                  <a:gd name="T17" fmla="*/ 62 h 62"/>
                  <a:gd name="T18" fmla="*/ 54 w 54"/>
                  <a:gd name="T1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" h="62">
                    <a:moveTo>
                      <a:pt x="54" y="0"/>
                    </a:moveTo>
                    <a:cubicBezTo>
                      <a:pt x="53" y="1"/>
                      <a:pt x="53" y="1"/>
                      <a:pt x="53" y="1"/>
                    </a:cubicBezTo>
                    <a:cubicBezTo>
                      <a:pt x="53" y="2"/>
                      <a:pt x="53" y="3"/>
                      <a:pt x="53" y="3"/>
                    </a:cubicBezTo>
                    <a:cubicBezTo>
                      <a:pt x="53" y="9"/>
                      <a:pt x="48" y="14"/>
                      <a:pt x="42" y="14"/>
                    </a:cubicBezTo>
                    <a:cubicBezTo>
                      <a:pt x="39" y="14"/>
                      <a:pt x="37" y="13"/>
                      <a:pt x="35" y="11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7" y="57"/>
                      <a:pt x="49" y="58"/>
                      <a:pt x="50" y="60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74" name="Freeform 568">
                <a:extLst>
                  <a:ext uri="{FF2B5EF4-FFF2-40B4-BE49-F238E27FC236}">
                    <a16:creationId xmlns:a16="http://schemas.microsoft.com/office/drawing/2014/main" id="{61ABAA2E-FF06-4114-A2D5-D04649D12B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59" y="2396"/>
                <a:ext cx="5" cy="3"/>
              </a:xfrm>
              <a:custGeom>
                <a:avLst/>
                <a:gdLst>
                  <a:gd name="T0" fmla="*/ 0 w 5"/>
                  <a:gd name="T1" fmla="*/ 0 h 3"/>
                  <a:gd name="T2" fmla="*/ 5 w 5"/>
                  <a:gd name="T3" fmla="*/ 3 h 3"/>
                  <a:gd name="T4" fmla="*/ 0 w 5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cubicBezTo>
                      <a:pt x="5" y="3"/>
                      <a:pt x="5" y="3"/>
                      <a:pt x="5" y="3"/>
                    </a:cubicBezTo>
                    <a:cubicBezTo>
                      <a:pt x="4" y="1"/>
                      <a:pt x="2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75" name="Freeform 569">
                <a:extLst>
                  <a:ext uri="{FF2B5EF4-FFF2-40B4-BE49-F238E27FC236}">
                    <a16:creationId xmlns:a16="http://schemas.microsoft.com/office/drawing/2014/main" id="{4EDBA4C4-2543-454E-A235-A781A224DA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49" y="2339"/>
                <a:ext cx="18" cy="13"/>
              </a:xfrm>
              <a:custGeom>
                <a:avLst/>
                <a:gdLst>
                  <a:gd name="T0" fmla="*/ 18 w 18"/>
                  <a:gd name="T1" fmla="*/ 0 h 13"/>
                  <a:gd name="T2" fmla="*/ 0 w 18"/>
                  <a:gd name="T3" fmla="*/ 10 h 13"/>
                  <a:gd name="T4" fmla="*/ 7 w 18"/>
                  <a:gd name="T5" fmla="*/ 13 h 13"/>
                  <a:gd name="T6" fmla="*/ 18 w 18"/>
                  <a:gd name="T7" fmla="*/ 2 h 13"/>
                  <a:gd name="T8" fmla="*/ 18 w 18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3">
                    <a:moveTo>
                      <a:pt x="18" y="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2" y="12"/>
                      <a:pt x="4" y="13"/>
                      <a:pt x="7" y="13"/>
                    </a:cubicBezTo>
                    <a:cubicBezTo>
                      <a:pt x="13" y="13"/>
                      <a:pt x="18" y="8"/>
                      <a:pt x="18" y="2"/>
                    </a:cubicBezTo>
                    <a:cubicBezTo>
                      <a:pt x="18" y="2"/>
                      <a:pt x="18" y="1"/>
                      <a:pt x="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76" name="Freeform 570">
                <a:extLst>
                  <a:ext uri="{FF2B5EF4-FFF2-40B4-BE49-F238E27FC236}">
                    <a16:creationId xmlns:a16="http://schemas.microsoft.com/office/drawing/2014/main" id="{E65F72A1-F169-4905-BD84-20C220D5EB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2" y="2508"/>
                <a:ext cx="35" cy="41"/>
              </a:xfrm>
              <a:custGeom>
                <a:avLst/>
                <a:gdLst>
                  <a:gd name="T0" fmla="*/ 35 w 35"/>
                  <a:gd name="T1" fmla="*/ 0 h 41"/>
                  <a:gd name="T2" fmla="*/ 0 w 35"/>
                  <a:gd name="T3" fmla="*/ 21 h 41"/>
                  <a:gd name="T4" fmla="*/ 35 w 35"/>
                  <a:gd name="T5" fmla="*/ 41 h 41"/>
                  <a:gd name="T6" fmla="*/ 35 w 35"/>
                  <a:gd name="T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41">
                    <a:moveTo>
                      <a:pt x="35" y="0"/>
                    </a:moveTo>
                    <a:lnTo>
                      <a:pt x="0" y="21"/>
                    </a:lnTo>
                    <a:lnTo>
                      <a:pt x="35" y="41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77" name="Freeform 571">
                <a:extLst>
                  <a:ext uri="{FF2B5EF4-FFF2-40B4-BE49-F238E27FC236}">
                    <a16:creationId xmlns:a16="http://schemas.microsoft.com/office/drawing/2014/main" id="{BE93478C-7E20-420B-897F-BF9AF4C84E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2" y="2508"/>
                <a:ext cx="35" cy="41"/>
              </a:xfrm>
              <a:custGeom>
                <a:avLst/>
                <a:gdLst>
                  <a:gd name="T0" fmla="*/ 35 w 35"/>
                  <a:gd name="T1" fmla="*/ 0 h 41"/>
                  <a:gd name="T2" fmla="*/ 0 w 35"/>
                  <a:gd name="T3" fmla="*/ 21 h 41"/>
                  <a:gd name="T4" fmla="*/ 35 w 35"/>
                  <a:gd name="T5" fmla="*/ 41 h 41"/>
                  <a:gd name="T6" fmla="*/ 35 w 35"/>
                  <a:gd name="T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41">
                    <a:moveTo>
                      <a:pt x="35" y="0"/>
                    </a:moveTo>
                    <a:lnTo>
                      <a:pt x="0" y="21"/>
                    </a:lnTo>
                    <a:lnTo>
                      <a:pt x="35" y="41"/>
                    </a:lnTo>
                    <a:lnTo>
                      <a:pt x="35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78" name="Freeform 572">
                <a:extLst>
                  <a:ext uri="{FF2B5EF4-FFF2-40B4-BE49-F238E27FC236}">
                    <a16:creationId xmlns:a16="http://schemas.microsoft.com/office/drawing/2014/main" id="{D70811F9-FD09-4CC6-B433-5A6EE0E3A2F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862" y="1696"/>
                <a:ext cx="20" cy="24"/>
              </a:xfrm>
              <a:custGeom>
                <a:avLst/>
                <a:gdLst>
                  <a:gd name="T0" fmla="*/ 5 w 20"/>
                  <a:gd name="T1" fmla="*/ 9 h 24"/>
                  <a:gd name="T2" fmla="*/ 0 w 20"/>
                  <a:gd name="T3" fmla="*/ 12 h 24"/>
                  <a:gd name="T4" fmla="*/ 5 w 20"/>
                  <a:gd name="T5" fmla="*/ 15 h 24"/>
                  <a:gd name="T6" fmla="*/ 5 w 20"/>
                  <a:gd name="T7" fmla="*/ 9 h 24"/>
                  <a:gd name="T8" fmla="*/ 20 w 20"/>
                  <a:gd name="T9" fmla="*/ 0 h 24"/>
                  <a:gd name="T10" fmla="*/ 9 w 20"/>
                  <a:gd name="T11" fmla="*/ 7 h 24"/>
                  <a:gd name="T12" fmla="*/ 9 w 20"/>
                  <a:gd name="T13" fmla="*/ 17 h 24"/>
                  <a:gd name="T14" fmla="*/ 20 w 20"/>
                  <a:gd name="T15" fmla="*/ 24 h 24"/>
                  <a:gd name="T16" fmla="*/ 20 w 20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24">
                    <a:moveTo>
                      <a:pt x="5" y="9"/>
                    </a:moveTo>
                    <a:lnTo>
                      <a:pt x="0" y="12"/>
                    </a:lnTo>
                    <a:lnTo>
                      <a:pt x="5" y="15"/>
                    </a:lnTo>
                    <a:lnTo>
                      <a:pt x="5" y="9"/>
                    </a:lnTo>
                    <a:close/>
                    <a:moveTo>
                      <a:pt x="20" y="0"/>
                    </a:moveTo>
                    <a:lnTo>
                      <a:pt x="9" y="7"/>
                    </a:lnTo>
                    <a:lnTo>
                      <a:pt x="9" y="17"/>
                    </a:lnTo>
                    <a:lnTo>
                      <a:pt x="20" y="24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79" name="Freeform 573">
                <a:extLst>
                  <a:ext uri="{FF2B5EF4-FFF2-40B4-BE49-F238E27FC236}">
                    <a16:creationId xmlns:a16="http://schemas.microsoft.com/office/drawing/2014/main" id="{73DE93F6-E652-4CE9-8B54-A779F6372D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862" y="1696"/>
                <a:ext cx="20" cy="24"/>
              </a:xfrm>
              <a:custGeom>
                <a:avLst/>
                <a:gdLst>
                  <a:gd name="T0" fmla="*/ 5 w 20"/>
                  <a:gd name="T1" fmla="*/ 9 h 24"/>
                  <a:gd name="T2" fmla="*/ 0 w 20"/>
                  <a:gd name="T3" fmla="*/ 12 h 24"/>
                  <a:gd name="T4" fmla="*/ 5 w 20"/>
                  <a:gd name="T5" fmla="*/ 15 h 24"/>
                  <a:gd name="T6" fmla="*/ 5 w 20"/>
                  <a:gd name="T7" fmla="*/ 9 h 24"/>
                  <a:gd name="T8" fmla="*/ 20 w 20"/>
                  <a:gd name="T9" fmla="*/ 0 h 24"/>
                  <a:gd name="T10" fmla="*/ 9 w 20"/>
                  <a:gd name="T11" fmla="*/ 7 h 24"/>
                  <a:gd name="T12" fmla="*/ 9 w 20"/>
                  <a:gd name="T13" fmla="*/ 17 h 24"/>
                  <a:gd name="T14" fmla="*/ 20 w 20"/>
                  <a:gd name="T15" fmla="*/ 24 h 24"/>
                  <a:gd name="T16" fmla="*/ 20 w 20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24">
                    <a:moveTo>
                      <a:pt x="5" y="9"/>
                    </a:moveTo>
                    <a:lnTo>
                      <a:pt x="0" y="12"/>
                    </a:lnTo>
                    <a:lnTo>
                      <a:pt x="5" y="15"/>
                    </a:lnTo>
                    <a:lnTo>
                      <a:pt x="5" y="9"/>
                    </a:lnTo>
                    <a:moveTo>
                      <a:pt x="20" y="0"/>
                    </a:moveTo>
                    <a:lnTo>
                      <a:pt x="9" y="7"/>
                    </a:lnTo>
                    <a:lnTo>
                      <a:pt x="9" y="17"/>
                    </a:lnTo>
                    <a:lnTo>
                      <a:pt x="20" y="24"/>
                    </a:lnTo>
                    <a:lnTo>
                      <a:pt x="2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80" name="Freeform 574">
                <a:extLst>
                  <a:ext uri="{FF2B5EF4-FFF2-40B4-BE49-F238E27FC236}">
                    <a16:creationId xmlns:a16="http://schemas.microsoft.com/office/drawing/2014/main" id="{6B2ED9F3-D412-4508-8979-3E3DA4C444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67" y="1703"/>
                <a:ext cx="4" cy="10"/>
              </a:xfrm>
              <a:custGeom>
                <a:avLst/>
                <a:gdLst>
                  <a:gd name="T0" fmla="*/ 4 w 4"/>
                  <a:gd name="T1" fmla="*/ 0 h 10"/>
                  <a:gd name="T2" fmla="*/ 0 w 4"/>
                  <a:gd name="T3" fmla="*/ 2 h 10"/>
                  <a:gd name="T4" fmla="*/ 0 w 4"/>
                  <a:gd name="T5" fmla="*/ 8 h 10"/>
                  <a:gd name="T6" fmla="*/ 4 w 4"/>
                  <a:gd name="T7" fmla="*/ 10 h 10"/>
                  <a:gd name="T8" fmla="*/ 4 w 4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4" y="0"/>
                    </a:moveTo>
                    <a:lnTo>
                      <a:pt x="0" y="2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81" name="Freeform 575">
                <a:extLst>
                  <a:ext uri="{FF2B5EF4-FFF2-40B4-BE49-F238E27FC236}">
                    <a16:creationId xmlns:a16="http://schemas.microsoft.com/office/drawing/2014/main" id="{8E16586F-EB72-44E5-B737-9DF75DCF0B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67" y="1703"/>
                <a:ext cx="4" cy="10"/>
              </a:xfrm>
              <a:custGeom>
                <a:avLst/>
                <a:gdLst>
                  <a:gd name="T0" fmla="*/ 4 w 4"/>
                  <a:gd name="T1" fmla="*/ 0 h 10"/>
                  <a:gd name="T2" fmla="*/ 0 w 4"/>
                  <a:gd name="T3" fmla="*/ 2 h 10"/>
                  <a:gd name="T4" fmla="*/ 0 w 4"/>
                  <a:gd name="T5" fmla="*/ 8 h 10"/>
                  <a:gd name="T6" fmla="*/ 4 w 4"/>
                  <a:gd name="T7" fmla="*/ 10 h 10"/>
                  <a:gd name="T8" fmla="*/ 4 w 4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4" y="0"/>
                    </a:moveTo>
                    <a:lnTo>
                      <a:pt x="0" y="2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82" name="Freeform 576">
                <a:extLst>
                  <a:ext uri="{FF2B5EF4-FFF2-40B4-BE49-F238E27FC236}">
                    <a16:creationId xmlns:a16="http://schemas.microsoft.com/office/drawing/2014/main" id="{3C6A1210-F62B-4424-B085-BF80B7DF64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37" y="1686"/>
                <a:ext cx="37" cy="43"/>
              </a:xfrm>
              <a:custGeom>
                <a:avLst/>
                <a:gdLst>
                  <a:gd name="T0" fmla="*/ 0 w 37"/>
                  <a:gd name="T1" fmla="*/ 0 h 43"/>
                  <a:gd name="T2" fmla="*/ 0 w 37"/>
                  <a:gd name="T3" fmla="*/ 43 h 43"/>
                  <a:gd name="T4" fmla="*/ 37 w 37"/>
                  <a:gd name="T5" fmla="*/ 21 h 43"/>
                  <a:gd name="T6" fmla="*/ 0 w 37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3">
                    <a:moveTo>
                      <a:pt x="0" y="0"/>
                    </a:moveTo>
                    <a:lnTo>
                      <a:pt x="0" y="43"/>
                    </a:lnTo>
                    <a:lnTo>
                      <a:pt x="37" y="2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83" name="Freeform 577">
                <a:extLst>
                  <a:ext uri="{FF2B5EF4-FFF2-40B4-BE49-F238E27FC236}">
                    <a16:creationId xmlns:a16="http://schemas.microsoft.com/office/drawing/2014/main" id="{17D0CA63-94CF-4026-8DF6-4B2217568E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37" y="1686"/>
                <a:ext cx="37" cy="43"/>
              </a:xfrm>
              <a:custGeom>
                <a:avLst/>
                <a:gdLst>
                  <a:gd name="T0" fmla="*/ 0 w 37"/>
                  <a:gd name="T1" fmla="*/ 0 h 43"/>
                  <a:gd name="T2" fmla="*/ 0 w 37"/>
                  <a:gd name="T3" fmla="*/ 43 h 43"/>
                  <a:gd name="T4" fmla="*/ 37 w 37"/>
                  <a:gd name="T5" fmla="*/ 21 h 43"/>
                  <a:gd name="T6" fmla="*/ 0 w 37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3">
                    <a:moveTo>
                      <a:pt x="0" y="0"/>
                    </a:moveTo>
                    <a:lnTo>
                      <a:pt x="0" y="43"/>
                    </a:lnTo>
                    <a:lnTo>
                      <a:pt x="37" y="21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84" name="Freeform 578">
                <a:extLst>
                  <a:ext uri="{FF2B5EF4-FFF2-40B4-BE49-F238E27FC236}">
                    <a16:creationId xmlns:a16="http://schemas.microsoft.com/office/drawing/2014/main" id="{09E09DA9-A3FD-4947-8CC9-E62ACD19722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67" y="1768"/>
                <a:ext cx="62" cy="72"/>
              </a:xfrm>
              <a:custGeom>
                <a:avLst/>
                <a:gdLst>
                  <a:gd name="T0" fmla="*/ 31 w 62"/>
                  <a:gd name="T1" fmla="*/ 18 h 72"/>
                  <a:gd name="T2" fmla="*/ 31 w 62"/>
                  <a:gd name="T3" fmla="*/ 33 h 72"/>
                  <a:gd name="T4" fmla="*/ 57 w 62"/>
                  <a:gd name="T5" fmla="*/ 33 h 72"/>
                  <a:gd name="T6" fmla="*/ 31 w 62"/>
                  <a:gd name="T7" fmla="*/ 18 h 72"/>
                  <a:gd name="T8" fmla="*/ 0 w 62"/>
                  <a:gd name="T9" fmla="*/ 0 h 72"/>
                  <a:gd name="T10" fmla="*/ 0 w 62"/>
                  <a:gd name="T11" fmla="*/ 72 h 72"/>
                  <a:gd name="T12" fmla="*/ 62 w 62"/>
                  <a:gd name="T13" fmla="*/ 36 h 72"/>
                  <a:gd name="T14" fmla="*/ 27 w 62"/>
                  <a:gd name="T15" fmla="*/ 36 h 72"/>
                  <a:gd name="T16" fmla="*/ 27 w 62"/>
                  <a:gd name="T17" fmla="*/ 15 h 72"/>
                  <a:gd name="T18" fmla="*/ 0 w 62"/>
                  <a:gd name="T1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72">
                    <a:moveTo>
                      <a:pt x="31" y="18"/>
                    </a:moveTo>
                    <a:lnTo>
                      <a:pt x="31" y="33"/>
                    </a:lnTo>
                    <a:lnTo>
                      <a:pt x="57" y="33"/>
                    </a:lnTo>
                    <a:lnTo>
                      <a:pt x="31" y="18"/>
                    </a:lnTo>
                    <a:close/>
                    <a:moveTo>
                      <a:pt x="0" y="0"/>
                    </a:moveTo>
                    <a:lnTo>
                      <a:pt x="0" y="72"/>
                    </a:lnTo>
                    <a:lnTo>
                      <a:pt x="62" y="36"/>
                    </a:lnTo>
                    <a:lnTo>
                      <a:pt x="27" y="36"/>
                    </a:lnTo>
                    <a:lnTo>
                      <a:pt x="27" y="1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85" name="Freeform 579">
                <a:extLst>
                  <a:ext uri="{FF2B5EF4-FFF2-40B4-BE49-F238E27FC236}">
                    <a16:creationId xmlns:a16="http://schemas.microsoft.com/office/drawing/2014/main" id="{A1CEAC98-B32F-4C46-A602-D8E2B7F8337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67" y="1768"/>
                <a:ext cx="62" cy="72"/>
              </a:xfrm>
              <a:custGeom>
                <a:avLst/>
                <a:gdLst>
                  <a:gd name="T0" fmla="*/ 31 w 62"/>
                  <a:gd name="T1" fmla="*/ 18 h 72"/>
                  <a:gd name="T2" fmla="*/ 31 w 62"/>
                  <a:gd name="T3" fmla="*/ 33 h 72"/>
                  <a:gd name="T4" fmla="*/ 57 w 62"/>
                  <a:gd name="T5" fmla="*/ 33 h 72"/>
                  <a:gd name="T6" fmla="*/ 31 w 62"/>
                  <a:gd name="T7" fmla="*/ 18 h 72"/>
                  <a:gd name="T8" fmla="*/ 0 w 62"/>
                  <a:gd name="T9" fmla="*/ 0 h 72"/>
                  <a:gd name="T10" fmla="*/ 0 w 62"/>
                  <a:gd name="T11" fmla="*/ 72 h 72"/>
                  <a:gd name="T12" fmla="*/ 62 w 62"/>
                  <a:gd name="T13" fmla="*/ 36 h 72"/>
                  <a:gd name="T14" fmla="*/ 27 w 62"/>
                  <a:gd name="T15" fmla="*/ 36 h 72"/>
                  <a:gd name="T16" fmla="*/ 27 w 62"/>
                  <a:gd name="T17" fmla="*/ 15 h 72"/>
                  <a:gd name="T18" fmla="*/ 0 w 62"/>
                  <a:gd name="T1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72">
                    <a:moveTo>
                      <a:pt x="31" y="18"/>
                    </a:moveTo>
                    <a:lnTo>
                      <a:pt x="31" y="33"/>
                    </a:lnTo>
                    <a:lnTo>
                      <a:pt x="57" y="33"/>
                    </a:lnTo>
                    <a:lnTo>
                      <a:pt x="31" y="18"/>
                    </a:lnTo>
                    <a:moveTo>
                      <a:pt x="0" y="0"/>
                    </a:moveTo>
                    <a:lnTo>
                      <a:pt x="0" y="72"/>
                    </a:lnTo>
                    <a:lnTo>
                      <a:pt x="62" y="36"/>
                    </a:lnTo>
                    <a:lnTo>
                      <a:pt x="27" y="36"/>
                    </a:lnTo>
                    <a:lnTo>
                      <a:pt x="27" y="15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86" name="Freeform 580">
                <a:extLst>
                  <a:ext uri="{FF2B5EF4-FFF2-40B4-BE49-F238E27FC236}">
                    <a16:creationId xmlns:a16="http://schemas.microsoft.com/office/drawing/2014/main" id="{B339CCFF-570D-44E9-A3CD-B4026FEB86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94" y="1783"/>
                <a:ext cx="36" cy="21"/>
              </a:xfrm>
              <a:custGeom>
                <a:avLst/>
                <a:gdLst>
                  <a:gd name="T0" fmla="*/ 0 w 36"/>
                  <a:gd name="T1" fmla="*/ 0 h 21"/>
                  <a:gd name="T2" fmla="*/ 0 w 36"/>
                  <a:gd name="T3" fmla="*/ 21 h 21"/>
                  <a:gd name="T4" fmla="*/ 35 w 36"/>
                  <a:gd name="T5" fmla="*/ 21 h 21"/>
                  <a:gd name="T6" fmla="*/ 36 w 36"/>
                  <a:gd name="T7" fmla="*/ 21 h 21"/>
                  <a:gd name="T8" fmla="*/ 30 w 36"/>
                  <a:gd name="T9" fmla="*/ 18 h 21"/>
                  <a:gd name="T10" fmla="*/ 4 w 36"/>
                  <a:gd name="T11" fmla="*/ 18 h 21"/>
                  <a:gd name="T12" fmla="*/ 4 w 36"/>
                  <a:gd name="T13" fmla="*/ 3 h 21"/>
                  <a:gd name="T14" fmla="*/ 0 w 36"/>
                  <a:gd name="T1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1">
                    <a:moveTo>
                      <a:pt x="0" y="0"/>
                    </a:moveTo>
                    <a:lnTo>
                      <a:pt x="0" y="21"/>
                    </a:lnTo>
                    <a:lnTo>
                      <a:pt x="35" y="21"/>
                    </a:lnTo>
                    <a:lnTo>
                      <a:pt x="36" y="21"/>
                    </a:lnTo>
                    <a:lnTo>
                      <a:pt x="30" y="18"/>
                    </a:lnTo>
                    <a:lnTo>
                      <a:pt x="4" y="18"/>
                    </a:lnTo>
                    <a:lnTo>
                      <a:pt x="4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87" name="Freeform 581">
                <a:extLst>
                  <a:ext uri="{FF2B5EF4-FFF2-40B4-BE49-F238E27FC236}">
                    <a16:creationId xmlns:a16="http://schemas.microsoft.com/office/drawing/2014/main" id="{3D299018-96BE-42CA-A0EB-DC2F7E5E66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94" y="1783"/>
                <a:ext cx="36" cy="21"/>
              </a:xfrm>
              <a:custGeom>
                <a:avLst/>
                <a:gdLst>
                  <a:gd name="T0" fmla="*/ 0 w 36"/>
                  <a:gd name="T1" fmla="*/ 0 h 21"/>
                  <a:gd name="T2" fmla="*/ 0 w 36"/>
                  <a:gd name="T3" fmla="*/ 21 h 21"/>
                  <a:gd name="T4" fmla="*/ 35 w 36"/>
                  <a:gd name="T5" fmla="*/ 21 h 21"/>
                  <a:gd name="T6" fmla="*/ 36 w 36"/>
                  <a:gd name="T7" fmla="*/ 21 h 21"/>
                  <a:gd name="T8" fmla="*/ 30 w 36"/>
                  <a:gd name="T9" fmla="*/ 18 h 21"/>
                  <a:gd name="T10" fmla="*/ 4 w 36"/>
                  <a:gd name="T11" fmla="*/ 18 h 21"/>
                  <a:gd name="T12" fmla="*/ 4 w 36"/>
                  <a:gd name="T13" fmla="*/ 3 h 21"/>
                  <a:gd name="T14" fmla="*/ 0 w 36"/>
                  <a:gd name="T1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1">
                    <a:moveTo>
                      <a:pt x="0" y="0"/>
                    </a:moveTo>
                    <a:lnTo>
                      <a:pt x="0" y="21"/>
                    </a:lnTo>
                    <a:lnTo>
                      <a:pt x="35" y="21"/>
                    </a:lnTo>
                    <a:lnTo>
                      <a:pt x="36" y="21"/>
                    </a:lnTo>
                    <a:lnTo>
                      <a:pt x="30" y="18"/>
                    </a:lnTo>
                    <a:lnTo>
                      <a:pt x="4" y="18"/>
                    </a:lnTo>
                    <a:lnTo>
                      <a:pt x="4" y="3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88" name="Freeform 582">
                <a:extLst>
                  <a:ext uri="{FF2B5EF4-FFF2-40B4-BE49-F238E27FC236}">
                    <a16:creationId xmlns:a16="http://schemas.microsoft.com/office/drawing/2014/main" id="{3A025CF0-99BD-4355-8892-19F0E8C201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75" y="2891"/>
                <a:ext cx="43" cy="49"/>
              </a:xfrm>
              <a:custGeom>
                <a:avLst/>
                <a:gdLst>
                  <a:gd name="T0" fmla="*/ 0 w 43"/>
                  <a:gd name="T1" fmla="*/ 0 h 49"/>
                  <a:gd name="T2" fmla="*/ 0 w 43"/>
                  <a:gd name="T3" fmla="*/ 49 h 49"/>
                  <a:gd name="T4" fmla="*/ 43 w 43"/>
                  <a:gd name="T5" fmla="*/ 25 h 49"/>
                  <a:gd name="T6" fmla="*/ 0 w 43"/>
                  <a:gd name="T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49">
                    <a:moveTo>
                      <a:pt x="0" y="0"/>
                    </a:moveTo>
                    <a:lnTo>
                      <a:pt x="0" y="49"/>
                    </a:lnTo>
                    <a:lnTo>
                      <a:pt x="43" y="2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89" name="Freeform 583">
                <a:extLst>
                  <a:ext uri="{FF2B5EF4-FFF2-40B4-BE49-F238E27FC236}">
                    <a16:creationId xmlns:a16="http://schemas.microsoft.com/office/drawing/2014/main" id="{5E07897E-7A67-43C6-B8AE-A8130EC20C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75" y="2891"/>
                <a:ext cx="43" cy="49"/>
              </a:xfrm>
              <a:custGeom>
                <a:avLst/>
                <a:gdLst>
                  <a:gd name="T0" fmla="*/ 0 w 43"/>
                  <a:gd name="T1" fmla="*/ 0 h 49"/>
                  <a:gd name="T2" fmla="*/ 0 w 43"/>
                  <a:gd name="T3" fmla="*/ 49 h 49"/>
                  <a:gd name="T4" fmla="*/ 43 w 43"/>
                  <a:gd name="T5" fmla="*/ 25 h 49"/>
                  <a:gd name="T6" fmla="*/ 0 w 43"/>
                  <a:gd name="T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49">
                    <a:moveTo>
                      <a:pt x="0" y="0"/>
                    </a:moveTo>
                    <a:lnTo>
                      <a:pt x="0" y="49"/>
                    </a:lnTo>
                    <a:lnTo>
                      <a:pt x="43" y="25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90" name="Freeform 584">
                <a:extLst>
                  <a:ext uri="{FF2B5EF4-FFF2-40B4-BE49-F238E27FC236}">
                    <a16:creationId xmlns:a16="http://schemas.microsoft.com/office/drawing/2014/main" id="{E09D642E-44CD-4A32-8A11-04B9CBABD5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24" y="2882"/>
                <a:ext cx="31" cy="37"/>
              </a:xfrm>
              <a:custGeom>
                <a:avLst/>
                <a:gdLst>
                  <a:gd name="T0" fmla="*/ 0 w 31"/>
                  <a:gd name="T1" fmla="*/ 0 h 37"/>
                  <a:gd name="T2" fmla="*/ 0 w 31"/>
                  <a:gd name="T3" fmla="*/ 37 h 37"/>
                  <a:gd name="T4" fmla="*/ 31 w 31"/>
                  <a:gd name="T5" fmla="*/ 19 h 37"/>
                  <a:gd name="T6" fmla="*/ 0 w 31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7">
                    <a:moveTo>
                      <a:pt x="0" y="0"/>
                    </a:moveTo>
                    <a:lnTo>
                      <a:pt x="0" y="37"/>
                    </a:lnTo>
                    <a:lnTo>
                      <a:pt x="31" y="1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91" name="Freeform 585">
                <a:extLst>
                  <a:ext uri="{FF2B5EF4-FFF2-40B4-BE49-F238E27FC236}">
                    <a16:creationId xmlns:a16="http://schemas.microsoft.com/office/drawing/2014/main" id="{9E88B0D8-B571-4D27-8BE7-E01CEC4031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24" y="2882"/>
                <a:ext cx="31" cy="37"/>
              </a:xfrm>
              <a:custGeom>
                <a:avLst/>
                <a:gdLst>
                  <a:gd name="T0" fmla="*/ 0 w 31"/>
                  <a:gd name="T1" fmla="*/ 0 h 37"/>
                  <a:gd name="T2" fmla="*/ 0 w 31"/>
                  <a:gd name="T3" fmla="*/ 37 h 37"/>
                  <a:gd name="T4" fmla="*/ 31 w 31"/>
                  <a:gd name="T5" fmla="*/ 19 h 37"/>
                  <a:gd name="T6" fmla="*/ 0 w 31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7">
                    <a:moveTo>
                      <a:pt x="0" y="0"/>
                    </a:moveTo>
                    <a:lnTo>
                      <a:pt x="0" y="37"/>
                    </a:lnTo>
                    <a:lnTo>
                      <a:pt x="31" y="19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92" name="Freeform 586">
                <a:extLst>
                  <a:ext uri="{FF2B5EF4-FFF2-40B4-BE49-F238E27FC236}">
                    <a16:creationId xmlns:a16="http://schemas.microsoft.com/office/drawing/2014/main" id="{FFB5AC90-2B7E-49A1-AAC3-548813F2FB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7" y="2302"/>
                <a:ext cx="42" cy="48"/>
              </a:xfrm>
              <a:custGeom>
                <a:avLst/>
                <a:gdLst>
                  <a:gd name="T0" fmla="*/ 0 w 42"/>
                  <a:gd name="T1" fmla="*/ 0 h 48"/>
                  <a:gd name="T2" fmla="*/ 0 w 42"/>
                  <a:gd name="T3" fmla="*/ 48 h 48"/>
                  <a:gd name="T4" fmla="*/ 42 w 42"/>
                  <a:gd name="T5" fmla="*/ 24 h 48"/>
                  <a:gd name="T6" fmla="*/ 0 w 42"/>
                  <a:gd name="T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8">
                    <a:moveTo>
                      <a:pt x="0" y="0"/>
                    </a:moveTo>
                    <a:lnTo>
                      <a:pt x="0" y="48"/>
                    </a:lnTo>
                    <a:lnTo>
                      <a:pt x="42" y="2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93" name="Freeform 587">
                <a:extLst>
                  <a:ext uri="{FF2B5EF4-FFF2-40B4-BE49-F238E27FC236}">
                    <a16:creationId xmlns:a16="http://schemas.microsoft.com/office/drawing/2014/main" id="{4B598F2B-385C-4D5C-A721-81E9564770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7" y="2302"/>
                <a:ext cx="42" cy="48"/>
              </a:xfrm>
              <a:custGeom>
                <a:avLst/>
                <a:gdLst>
                  <a:gd name="T0" fmla="*/ 0 w 42"/>
                  <a:gd name="T1" fmla="*/ 0 h 48"/>
                  <a:gd name="T2" fmla="*/ 0 w 42"/>
                  <a:gd name="T3" fmla="*/ 48 h 48"/>
                  <a:gd name="T4" fmla="*/ 42 w 42"/>
                  <a:gd name="T5" fmla="*/ 24 h 48"/>
                  <a:gd name="T6" fmla="*/ 0 w 42"/>
                  <a:gd name="T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8">
                    <a:moveTo>
                      <a:pt x="0" y="0"/>
                    </a:moveTo>
                    <a:lnTo>
                      <a:pt x="0" y="48"/>
                    </a:lnTo>
                    <a:lnTo>
                      <a:pt x="42" y="24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94" name="Freeform 588">
                <a:extLst>
                  <a:ext uri="{FF2B5EF4-FFF2-40B4-BE49-F238E27FC236}">
                    <a16:creationId xmlns:a16="http://schemas.microsoft.com/office/drawing/2014/main" id="{73CC664C-7DAA-4C76-A313-F3300841F59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605" y="2401"/>
                <a:ext cx="69" cy="68"/>
              </a:xfrm>
              <a:custGeom>
                <a:avLst/>
                <a:gdLst>
                  <a:gd name="T0" fmla="*/ 2 w 68"/>
                  <a:gd name="T1" fmla="*/ 23 h 68"/>
                  <a:gd name="T2" fmla="*/ 0 w 68"/>
                  <a:gd name="T3" fmla="*/ 34 h 68"/>
                  <a:gd name="T4" fmla="*/ 2 w 68"/>
                  <a:gd name="T5" fmla="*/ 45 h 68"/>
                  <a:gd name="T6" fmla="*/ 2 w 68"/>
                  <a:gd name="T7" fmla="*/ 23 h 68"/>
                  <a:gd name="T8" fmla="*/ 57 w 68"/>
                  <a:gd name="T9" fmla="*/ 9 h 68"/>
                  <a:gd name="T10" fmla="*/ 37 w 68"/>
                  <a:gd name="T11" fmla="*/ 9 h 68"/>
                  <a:gd name="T12" fmla="*/ 37 w 68"/>
                  <a:gd name="T13" fmla="*/ 68 h 68"/>
                  <a:gd name="T14" fmla="*/ 68 w 68"/>
                  <a:gd name="T15" fmla="*/ 34 h 68"/>
                  <a:gd name="T16" fmla="*/ 57 w 68"/>
                  <a:gd name="T17" fmla="*/ 9 h 68"/>
                  <a:gd name="T18" fmla="*/ 34 w 68"/>
                  <a:gd name="T19" fmla="*/ 0 h 68"/>
                  <a:gd name="T20" fmla="*/ 22 w 68"/>
                  <a:gd name="T21" fmla="*/ 2 h 68"/>
                  <a:gd name="T22" fmla="*/ 22 w 68"/>
                  <a:gd name="T23" fmla="*/ 5 h 68"/>
                  <a:gd name="T24" fmla="*/ 11 w 68"/>
                  <a:gd name="T25" fmla="*/ 16 h 68"/>
                  <a:gd name="T26" fmla="*/ 6 w 68"/>
                  <a:gd name="T27" fmla="*/ 15 h 68"/>
                  <a:gd name="T28" fmla="*/ 4 w 68"/>
                  <a:gd name="T29" fmla="*/ 17 h 68"/>
                  <a:gd name="T30" fmla="*/ 4 w 68"/>
                  <a:gd name="T31" fmla="*/ 51 h 68"/>
                  <a:gd name="T32" fmla="*/ 10 w 68"/>
                  <a:gd name="T33" fmla="*/ 58 h 68"/>
                  <a:gd name="T34" fmla="*/ 11 w 68"/>
                  <a:gd name="T35" fmla="*/ 58 h 68"/>
                  <a:gd name="T36" fmla="*/ 22 w 68"/>
                  <a:gd name="T37" fmla="*/ 66 h 68"/>
                  <a:gd name="T38" fmla="*/ 34 w 68"/>
                  <a:gd name="T39" fmla="*/ 68 h 68"/>
                  <a:gd name="T40" fmla="*/ 34 w 68"/>
                  <a:gd name="T41" fmla="*/ 68 h 68"/>
                  <a:gd name="T42" fmla="*/ 34 w 68"/>
                  <a:gd name="T43" fmla="*/ 6 h 68"/>
                  <a:gd name="T44" fmla="*/ 53 w 68"/>
                  <a:gd name="T45" fmla="*/ 6 h 68"/>
                  <a:gd name="T46" fmla="*/ 34 w 68"/>
                  <a:gd name="T4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68">
                    <a:moveTo>
                      <a:pt x="2" y="23"/>
                    </a:moveTo>
                    <a:cubicBezTo>
                      <a:pt x="0" y="26"/>
                      <a:pt x="0" y="30"/>
                      <a:pt x="0" y="34"/>
                    </a:cubicBezTo>
                    <a:cubicBezTo>
                      <a:pt x="0" y="38"/>
                      <a:pt x="0" y="42"/>
                      <a:pt x="2" y="45"/>
                    </a:cubicBezTo>
                    <a:cubicBezTo>
                      <a:pt x="2" y="23"/>
                      <a:pt x="2" y="23"/>
                      <a:pt x="2" y="23"/>
                    </a:cubicBezTo>
                    <a:moveTo>
                      <a:pt x="57" y="9"/>
                    </a:moveTo>
                    <a:cubicBezTo>
                      <a:pt x="37" y="9"/>
                      <a:pt x="37" y="9"/>
                      <a:pt x="37" y="9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54" y="67"/>
                      <a:pt x="68" y="52"/>
                      <a:pt x="68" y="34"/>
                    </a:cubicBezTo>
                    <a:cubicBezTo>
                      <a:pt x="68" y="24"/>
                      <a:pt x="64" y="15"/>
                      <a:pt x="57" y="9"/>
                    </a:cubicBezTo>
                    <a:moveTo>
                      <a:pt x="34" y="0"/>
                    </a:moveTo>
                    <a:cubicBezTo>
                      <a:pt x="30" y="0"/>
                      <a:pt x="25" y="1"/>
                      <a:pt x="22" y="2"/>
                    </a:cubicBezTo>
                    <a:cubicBezTo>
                      <a:pt x="22" y="3"/>
                      <a:pt x="22" y="4"/>
                      <a:pt x="22" y="5"/>
                    </a:cubicBezTo>
                    <a:cubicBezTo>
                      <a:pt x="22" y="11"/>
                      <a:pt x="17" y="16"/>
                      <a:pt x="11" y="16"/>
                    </a:cubicBezTo>
                    <a:cubicBezTo>
                      <a:pt x="9" y="16"/>
                      <a:pt x="7" y="16"/>
                      <a:pt x="6" y="15"/>
                    </a:cubicBezTo>
                    <a:cubicBezTo>
                      <a:pt x="5" y="15"/>
                      <a:pt x="5" y="16"/>
                      <a:pt x="4" y="17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6" y="54"/>
                      <a:pt x="8" y="56"/>
                      <a:pt x="10" y="58"/>
                    </a:cubicBezTo>
                    <a:cubicBezTo>
                      <a:pt x="10" y="58"/>
                      <a:pt x="11" y="58"/>
                      <a:pt x="11" y="58"/>
                    </a:cubicBezTo>
                    <a:cubicBezTo>
                      <a:pt x="16" y="58"/>
                      <a:pt x="20" y="62"/>
                      <a:pt x="22" y="66"/>
                    </a:cubicBezTo>
                    <a:cubicBezTo>
                      <a:pt x="25" y="68"/>
                      <a:pt x="30" y="68"/>
                      <a:pt x="34" y="68"/>
                    </a:cubicBezTo>
                    <a:cubicBezTo>
                      <a:pt x="34" y="68"/>
                      <a:pt x="34" y="68"/>
                      <a:pt x="34" y="68"/>
                    </a:cubicBezTo>
                    <a:cubicBezTo>
                      <a:pt x="34" y="6"/>
                      <a:pt x="34" y="6"/>
                      <a:pt x="34" y="6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48" y="2"/>
                      <a:pt x="41" y="0"/>
                      <a:pt x="3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95" name="Freeform 589">
                <a:extLst>
                  <a:ext uri="{FF2B5EF4-FFF2-40B4-BE49-F238E27FC236}">
                    <a16:creationId xmlns:a16="http://schemas.microsoft.com/office/drawing/2014/main" id="{76495FEE-4E20-497E-BCDE-D84623B679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40" y="2407"/>
                <a:ext cx="23" cy="62"/>
              </a:xfrm>
              <a:custGeom>
                <a:avLst/>
                <a:gdLst>
                  <a:gd name="T0" fmla="*/ 19 w 23"/>
                  <a:gd name="T1" fmla="*/ 0 h 62"/>
                  <a:gd name="T2" fmla="*/ 0 w 23"/>
                  <a:gd name="T3" fmla="*/ 0 h 62"/>
                  <a:gd name="T4" fmla="*/ 0 w 23"/>
                  <a:gd name="T5" fmla="*/ 62 h 62"/>
                  <a:gd name="T6" fmla="*/ 3 w 23"/>
                  <a:gd name="T7" fmla="*/ 62 h 62"/>
                  <a:gd name="T8" fmla="*/ 3 w 23"/>
                  <a:gd name="T9" fmla="*/ 3 h 62"/>
                  <a:gd name="T10" fmla="*/ 23 w 23"/>
                  <a:gd name="T11" fmla="*/ 3 h 62"/>
                  <a:gd name="T12" fmla="*/ 19 w 23"/>
                  <a:gd name="T1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62">
                    <a:moveTo>
                      <a:pt x="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1" y="62"/>
                      <a:pt x="2" y="62"/>
                      <a:pt x="3" y="6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2" y="2"/>
                      <a:pt x="20" y="1"/>
                      <a:pt x="1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96" name="Freeform 590">
                <a:extLst>
                  <a:ext uri="{FF2B5EF4-FFF2-40B4-BE49-F238E27FC236}">
                    <a16:creationId xmlns:a16="http://schemas.microsoft.com/office/drawing/2014/main" id="{E8CA0460-26C8-4BFD-A32E-43EC9D4CD7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07" y="2418"/>
                <a:ext cx="2" cy="34"/>
              </a:xfrm>
              <a:custGeom>
                <a:avLst/>
                <a:gdLst>
                  <a:gd name="T0" fmla="*/ 2 w 2"/>
                  <a:gd name="T1" fmla="*/ 0 h 34"/>
                  <a:gd name="T2" fmla="*/ 0 w 2"/>
                  <a:gd name="T3" fmla="*/ 6 h 34"/>
                  <a:gd name="T4" fmla="*/ 0 w 2"/>
                  <a:gd name="T5" fmla="*/ 28 h 34"/>
                  <a:gd name="T6" fmla="*/ 2 w 2"/>
                  <a:gd name="T7" fmla="*/ 34 h 34"/>
                  <a:gd name="T8" fmla="*/ 2 w 2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4">
                    <a:moveTo>
                      <a:pt x="2" y="0"/>
                    </a:moveTo>
                    <a:cubicBezTo>
                      <a:pt x="1" y="2"/>
                      <a:pt x="0" y="4"/>
                      <a:pt x="0" y="6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0"/>
                      <a:pt x="1" y="32"/>
                      <a:pt x="2" y="3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97" name="Freeform 591">
                <a:extLst>
                  <a:ext uri="{FF2B5EF4-FFF2-40B4-BE49-F238E27FC236}">
                    <a16:creationId xmlns:a16="http://schemas.microsoft.com/office/drawing/2014/main" id="{D1F6D952-D31F-4B07-B6DB-AB06443257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16" y="2459"/>
                <a:ext cx="12" cy="8"/>
              </a:xfrm>
              <a:custGeom>
                <a:avLst/>
                <a:gdLst>
                  <a:gd name="T0" fmla="*/ 1 w 12"/>
                  <a:gd name="T1" fmla="*/ 0 h 8"/>
                  <a:gd name="T2" fmla="*/ 0 w 12"/>
                  <a:gd name="T3" fmla="*/ 0 h 8"/>
                  <a:gd name="T4" fmla="*/ 12 w 12"/>
                  <a:gd name="T5" fmla="*/ 8 h 8"/>
                  <a:gd name="T6" fmla="*/ 1 w 12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8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3" y="4"/>
                      <a:pt x="7" y="6"/>
                      <a:pt x="12" y="8"/>
                    </a:cubicBezTo>
                    <a:cubicBezTo>
                      <a:pt x="10" y="4"/>
                      <a:pt x="6" y="0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98" name="Freeform 592">
                <a:extLst>
                  <a:ext uri="{FF2B5EF4-FFF2-40B4-BE49-F238E27FC236}">
                    <a16:creationId xmlns:a16="http://schemas.microsoft.com/office/drawing/2014/main" id="{C4E6FA7B-8517-43AA-9FB2-76504FE988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12" y="2403"/>
                <a:ext cx="16" cy="14"/>
              </a:xfrm>
              <a:custGeom>
                <a:avLst/>
                <a:gdLst>
                  <a:gd name="T0" fmla="*/ 16 w 16"/>
                  <a:gd name="T1" fmla="*/ 0 h 14"/>
                  <a:gd name="T2" fmla="*/ 0 w 16"/>
                  <a:gd name="T3" fmla="*/ 13 h 14"/>
                  <a:gd name="T4" fmla="*/ 5 w 16"/>
                  <a:gd name="T5" fmla="*/ 14 h 14"/>
                  <a:gd name="T6" fmla="*/ 16 w 16"/>
                  <a:gd name="T7" fmla="*/ 3 h 14"/>
                  <a:gd name="T8" fmla="*/ 16 w 1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4">
                    <a:moveTo>
                      <a:pt x="16" y="0"/>
                    </a:moveTo>
                    <a:cubicBezTo>
                      <a:pt x="9" y="3"/>
                      <a:pt x="4" y="7"/>
                      <a:pt x="0" y="13"/>
                    </a:cubicBezTo>
                    <a:cubicBezTo>
                      <a:pt x="1" y="14"/>
                      <a:pt x="3" y="14"/>
                      <a:pt x="5" y="14"/>
                    </a:cubicBezTo>
                    <a:cubicBezTo>
                      <a:pt x="11" y="14"/>
                      <a:pt x="16" y="9"/>
                      <a:pt x="16" y="3"/>
                    </a:cubicBezTo>
                    <a:cubicBezTo>
                      <a:pt x="16" y="2"/>
                      <a:pt x="16" y="1"/>
                      <a:pt x="1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199" name="Freeform 593">
                <a:extLst>
                  <a:ext uri="{FF2B5EF4-FFF2-40B4-BE49-F238E27FC236}">
                    <a16:creationId xmlns:a16="http://schemas.microsoft.com/office/drawing/2014/main" id="{DDE085CE-A37E-4623-B48C-59F977FC85A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890" y="2080"/>
                <a:ext cx="70" cy="71"/>
              </a:xfrm>
              <a:custGeom>
                <a:avLst/>
                <a:gdLst>
                  <a:gd name="T0" fmla="*/ 14 w 69"/>
                  <a:gd name="T1" fmla="*/ 52 h 70"/>
                  <a:gd name="T2" fmla="*/ 7 w 69"/>
                  <a:gd name="T3" fmla="*/ 44 h 70"/>
                  <a:gd name="T4" fmla="*/ 14 w 69"/>
                  <a:gd name="T5" fmla="*/ 37 h 70"/>
                  <a:gd name="T6" fmla="*/ 22 w 69"/>
                  <a:gd name="T7" fmla="*/ 44 h 70"/>
                  <a:gd name="T8" fmla="*/ 14 w 69"/>
                  <a:gd name="T9" fmla="*/ 52 h 70"/>
                  <a:gd name="T10" fmla="*/ 58 w 69"/>
                  <a:gd name="T11" fmla="*/ 52 h 70"/>
                  <a:gd name="T12" fmla="*/ 51 w 69"/>
                  <a:gd name="T13" fmla="*/ 44 h 70"/>
                  <a:gd name="T14" fmla="*/ 58 w 69"/>
                  <a:gd name="T15" fmla="*/ 37 h 70"/>
                  <a:gd name="T16" fmla="*/ 66 w 69"/>
                  <a:gd name="T17" fmla="*/ 44 h 70"/>
                  <a:gd name="T18" fmla="*/ 58 w 69"/>
                  <a:gd name="T19" fmla="*/ 52 h 70"/>
                  <a:gd name="T20" fmla="*/ 34 w 69"/>
                  <a:gd name="T21" fmla="*/ 0 h 70"/>
                  <a:gd name="T22" fmla="*/ 21 w 69"/>
                  <a:gd name="T23" fmla="*/ 2 h 70"/>
                  <a:gd name="T24" fmla="*/ 14 w 69"/>
                  <a:gd name="T25" fmla="*/ 7 h 70"/>
                  <a:gd name="T26" fmla="*/ 13 w 69"/>
                  <a:gd name="T27" fmla="*/ 7 h 70"/>
                  <a:gd name="T28" fmla="*/ 0 w 69"/>
                  <a:gd name="T29" fmla="*/ 35 h 70"/>
                  <a:gd name="T30" fmla="*/ 34 w 69"/>
                  <a:gd name="T31" fmla="*/ 70 h 70"/>
                  <a:gd name="T32" fmla="*/ 69 w 69"/>
                  <a:gd name="T33" fmla="*/ 35 h 70"/>
                  <a:gd name="T34" fmla="*/ 56 w 69"/>
                  <a:gd name="T35" fmla="*/ 7 h 70"/>
                  <a:gd name="T36" fmla="*/ 52 w 69"/>
                  <a:gd name="T37" fmla="*/ 5 h 70"/>
                  <a:gd name="T38" fmla="*/ 34 w 69"/>
                  <a:gd name="T3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70">
                    <a:moveTo>
                      <a:pt x="14" y="52"/>
                    </a:moveTo>
                    <a:cubicBezTo>
                      <a:pt x="10" y="52"/>
                      <a:pt x="7" y="48"/>
                      <a:pt x="7" y="44"/>
                    </a:cubicBezTo>
                    <a:cubicBezTo>
                      <a:pt x="7" y="40"/>
                      <a:pt x="10" y="37"/>
                      <a:pt x="14" y="37"/>
                    </a:cubicBezTo>
                    <a:cubicBezTo>
                      <a:pt x="18" y="37"/>
                      <a:pt x="22" y="40"/>
                      <a:pt x="22" y="44"/>
                    </a:cubicBezTo>
                    <a:cubicBezTo>
                      <a:pt x="22" y="48"/>
                      <a:pt x="18" y="52"/>
                      <a:pt x="14" y="52"/>
                    </a:cubicBezTo>
                    <a:moveTo>
                      <a:pt x="58" y="52"/>
                    </a:moveTo>
                    <a:cubicBezTo>
                      <a:pt x="54" y="52"/>
                      <a:pt x="51" y="48"/>
                      <a:pt x="51" y="44"/>
                    </a:cubicBezTo>
                    <a:cubicBezTo>
                      <a:pt x="51" y="40"/>
                      <a:pt x="54" y="37"/>
                      <a:pt x="58" y="37"/>
                    </a:cubicBezTo>
                    <a:cubicBezTo>
                      <a:pt x="62" y="37"/>
                      <a:pt x="66" y="40"/>
                      <a:pt x="66" y="44"/>
                    </a:cubicBezTo>
                    <a:cubicBezTo>
                      <a:pt x="66" y="48"/>
                      <a:pt x="62" y="52"/>
                      <a:pt x="58" y="52"/>
                    </a:cubicBezTo>
                    <a:moveTo>
                      <a:pt x="34" y="0"/>
                    </a:moveTo>
                    <a:cubicBezTo>
                      <a:pt x="30" y="0"/>
                      <a:pt x="25" y="1"/>
                      <a:pt x="21" y="2"/>
                    </a:cubicBezTo>
                    <a:cubicBezTo>
                      <a:pt x="20" y="5"/>
                      <a:pt x="18" y="7"/>
                      <a:pt x="14" y="7"/>
                    </a:cubicBezTo>
                    <a:cubicBezTo>
                      <a:pt x="14" y="7"/>
                      <a:pt x="13" y="7"/>
                      <a:pt x="13" y="7"/>
                    </a:cubicBezTo>
                    <a:cubicBezTo>
                      <a:pt x="5" y="14"/>
                      <a:pt x="0" y="24"/>
                      <a:pt x="0" y="35"/>
                    </a:cubicBezTo>
                    <a:cubicBezTo>
                      <a:pt x="0" y="54"/>
                      <a:pt x="15" y="70"/>
                      <a:pt x="34" y="70"/>
                    </a:cubicBezTo>
                    <a:cubicBezTo>
                      <a:pt x="54" y="70"/>
                      <a:pt x="69" y="54"/>
                      <a:pt x="69" y="35"/>
                    </a:cubicBezTo>
                    <a:cubicBezTo>
                      <a:pt x="69" y="23"/>
                      <a:pt x="64" y="14"/>
                      <a:pt x="56" y="7"/>
                    </a:cubicBezTo>
                    <a:cubicBezTo>
                      <a:pt x="55" y="7"/>
                      <a:pt x="53" y="6"/>
                      <a:pt x="52" y="5"/>
                    </a:cubicBezTo>
                    <a:cubicBezTo>
                      <a:pt x="47" y="1"/>
                      <a:pt x="41" y="0"/>
                      <a:pt x="3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00" name="Oval 594">
                <a:extLst>
                  <a:ext uri="{FF2B5EF4-FFF2-40B4-BE49-F238E27FC236}">
                    <a16:creationId xmlns:a16="http://schemas.microsoft.com/office/drawing/2014/main" id="{0CD4B148-DBE3-49DF-BC7A-C1CACCB126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941" y="2117"/>
                <a:ext cx="16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01" name="Oval 595">
                <a:extLst>
                  <a:ext uri="{FF2B5EF4-FFF2-40B4-BE49-F238E27FC236}">
                    <a16:creationId xmlns:a16="http://schemas.microsoft.com/office/drawing/2014/main" id="{082C3036-C483-4617-B266-A6C2A77FE38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97" y="2117"/>
                <a:ext cx="15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02" name="Freeform 596">
                <a:extLst>
                  <a:ext uri="{FF2B5EF4-FFF2-40B4-BE49-F238E27FC236}">
                    <a16:creationId xmlns:a16="http://schemas.microsoft.com/office/drawing/2014/main" id="{5E5B8967-A1BE-45BD-83D0-4A9597675B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42" y="2085"/>
                <a:ext cx="5" cy="2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cubicBezTo>
                      <a:pt x="1" y="1"/>
                      <a:pt x="3" y="2"/>
                      <a:pt x="4" y="2"/>
                    </a:cubicBezTo>
                    <a:cubicBezTo>
                      <a:pt x="3" y="1"/>
                      <a:pt x="2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03" name="Freeform 597">
                <a:extLst>
                  <a:ext uri="{FF2B5EF4-FFF2-40B4-BE49-F238E27FC236}">
                    <a16:creationId xmlns:a16="http://schemas.microsoft.com/office/drawing/2014/main" id="{0FBD580A-464B-45CE-B7A2-F20DDCE14D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3" y="2082"/>
                <a:ext cx="8" cy="5"/>
              </a:xfrm>
              <a:custGeom>
                <a:avLst/>
                <a:gdLst>
                  <a:gd name="T0" fmla="*/ 8 w 8"/>
                  <a:gd name="T1" fmla="*/ 0 h 5"/>
                  <a:gd name="T2" fmla="*/ 0 w 8"/>
                  <a:gd name="T3" fmla="*/ 5 h 5"/>
                  <a:gd name="T4" fmla="*/ 1 w 8"/>
                  <a:gd name="T5" fmla="*/ 5 h 5"/>
                  <a:gd name="T6" fmla="*/ 8 w 8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8" y="0"/>
                    </a:moveTo>
                    <a:cubicBezTo>
                      <a:pt x="5" y="1"/>
                      <a:pt x="2" y="3"/>
                      <a:pt x="0" y="5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5" y="5"/>
                      <a:pt x="7" y="3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04" name="Oval 598">
                <a:extLst>
                  <a:ext uri="{FF2B5EF4-FFF2-40B4-BE49-F238E27FC236}">
                    <a16:creationId xmlns:a16="http://schemas.microsoft.com/office/drawing/2014/main" id="{9773D76A-D5B1-4FA0-A3D8-8266513333A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947" y="2305"/>
                <a:ext cx="20" cy="1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05" name="Oval 599">
                <a:extLst>
                  <a:ext uri="{FF2B5EF4-FFF2-40B4-BE49-F238E27FC236}">
                    <a16:creationId xmlns:a16="http://schemas.microsoft.com/office/drawing/2014/main" id="{D68C55E4-B56F-4FDD-B0FA-47783C39E4D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968" y="2754"/>
                <a:ext cx="26" cy="2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06" name="Oval 600">
                <a:extLst>
                  <a:ext uri="{FF2B5EF4-FFF2-40B4-BE49-F238E27FC236}">
                    <a16:creationId xmlns:a16="http://schemas.microsoft.com/office/drawing/2014/main" id="{FA4616FC-C502-4A8C-A80A-CB560AA2D53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087" y="2579"/>
                <a:ext cx="51" cy="5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07" name="Freeform 601">
                <a:extLst>
                  <a:ext uri="{FF2B5EF4-FFF2-40B4-BE49-F238E27FC236}">
                    <a16:creationId xmlns:a16="http://schemas.microsoft.com/office/drawing/2014/main" id="{445B4924-622F-48E3-B98F-DAFAE3200A9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414" y="2921"/>
                <a:ext cx="69" cy="70"/>
              </a:xfrm>
              <a:custGeom>
                <a:avLst/>
                <a:gdLst>
                  <a:gd name="T0" fmla="*/ 34 w 69"/>
                  <a:gd name="T1" fmla="*/ 65 h 70"/>
                  <a:gd name="T2" fmla="*/ 5 w 69"/>
                  <a:gd name="T3" fmla="*/ 35 h 70"/>
                  <a:gd name="T4" fmla="*/ 34 w 69"/>
                  <a:gd name="T5" fmla="*/ 5 h 70"/>
                  <a:gd name="T6" fmla="*/ 64 w 69"/>
                  <a:gd name="T7" fmla="*/ 35 h 70"/>
                  <a:gd name="T8" fmla="*/ 34 w 69"/>
                  <a:gd name="T9" fmla="*/ 65 h 70"/>
                  <a:gd name="T10" fmla="*/ 34 w 69"/>
                  <a:gd name="T11" fmla="*/ 0 h 70"/>
                  <a:gd name="T12" fmla="*/ 0 w 69"/>
                  <a:gd name="T13" fmla="*/ 35 h 70"/>
                  <a:gd name="T14" fmla="*/ 34 w 69"/>
                  <a:gd name="T15" fmla="*/ 70 h 70"/>
                  <a:gd name="T16" fmla="*/ 69 w 69"/>
                  <a:gd name="T17" fmla="*/ 35 h 70"/>
                  <a:gd name="T18" fmla="*/ 34 w 69"/>
                  <a:gd name="T1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70">
                    <a:moveTo>
                      <a:pt x="34" y="65"/>
                    </a:moveTo>
                    <a:cubicBezTo>
                      <a:pt x="18" y="65"/>
                      <a:pt x="5" y="51"/>
                      <a:pt x="5" y="35"/>
                    </a:cubicBezTo>
                    <a:cubicBezTo>
                      <a:pt x="5" y="18"/>
                      <a:pt x="18" y="5"/>
                      <a:pt x="34" y="5"/>
                    </a:cubicBezTo>
                    <a:cubicBezTo>
                      <a:pt x="51" y="5"/>
                      <a:pt x="64" y="18"/>
                      <a:pt x="64" y="35"/>
                    </a:cubicBezTo>
                    <a:cubicBezTo>
                      <a:pt x="64" y="51"/>
                      <a:pt x="51" y="65"/>
                      <a:pt x="34" y="65"/>
                    </a:cubicBezTo>
                    <a:moveTo>
                      <a:pt x="34" y="0"/>
                    </a:moveTo>
                    <a:cubicBezTo>
                      <a:pt x="15" y="0"/>
                      <a:pt x="0" y="16"/>
                      <a:pt x="0" y="35"/>
                    </a:cubicBezTo>
                    <a:cubicBezTo>
                      <a:pt x="0" y="54"/>
                      <a:pt x="15" y="70"/>
                      <a:pt x="34" y="70"/>
                    </a:cubicBezTo>
                    <a:cubicBezTo>
                      <a:pt x="54" y="70"/>
                      <a:pt x="69" y="54"/>
                      <a:pt x="69" y="35"/>
                    </a:cubicBezTo>
                    <a:cubicBezTo>
                      <a:pt x="69" y="16"/>
                      <a:pt x="54" y="0"/>
                      <a:pt x="3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08" name="Freeform 602">
                <a:extLst>
                  <a:ext uri="{FF2B5EF4-FFF2-40B4-BE49-F238E27FC236}">
                    <a16:creationId xmlns:a16="http://schemas.microsoft.com/office/drawing/2014/main" id="{DE3ED641-9886-4AD3-96B7-0AE0990B93B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346" y="1968"/>
                <a:ext cx="49" cy="49"/>
              </a:xfrm>
              <a:custGeom>
                <a:avLst/>
                <a:gdLst>
                  <a:gd name="T0" fmla="*/ 25 w 49"/>
                  <a:gd name="T1" fmla="*/ 45 h 49"/>
                  <a:gd name="T2" fmla="*/ 4 w 49"/>
                  <a:gd name="T3" fmla="*/ 24 h 49"/>
                  <a:gd name="T4" fmla="*/ 25 w 49"/>
                  <a:gd name="T5" fmla="*/ 3 h 49"/>
                  <a:gd name="T6" fmla="*/ 45 w 49"/>
                  <a:gd name="T7" fmla="*/ 24 h 49"/>
                  <a:gd name="T8" fmla="*/ 25 w 49"/>
                  <a:gd name="T9" fmla="*/ 45 h 49"/>
                  <a:gd name="T10" fmla="*/ 25 w 49"/>
                  <a:gd name="T11" fmla="*/ 0 h 49"/>
                  <a:gd name="T12" fmla="*/ 0 w 49"/>
                  <a:gd name="T13" fmla="*/ 24 h 49"/>
                  <a:gd name="T14" fmla="*/ 25 w 49"/>
                  <a:gd name="T15" fmla="*/ 49 h 49"/>
                  <a:gd name="T16" fmla="*/ 49 w 49"/>
                  <a:gd name="T17" fmla="*/ 24 h 49"/>
                  <a:gd name="T18" fmla="*/ 25 w 49"/>
                  <a:gd name="T1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49">
                    <a:moveTo>
                      <a:pt x="25" y="45"/>
                    </a:moveTo>
                    <a:cubicBezTo>
                      <a:pt x="13" y="45"/>
                      <a:pt x="4" y="36"/>
                      <a:pt x="4" y="24"/>
                    </a:cubicBezTo>
                    <a:cubicBezTo>
                      <a:pt x="4" y="13"/>
                      <a:pt x="13" y="3"/>
                      <a:pt x="25" y="3"/>
                    </a:cubicBezTo>
                    <a:cubicBezTo>
                      <a:pt x="36" y="3"/>
                      <a:pt x="45" y="13"/>
                      <a:pt x="45" y="24"/>
                    </a:cubicBezTo>
                    <a:cubicBezTo>
                      <a:pt x="45" y="36"/>
                      <a:pt x="36" y="45"/>
                      <a:pt x="25" y="45"/>
                    </a:cubicBezTo>
                    <a:moveTo>
                      <a:pt x="25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8"/>
                      <a:pt x="11" y="49"/>
                      <a:pt x="25" y="49"/>
                    </a:cubicBezTo>
                    <a:cubicBezTo>
                      <a:pt x="38" y="49"/>
                      <a:pt x="49" y="38"/>
                      <a:pt x="49" y="24"/>
                    </a:cubicBezTo>
                    <a:cubicBezTo>
                      <a:pt x="49" y="11"/>
                      <a:pt x="38" y="0"/>
                      <a:pt x="2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09" name="Freeform 603">
                <a:extLst>
                  <a:ext uri="{FF2B5EF4-FFF2-40B4-BE49-F238E27FC236}">
                    <a16:creationId xmlns:a16="http://schemas.microsoft.com/office/drawing/2014/main" id="{442797F5-E4D6-4D48-AA24-D0A8E8C034B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961" y="2599"/>
                <a:ext cx="47" cy="48"/>
              </a:xfrm>
              <a:custGeom>
                <a:avLst/>
                <a:gdLst>
                  <a:gd name="T0" fmla="*/ 10 w 47"/>
                  <a:gd name="T1" fmla="*/ 43 h 47"/>
                  <a:gd name="T2" fmla="*/ 10 w 47"/>
                  <a:gd name="T3" fmla="*/ 43 h 47"/>
                  <a:gd name="T4" fmla="*/ 10 w 47"/>
                  <a:gd name="T5" fmla="*/ 43 h 47"/>
                  <a:gd name="T6" fmla="*/ 10 w 47"/>
                  <a:gd name="T7" fmla="*/ 43 h 47"/>
                  <a:gd name="T8" fmla="*/ 6 w 47"/>
                  <a:gd name="T9" fmla="*/ 15 h 47"/>
                  <a:gd name="T10" fmla="*/ 2 w 47"/>
                  <a:gd name="T11" fmla="*/ 15 h 47"/>
                  <a:gd name="T12" fmla="*/ 0 w 47"/>
                  <a:gd name="T13" fmla="*/ 24 h 47"/>
                  <a:gd name="T14" fmla="*/ 7 w 47"/>
                  <a:gd name="T15" fmla="*/ 40 h 47"/>
                  <a:gd name="T16" fmla="*/ 12 w 47"/>
                  <a:gd name="T17" fmla="*/ 40 h 47"/>
                  <a:gd name="T18" fmla="*/ 3 w 47"/>
                  <a:gd name="T19" fmla="*/ 24 h 47"/>
                  <a:gd name="T20" fmla="*/ 6 w 47"/>
                  <a:gd name="T21" fmla="*/ 15 h 47"/>
                  <a:gd name="T22" fmla="*/ 10 w 47"/>
                  <a:gd name="T23" fmla="*/ 5 h 47"/>
                  <a:gd name="T24" fmla="*/ 3 w 47"/>
                  <a:gd name="T25" fmla="*/ 12 h 47"/>
                  <a:gd name="T26" fmla="*/ 7 w 47"/>
                  <a:gd name="T27" fmla="*/ 12 h 47"/>
                  <a:gd name="T28" fmla="*/ 10 w 47"/>
                  <a:gd name="T29" fmla="*/ 9 h 47"/>
                  <a:gd name="T30" fmla="*/ 10 w 47"/>
                  <a:gd name="T31" fmla="*/ 5 h 47"/>
                  <a:gd name="T32" fmla="*/ 23 w 47"/>
                  <a:gd name="T33" fmla="*/ 0 h 47"/>
                  <a:gd name="T34" fmla="*/ 12 w 47"/>
                  <a:gd name="T35" fmla="*/ 3 h 47"/>
                  <a:gd name="T36" fmla="*/ 12 w 47"/>
                  <a:gd name="T37" fmla="*/ 7 h 47"/>
                  <a:gd name="T38" fmla="*/ 23 w 47"/>
                  <a:gd name="T39" fmla="*/ 4 h 47"/>
                  <a:gd name="T40" fmla="*/ 44 w 47"/>
                  <a:gd name="T41" fmla="*/ 24 h 47"/>
                  <a:gd name="T42" fmla="*/ 23 w 47"/>
                  <a:gd name="T43" fmla="*/ 44 h 47"/>
                  <a:gd name="T44" fmla="*/ 12 w 47"/>
                  <a:gd name="T45" fmla="*/ 41 h 47"/>
                  <a:gd name="T46" fmla="*/ 12 w 47"/>
                  <a:gd name="T47" fmla="*/ 45 h 47"/>
                  <a:gd name="T48" fmla="*/ 23 w 47"/>
                  <a:gd name="T49" fmla="*/ 47 h 47"/>
                  <a:gd name="T50" fmla="*/ 47 w 47"/>
                  <a:gd name="T51" fmla="*/ 24 h 47"/>
                  <a:gd name="T52" fmla="*/ 23 w 47"/>
                  <a:gd name="T5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7" h="47">
                    <a:moveTo>
                      <a:pt x="10" y="43"/>
                    </a:moveTo>
                    <a:cubicBezTo>
                      <a:pt x="10" y="43"/>
                      <a:pt x="10" y="43"/>
                      <a:pt x="10" y="43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0" y="43"/>
                      <a:pt x="10" y="43"/>
                      <a:pt x="10" y="43"/>
                    </a:cubicBezTo>
                    <a:moveTo>
                      <a:pt x="6" y="15"/>
                    </a:moveTo>
                    <a:cubicBezTo>
                      <a:pt x="2" y="15"/>
                      <a:pt x="2" y="15"/>
                      <a:pt x="2" y="15"/>
                    </a:cubicBezTo>
                    <a:cubicBezTo>
                      <a:pt x="1" y="18"/>
                      <a:pt x="0" y="21"/>
                      <a:pt x="0" y="24"/>
                    </a:cubicBezTo>
                    <a:cubicBezTo>
                      <a:pt x="0" y="30"/>
                      <a:pt x="2" y="36"/>
                      <a:pt x="7" y="40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7" y="37"/>
                      <a:pt x="3" y="31"/>
                      <a:pt x="3" y="24"/>
                    </a:cubicBezTo>
                    <a:cubicBezTo>
                      <a:pt x="3" y="21"/>
                      <a:pt x="4" y="18"/>
                      <a:pt x="6" y="15"/>
                    </a:cubicBezTo>
                    <a:moveTo>
                      <a:pt x="10" y="5"/>
                    </a:moveTo>
                    <a:cubicBezTo>
                      <a:pt x="7" y="7"/>
                      <a:pt x="5" y="9"/>
                      <a:pt x="3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8" y="11"/>
                      <a:pt x="9" y="10"/>
                      <a:pt x="10" y="9"/>
                    </a:cubicBezTo>
                    <a:cubicBezTo>
                      <a:pt x="10" y="5"/>
                      <a:pt x="10" y="5"/>
                      <a:pt x="10" y="5"/>
                    </a:cubicBezTo>
                    <a:moveTo>
                      <a:pt x="23" y="0"/>
                    </a:moveTo>
                    <a:cubicBezTo>
                      <a:pt x="20" y="0"/>
                      <a:pt x="16" y="1"/>
                      <a:pt x="12" y="3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6" y="5"/>
                      <a:pt x="19" y="4"/>
                      <a:pt x="23" y="4"/>
                    </a:cubicBezTo>
                    <a:cubicBezTo>
                      <a:pt x="35" y="4"/>
                      <a:pt x="44" y="13"/>
                      <a:pt x="44" y="24"/>
                    </a:cubicBezTo>
                    <a:cubicBezTo>
                      <a:pt x="44" y="35"/>
                      <a:pt x="35" y="44"/>
                      <a:pt x="23" y="44"/>
                    </a:cubicBezTo>
                    <a:cubicBezTo>
                      <a:pt x="19" y="44"/>
                      <a:pt x="16" y="43"/>
                      <a:pt x="12" y="41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6" y="46"/>
                      <a:pt x="20" y="47"/>
                      <a:pt x="23" y="47"/>
                    </a:cubicBezTo>
                    <a:cubicBezTo>
                      <a:pt x="36" y="47"/>
                      <a:pt x="47" y="37"/>
                      <a:pt x="47" y="24"/>
                    </a:cubicBezTo>
                    <a:cubicBezTo>
                      <a:pt x="47" y="11"/>
                      <a:pt x="36" y="0"/>
                      <a:pt x="2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10" name="Freeform 604">
                <a:extLst>
                  <a:ext uri="{FF2B5EF4-FFF2-40B4-BE49-F238E27FC236}">
                    <a16:creationId xmlns:a16="http://schemas.microsoft.com/office/drawing/2014/main" id="{04ED9143-BC1A-4A78-BD18-400D3BE266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68" y="2640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0 w 5"/>
                  <a:gd name="T3" fmla="*/ 0 h 5"/>
                  <a:gd name="T4" fmla="*/ 3 w 5"/>
                  <a:gd name="T5" fmla="*/ 3 h 5"/>
                  <a:gd name="T6" fmla="*/ 3 w 5"/>
                  <a:gd name="T7" fmla="*/ 3 h 5"/>
                  <a:gd name="T8" fmla="*/ 3 w 5"/>
                  <a:gd name="T9" fmla="*/ 3 h 5"/>
                  <a:gd name="T10" fmla="*/ 5 w 5"/>
                  <a:gd name="T11" fmla="*/ 5 h 5"/>
                  <a:gd name="T12" fmla="*/ 5 w 5"/>
                  <a:gd name="T13" fmla="*/ 1 h 5"/>
                  <a:gd name="T14" fmla="*/ 5 w 5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2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5" y="4"/>
                      <a:pt x="5" y="5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0"/>
                      <a:pt x="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11" name="Freeform 605">
                <a:extLst>
                  <a:ext uri="{FF2B5EF4-FFF2-40B4-BE49-F238E27FC236}">
                    <a16:creationId xmlns:a16="http://schemas.microsoft.com/office/drawing/2014/main" id="{64A2E00F-106C-4096-B933-9DA1E15CB93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963" y="2602"/>
                <a:ext cx="10" cy="13"/>
              </a:xfrm>
              <a:custGeom>
                <a:avLst/>
                <a:gdLst>
                  <a:gd name="T0" fmla="*/ 5 w 10"/>
                  <a:gd name="T1" fmla="*/ 9 h 12"/>
                  <a:gd name="T2" fmla="*/ 1 w 10"/>
                  <a:gd name="T3" fmla="*/ 9 h 12"/>
                  <a:gd name="T4" fmla="*/ 0 w 10"/>
                  <a:gd name="T5" fmla="*/ 12 h 12"/>
                  <a:gd name="T6" fmla="*/ 4 w 10"/>
                  <a:gd name="T7" fmla="*/ 12 h 12"/>
                  <a:gd name="T8" fmla="*/ 5 w 10"/>
                  <a:gd name="T9" fmla="*/ 9 h 12"/>
                  <a:gd name="T10" fmla="*/ 10 w 10"/>
                  <a:gd name="T11" fmla="*/ 0 h 12"/>
                  <a:gd name="T12" fmla="*/ 8 w 10"/>
                  <a:gd name="T13" fmla="*/ 2 h 12"/>
                  <a:gd name="T14" fmla="*/ 8 w 10"/>
                  <a:gd name="T15" fmla="*/ 6 h 12"/>
                  <a:gd name="T16" fmla="*/ 10 w 10"/>
                  <a:gd name="T17" fmla="*/ 4 h 12"/>
                  <a:gd name="T18" fmla="*/ 10 w 10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2">
                    <a:moveTo>
                      <a:pt x="5" y="9"/>
                    </a:moveTo>
                    <a:cubicBezTo>
                      <a:pt x="1" y="9"/>
                      <a:pt x="1" y="9"/>
                      <a:pt x="1" y="9"/>
                    </a:cubicBezTo>
                    <a:cubicBezTo>
                      <a:pt x="1" y="10"/>
                      <a:pt x="0" y="11"/>
                      <a:pt x="0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5" y="10"/>
                      <a:pt x="5" y="9"/>
                    </a:cubicBezTo>
                    <a:moveTo>
                      <a:pt x="10" y="0"/>
                    </a:moveTo>
                    <a:cubicBezTo>
                      <a:pt x="10" y="1"/>
                      <a:pt x="9" y="1"/>
                      <a:pt x="8" y="2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5"/>
                      <a:pt x="10" y="5"/>
                      <a:pt x="10" y="4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12" name="Freeform 606">
                <a:extLst>
                  <a:ext uri="{FF2B5EF4-FFF2-40B4-BE49-F238E27FC236}">
                    <a16:creationId xmlns:a16="http://schemas.microsoft.com/office/drawing/2014/main" id="{5C533D00-EB16-4751-9ADE-0BCE00B23DE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733" y="1974"/>
                <a:ext cx="20" cy="19"/>
              </a:xfrm>
              <a:custGeom>
                <a:avLst/>
                <a:gdLst>
                  <a:gd name="T0" fmla="*/ 19 w 20"/>
                  <a:gd name="T1" fmla="*/ 4 h 19"/>
                  <a:gd name="T2" fmla="*/ 19 w 20"/>
                  <a:gd name="T3" fmla="*/ 7 h 19"/>
                  <a:gd name="T4" fmla="*/ 19 w 20"/>
                  <a:gd name="T5" fmla="*/ 9 h 19"/>
                  <a:gd name="T6" fmla="*/ 19 w 20"/>
                  <a:gd name="T7" fmla="*/ 11 h 19"/>
                  <a:gd name="T8" fmla="*/ 19 w 20"/>
                  <a:gd name="T9" fmla="*/ 15 h 19"/>
                  <a:gd name="T10" fmla="*/ 20 w 20"/>
                  <a:gd name="T11" fmla="*/ 9 h 19"/>
                  <a:gd name="T12" fmla="*/ 19 w 20"/>
                  <a:gd name="T13" fmla="*/ 4 h 19"/>
                  <a:gd name="T14" fmla="*/ 10 w 20"/>
                  <a:gd name="T15" fmla="*/ 0 h 19"/>
                  <a:gd name="T16" fmla="*/ 0 w 20"/>
                  <a:gd name="T17" fmla="*/ 9 h 19"/>
                  <a:gd name="T18" fmla="*/ 10 w 20"/>
                  <a:gd name="T19" fmla="*/ 19 h 19"/>
                  <a:gd name="T20" fmla="*/ 13 w 20"/>
                  <a:gd name="T21" fmla="*/ 19 h 19"/>
                  <a:gd name="T22" fmla="*/ 13 w 20"/>
                  <a:gd name="T23" fmla="*/ 18 h 19"/>
                  <a:gd name="T24" fmla="*/ 10 w 20"/>
                  <a:gd name="T25" fmla="*/ 18 h 19"/>
                  <a:gd name="T26" fmla="*/ 2 w 20"/>
                  <a:gd name="T27" fmla="*/ 9 h 19"/>
                  <a:gd name="T28" fmla="*/ 10 w 20"/>
                  <a:gd name="T29" fmla="*/ 1 h 19"/>
                  <a:gd name="T30" fmla="*/ 13 w 20"/>
                  <a:gd name="T31" fmla="*/ 1 h 19"/>
                  <a:gd name="T32" fmla="*/ 13 w 20"/>
                  <a:gd name="T33" fmla="*/ 0 h 19"/>
                  <a:gd name="T34" fmla="*/ 10 w 20"/>
                  <a:gd name="T3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19">
                    <a:moveTo>
                      <a:pt x="19" y="4"/>
                    </a:moveTo>
                    <a:cubicBezTo>
                      <a:pt x="19" y="7"/>
                      <a:pt x="19" y="7"/>
                      <a:pt x="19" y="7"/>
                    </a:cubicBezTo>
                    <a:cubicBezTo>
                      <a:pt x="19" y="8"/>
                      <a:pt x="19" y="9"/>
                      <a:pt x="19" y="9"/>
                    </a:cubicBezTo>
                    <a:cubicBezTo>
                      <a:pt x="19" y="10"/>
                      <a:pt x="19" y="11"/>
                      <a:pt x="19" y="11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20" y="13"/>
                      <a:pt x="20" y="12"/>
                      <a:pt x="20" y="9"/>
                    </a:cubicBezTo>
                    <a:cubicBezTo>
                      <a:pt x="20" y="7"/>
                      <a:pt x="20" y="5"/>
                      <a:pt x="19" y="4"/>
                    </a:cubicBezTo>
                    <a:moveTo>
                      <a:pt x="10" y="0"/>
                    </a:moveTo>
                    <a:cubicBezTo>
                      <a:pt x="5" y="0"/>
                      <a:pt x="0" y="4"/>
                      <a:pt x="0" y="9"/>
                    </a:cubicBezTo>
                    <a:cubicBezTo>
                      <a:pt x="0" y="15"/>
                      <a:pt x="5" y="19"/>
                      <a:pt x="10" y="19"/>
                    </a:cubicBezTo>
                    <a:cubicBezTo>
                      <a:pt x="11" y="19"/>
                      <a:pt x="12" y="19"/>
                      <a:pt x="13" y="19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2" y="18"/>
                      <a:pt x="11" y="18"/>
                      <a:pt x="10" y="18"/>
                    </a:cubicBezTo>
                    <a:cubicBezTo>
                      <a:pt x="6" y="18"/>
                      <a:pt x="2" y="14"/>
                      <a:pt x="2" y="9"/>
                    </a:cubicBezTo>
                    <a:cubicBezTo>
                      <a:pt x="2" y="5"/>
                      <a:pt x="6" y="1"/>
                      <a:pt x="10" y="1"/>
                    </a:cubicBezTo>
                    <a:cubicBezTo>
                      <a:pt x="11" y="1"/>
                      <a:pt x="12" y="1"/>
                      <a:pt x="13" y="1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0"/>
                      <a:pt x="11" y="0"/>
                      <a:pt x="1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13" name="Freeform 607">
                <a:extLst>
                  <a:ext uri="{FF2B5EF4-FFF2-40B4-BE49-F238E27FC236}">
                    <a16:creationId xmlns:a16="http://schemas.microsoft.com/office/drawing/2014/main" id="{A61A31AD-61D1-442A-B718-25C07389721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746" y="1974"/>
                <a:ext cx="6" cy="19"/>
              </a:xfrm>
              <a:custGeom>
                <a:avLst/>
                <a:gdLst>
                  <a:gd name="T0" fmla="*/ 6 w 6"/>
                  <a:gd name="T1" fmla="*/ 11 h 19"/>
                  <a:gd name="T2" fmla="*/ 0 w 6"/>
                  <a:gd name="T3" fmla="*/ 18 h 19"/>
                  <a:gd name="T4" fmla="*/ 0 w 6"/>
                  <a:gd name="T5" fmla="*/ 19 h 19"/>
                  <a:gd name="T6" fmla="*/ 6 w 6"/>
                  <a:gd name="T7" fmla="*/ 15 h 19"/>
                  <a:gd name="T8" fmla="*/ 6 w 6"/>
                  <a:gd name="T9" fmla="*/ 11 h 19"/>
                  <a:gd name="T10" fmla="*/ 0 w 6"/>
                  <a:gd name="T11" fmla="*/ 0 h 19"/>
                  <a:gd name="T12" fmla="*/ 0 w 6"/>
                  <a:gd name="T13" fmla="*/ 1 h 19"/>
                  <a:gd name="T14" fmla="*/ 6 w 6"/>
                  <a:gd name="T15" fmla="*/ 7 h 19"/>
                  <a:gd name="T16" fmla="*/ 6 w 6"/>
                  <a:gd name="T17" fmla="*/ 4 h 19"/>
                  <a:gd name="T18" fmla="*/ 0 w 6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9">
                    <a:moveTo>
                      <a:pt x="6" y="11"/>
                    </a:moveTo>
                    <a:cubicBezTo>
                      <a:pt x="5" y="14"/>
                      <a:pt x="3" y="17"/>
                      <a:pt x="0" y="18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19"/>
                      <a:pt x="4" y="17"/>
                      <a:pt x="6" y="15"/>
                    </a:cubicBezTo>
                    <a:cubicBezTo>
                      <a:pt x="6" y="11"/>
                      <a:pt x="6" y="11"/>
                      <a:pt x="6" y="11"/>
                    </a:cubicBezTo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" y="2"/>
                      <a:pt x="5" y="4"/>
                      <a:pt x="6" y="7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4" y="2"/>
                      <a:pt x="2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14" name="Freeform 608">
                <a:extLst>
                  <a:ext uri="{FF2B5EF4-FFF2-40B4-BE49-F238E27FC236}">
                    <a16:creationId xmlns:a16="http://schemas.microsoft.com/office/drawing/2014/main" id="{BB520274-026B-4BCF-A70B-0BAF8FE120D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22" y="1769"/>
                <a:ext cx="50" cy="51"/>
              </a:xfrm>
              <a:custGeom>
                <a:avLst/>
                <a:gdLst>
                  <a:gd name="T0" fmla="*/ 4 w 50"/>
                  <a:gd name="T1" fmla="*/ 12 h 51"/>
                  <a:gd name="T2" fmla="*/ 0 w 50"/>
                  <a:gd name="T3" fmla="*/ 26 h 51"/>
                  <a:gd name="T4" fmla="*/ 0 w 50"/>
                  <a:gd name="T5" fmla="*/ 32 h 51"/>
                  <a:gd name="T6" fmla="*/ 4 w 50"/>
                  <a:gd name="T7" fmla="*/ 32 h 51"/>
                  <a:gd name="T8" fmla="*/ 4 w 50"/>
                  <a:gd name="T9" fmla="*/ 30 h 51"/>
                  <a:gd name="T10" fmla="*/ 3 w 50"/>
                  <a:gd name="T11" fmla="*/ 26 h 51"/>
                  <a:gd name="T12" fmla="*/ 4 w 50"/>
                  <a:gd name="T13" fmla="*/ 22 h 51"/>
                  <a:gd name="T14" fmla="*/ 4 w 50"/>
                  <a:gd name="T15" fmla="*/ 12 h 51"/>
                  <a:gd name="T16" fmla="*/ 25 w 50"/>
                  <a:gd name="T17" fmla="*/ 0 h 51"/>
                  <a:gd name="T18" fmla="*/ 8 w 50"/>
                  <a:gd name="T19" fmla="*/ 7 h 51"/>
                  <a:gd name="T20" fmla="*/ 8 w 50"/>
                  <a:gd name="T21" fmla="*/ 13 h 51"/>
                  <a:gd name="T22" fmla="*/ 25 w 50"/>
                  <a:gd name="T23" fmla="*/ 4 h 51"/>
                  <a:gd name="T24" fmla="*/ 47 w 50"/>
                  <a:gd name="T25" fmla="*/ 26 h 51"/>
                  <a:gd name="T26" fmla="*/ 25 w 50"/>
                  <a:gd name="T27" fmla="*/ 47 h 51"/>
                  <a:gd name="T28" fmla="*/ 6 w 50"/>
                  <a:gd name="T29" fmla="*/ 35 h 51"/>
                  <a:gd name="T30" fmla="*/ 2 w 50"/>
                  <a:gd name="T31" fmla="*/ 35 h 51"/>
                  <a:gd name="T32" fmla="*/ 25 w 50"/>
                  <a:gd name="T33" fmla="*/ 51 h 51"/>
                  <a:gd name="T34" fmla="*/ 50 w 50"/>
                  <a:gd name="T35" fmla="*/ 26 h 51"/>
                  <a:gd name="T36" fmla="*/ 25 w 50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51">
                    <a:moveTo>
                      <a:pt x="4" y="12"/>
                    </a:moveTo>
                    <a:cubicBezTo>
                      <a:pt x="1" y="16"/>
                      <a:pt x="0" y="21"/>
                      <a:pt x="0" y="26"/>
                    </a:cubicBezTo>
                    <a:cubicBezTo>
                      <a:pt x="0" y="28"/>
                      <a:pt x="0" y="30"/>
                      <a:pt x="0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4" y="28"/>
                      <a:pt x="3" y="27"/>
                      <a:pt x="3" y="26"/>
                    </a:cubicBezTo>
                    <a:cubicBezTo>
                      <a:pt x="3" y="24"/>
                      <a:pt x="4" y="23"/>
                      <a:pt x="4" y="22"/>
                    </a:cubicBezTo>
                    <a:cubicBezTo>
                      <a:pt x="4" y="12"/>
                      <a:pt x="4" y="12"/>
                      <a:pt x="4" y="12"/>
                    </a:cubicBezTo>
                    <a:moveTo>
                      <a:pt x="25" y="0"/>
                    </a:moveTo>
                    <a:cubicBezTo>
                      <a:pt x="18" y="0"/>
                      <a:pt x="12" y="3"/>
                      <a:pt x="8" y="7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2" y="8"/>
                      <a:pt x="18" y="4"/>
                      <a:pt x="25" y="4"/>
                    </a:cubicBezTo>
                    <a:cubicBezTo>
                      <a:pt x="37" y="4"/>
                      <a:pt x="47" y="14"/>
                      <a:pt x="47" y="26"/>
                    </a:cubicBezTo>
                    <a:cubicBezTo>
                      <a:pt x="47" y="38"/>
                      <a:pt x="37" y="47"/>
                      <a:pt x="25" y="47"/>
                    </a:cubicBezTo>
                    <a:cubicBezTo>
                      <a:pt x="17" y="47"/>
                      <a:pt x="9" y="43"/>
                      <a:pt x="6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5" y="45"/>
                      <a:pt x="15" y="51"/>
                      <a:pt x="25" y="51"/>
                    </a:cubicBezTo>
                    <a:cubicBezTo>
                      <a:pt x="39" y="51"/>
                      <a:pt x="50" y="40"/>
                      <a:pt x="50" y="26"/>
                    </a:cubicBezTo>
                    <a:cubicBezTo>
                      <a:pt x="50" y="12"/>
                      <a:pt x="39" y="0"/>
                      <a:pt x="2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15" name="Freeform 609">
                <a:extLst>
                  <a:ext uri="{FF2B5EF4-FFF2-40B4-BE49-F238E27FC236}">
                    <a16:creationId xmlns:a16="http://schemas.microsoft.com/office/drawing/2014/main" id="{D7510D6E-57AD-46E8-8205-34BAC42089D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22" y="1776"/>
                <a:ext cx="8" cy="28"/>
              </a:xfrm>
              <a:custGeom>
                <a:avLst/>
                <a:gdLst>
                  <a:gd name="T0" fmla="*/ 4 w 8"/>
                  <a:gd name="T1" fmla="*/ 23 h 28"/>
                  <a:gd name="T2" fmla="*/ 4 w 8"/>
                  <a:gd name="T3" fmla="*/ 25 h 28"/>
                  <a:gd name="T4" fmla="*/ 0 w 8"/>
                  <a:gd name="T5" fmla="*/ 25 h 28"/>
                  <a:gd name="T6" fmla="*/ 2 w 8"/>
                  <a:gd name="T7" fmla="*/ 28 h 28"/>
                  <a:gd name="T8" fmla="*/ 6 w 8"/>
                  <a:gd name="T9" fmla="*/ 28 h 28"/>
                  <a:gd name="T10" fmla="*/ 4 w 8"/>
                  <a:gd name="T11" fmla="*/ 23 h 28"/>
                  <a:gd name="T12" fmla="*/ 8 w 8"/>
                  <a:gd name="T13" fmla="*/ 0 h 28"/>
                  <a:gd name="T14" fmla="*/ 4 w 8"/>
                  <a:gd name="T15" fmla="*/ 5 h 28"/>
                  <a:gd name="T16" fmla="*/ 4 w 8"/>
                  <a:gd name="T17" fmla="*/ 15 h 28"/>
                  <a:gd name="T18" fmla="*/ 8 w 8"/>
                  <a:gd name="T19" fmla="*/ 6 h 28"/>
                  <a:gd name="T20" fmla="*/ 8 w 8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28">
                    <a:moveTo>
                      <a:pt x="4" y="23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" y="26"/>
                      <a:pt x="1" y="27"/>
                      <a:pt x="2" y="28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5" y="27"/>
                      <a:pt x="4" y="25"/>
                      <a:pt x="4" y="23"/>
                    </a:cubicBezTo>
                    <a:moveTo>
                      <a:pt x="8" y="0"/>
                    </a:moveTo>
                    <a:cubicBezTo>
                      <a:pt x="6" y="2"/>
                      <a:pt x="5" y="3"/>
                      <a:pt x="4" y="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2"/>
                      <a:pt x="6" y="9"/>
                      <a:pt x="8" y="6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16" name="Freeform 610">
                <a:extLst>
                  <a:ext uri="{FF2B5EF4-FFF2-40B4-BE49-F238E27FC236}">
                    <a16:creationId xmlns:a16="http://schemas.microsoft.com/office/drawing/2014/main" id="{D42E606F-3488-42E0-BAC8-09ECFFB5E6E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18" y="1732"/>
                <a:ext cx="23" cy="23"/>
              </a:xfrm>
              <a:custGeom>
                <a:avLst/>
                <a:gdLst>
                  <a:gd name="T0" fmla="*/ 12 w 23"/>
                  <a:gd name="T1" fmla="*/ 20 h 23"/>
                  <a:gd name="T2" fmla="*/ 4 w 23"/>
                  <a:gd name="T3" fmla="*/ 12 h 23"/>
                  <a:gd name="T4" fmla="*/ 12 w 23"/>
                  <a:gd name="T5" fmla="*/ 4 h 23"/>
                  <a:gd name="T6" fmla="*/ 20 w 23"/>
                  <a:gd name="T7" fmla="*/ 12 h 23"/>
                  <a:gd name="T8" fmla="*/ 12 w 23"/>
                  <a:gd name="T9" fmla="*/ 20 h 23"/>
                  <a:gd name="T10" fmla="*/ 12 w 23"/>
                  <a:gd name="T11" fmla="*/ 0 h 23"/>
                  <a:gd name="T12" fmla="*/ 0 w 23"/>
                  <a:gd name="T13" fmla="*/ 12 h 23"/>
                  <a:gd name="T14" fmla="*/ 12 w 23"/>
                  <a:gd name="T15" fmla="*/ 23 h 23"/>
                  <a:gd name="T16" fmla="*/ 23 w 23"/>
                  <a:gd name="T17" fmla="*/ 12 h 23"/>
                  <a:gd name="T18" fmla="*/ 12 w 23"/>
                  <a:gd name="T1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3">
                    <a:moveTo>
                      <a:pt x="12" y="20"/>
                    </a:moveTo>
                    <a:cubicBezTo>
                      <a:pt x="7" y="20"/>
                      <a:pt x="4" y="16"/>
                      <a:pt x="4" y="12"/>
                    </a:cubicBezTo>
                    <a:cubicBezTo>
                      <a:pt x="4" y="7"/>
                      <a:pt x="7" y="4"/>
                      <a:pt x="12" y="4"/>
                    </a:cubicBezTo>
                    <a:cubicBezTo>
                      <a:pt x="16" y="4"/>
                      <a:pt x="20" y="7"/>
                      <a:pt x="20" y="12"/>
                    </a:cubicBezTo>
                    <a:cubicBezTo>
                      <a:pt x="20" y="16"/>
                      <a:pt x="16" y="20"/>
                      <a:pt x="12" y="20"/>
                    </a:cubicBezTo>
                    <a:moveTo>
                      <a:pt x="12" y="0"/>
                    </a:moveTo>
                    <a:cubicBezTo>
                      <a:pt x="5" y="0"/>
                      <a:pt x="0" y="6"/>
                      <a:pt x="0" y="12"/>
                    </a:cubicBezTo>
                    <a:cubicBezTo>
                      <a:pt x="0" y="18"/>
                      <a:pt x="5" y="23"/>
                      <a:pt x="12" y="23"/>
                    </a:cubicBezTo>
                    <a:cubicBezTo>
                      <a:pt x="18" y="23"/>
                      <a:pt x="23" y="18"/>
                      <a:pt x="23" y="12"/>
                    </a:cubicBezTo>
                    <a:cubicBezTo>
                      <a:pt x="23" y="6"/>
                      <a:pt x="18" y="0"/>
                      <a:pt x="1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17" name="Freeform 611">
                <a:extLst>
                  <a:ext uri="{FF2B5EF4-FFF2-40B4-BE49-F238E27FC236}">
                    <a16:creationId xmlns:a16="http://schemas.microsoft.com/office/drawing/2014/main" id="{41A08F5A-EE6A-4061-9984-B1484268549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05" y="2598"/>
                <a:ext cx="20" cy="21"/>
              </a:xfrm>
              <a:custGeom>
                <a:avLst/>
                <a:gdLst>
                  <a:gd name="T0" fmla="*/ 10 w 20"/>
                  <a:gd name="T1" fmla="*/ 17 h 20"/>
                  <a:gd name="T2" fmla="*/ 3 w 20"/>
                  <a:gd name="T3" fmla="*/ 10 h 20"/>
                  <a:gd name="T4" fmla="*/ 10 w 20"/>
                  <a:gd name="T5" fmla="*/ 3 h 20"/>
                  <a:gd name="T6" fmla="*/ 17 w 20"/>
                  <a:gd name="T7" fmla="*/ 10 h 20"/>
                  <a:gd name="T8" fmla="*/ 10 w 20"/>
                  <a:gd name="T9" fmla="*/ 17 h 20"/>
                  <a:gd name="T10" fmla="*/ 10 w 20"/>
                  <a:gd name="T11" fmla="*/ 0 h 20"/>
                  <a:gd name="T12" fmla="*/ 0 w 20"/>
                  <a:gd name="T13" fmla="*/ 10 h 20"/>
                  <a:gd name="T14" fmla="*/ 10 w 20"/>
                  <a:gd name="T15" fmla="*/ 20 h 20"/>
                  <a:gd name="T16" fmla="*/ 20 w 20"/>
                  <a:gd name="T17" fmla="*/ 10 h 20"/>
                  <a:gd name="T18" fmla="*/ 10 w 20"/>
                  <a:gd name="T1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20">
                    <a:moveTo>
                      <a:pt x="10" y="17"/>
                    </a:moveTo>
                    <a:cubicBezTo>
                      <a:pt x="6" y="17"/>
                      <a:pt x="3" y="14"/>
                      <a:pt x="3" y="10"/>
                    </a:cubicBezTo>
                    <a:cubicBezTo>
                      <a:pt x="3" y="6"/>
                      <a:pt x="6" y="3"/>
                      <a:pt x="10" y="3"/>
                    </a:cubicBezTo>
                    <a:cubicBezTo>
                      <a:pt x="14" y="3"/>
                      <a:pt x="17" y="6"/>
                      <a:pt x="17" y="10"/>
                    </a:cubicBezTo>
                    <a:cubicBezTo>
                      <a:pt x="17" y="14"/>
                      <a:pt x="14" y="17"/>
                      <a:pt x="10" y="17"/>
                    </a:cubicBezTo>
                    <a:moveTo>
                      <a:pt x="10" y="0"/>
                    </a:moveTo>
                    <a:cubicBezTo>
                      <a:pt x="4" y="0"/>
                      <a:pt x="0" y="4"/>
                      <a:pt x="0" y="10"/>
                    </a:cubicBezTo>
                    <a:cubicBezTo>
                      <a:pt x="0" y="15"/>
                      <a:pt x="4" y="20"/>
                      <a:pt x="10" y="20"/>
                    </a:cubicBezTo>
                    <a:cubicBezTo>
                      <a:pt x="16" y="20"/>
                      <a:pt x="20" y="15"/>
                      <a:pt x="20" y="10"/>
                    </a:cubicBezTo>
                    <a:cubicBezTo>
                      <a:pt x="20" y="4"/>
                      <a:pt x="16" y="0"/>
                      <a:pt x="1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18" name="Freeform 612">
                <a:extLst>
                  <a:ext uri="{FF2B5EF4-FFF2-40B4-BE49-F238E27FC236}">
                    <a16:creationId xmlns:a16="http://schemas.microsoft.com/office/drawing/2014/main" id="{FA6894C1-A3F0-4902-A345-6B823997F23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230" y="1960"/>
                <a:ext cx="60" cy="59"/>
              </a:xfrm>
              <a:custGeom>
                <a:avLst/>
                <a:gdLst>
                  <a:gd name="T0" fmla="*/ 55 w 59"/>
                  <a:gd name="T1" fmla="*/ 15 h 59"/>
                  <a:gd name="T2" fmla="*/ 55 w 59"/>
                  <a:gd name="T3" fmla="*/ 44 h 59"/>
                  <a:gd name="T4" fmla="*/ 59 w 59"/>
                  <a:gd name="T5" fmla="*/ 29 h 59"/>
                  <a:gd name="T6" fmla="*/ 55 w 59"/>
                  <a:gd name="T7" fmla="*/ 15 h 59"/>
                  <a:gd name="T8" fmla="*/ 29 w 59"/>
                  <a:gd name="T9" fmla="*/ 0 h 59"/>
                  <a:gd name="T10" fmla="*/ 0 w 59"/>
                  <a:gd name="T11" fmla="*/ 29 h 59"/>
                  <a:gd name="T12" fmla="*/ 29 w 59"/>
                  <a:gd name="T13" fmla="*/ 59 h 59"/>
                  <a:gd name="T14" fmla="*/ 49 w 59"/>
                  <a:gd name="T15" fmla="*/ 51 h 59"/>
                  <a:gd name="T16" fmla="*/ 49 w 59"/>
                  <a:gd name="T17" fmla="*/ 36 h 59"/>
                  <a:gd name="T18" fmla="*/ 29 w 59"/>
                  <a:gd name="T19" fmla="*/ 50 h 59"/>
                  <a:gd name="T20" fmla="*/ 8 w 59"/>
                  <a:gd name="T21" fmla="*/ 29 h 59"/>
                  <a:gd name="T22" fmla="*/ 29 w 59"/>
                  <a:gd name="T23" fmla="*/ 9 h 59"/>
                  <a:gd name="T24" fmla="*/ 49 w 59"/>
                  <a:gd name="T25" fmla="*/ 23 h 59"/>
                  <a:gd name="T26" fmla="*/ 49 w 59"/>
                  <a:gd name="T27" fmla="*/ 8 h 59"/>
                  <a:gd name="T28" fmla="*/ 29 w 59"/>
                  <a:gd name="T2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59">
                    <a:moveTo>
                      <a:pt x="55" y="15"/>
                    </a:moveTo>
                    <a:cubicBezTo>
                      <a:pt x="55" y="44"/>
                      <a:pt x="55" y="44"/>
                      <a:pt x="55" y="44"/>
                    </a:cubicBezTo>
                    <a:cubicBezTo>
                      <a:pt x="57" y="39"/>
                      <a:pt x="59" y="35"/>
                      <a:pt x="59" y="29"/>
                    </a:cubicBezTo>
                    <a:cubicBezTo>
                      <a:pt x="59" y="24"/>
                      <a:pt x="57" y="20"/>
                      <a:pt x="55" y="15"/>
                    </a:cubicBezTo>
                    <a:moveTo>
                      <a:pt x="29" y="0"/>
                    </a:moveTo>
                    <a:cubicBezTo>
                      <a:pt x="13" y="0"/>
                      <a:pt x="0" y="13"/>
                      <a:pt x="0" y="29"/>
                    </a:cubicBezTo>
                    <a:cubicBezTo>
                      <a:pt x="0" y="46"/>
                      <a:pt x="13" y="59"/>
                      <a:pt x="29" y="59"/>
                    </a:cubicBezTo>
                    <a:cubicBezTo>
                      <a:pt x="37" y="59"/>
                      <a:pt x="44" y="56"/>
                      <a:pt x="49" y="51"/>
                    </a:cubicBezTo>
                    <a:cubicBezTo>
                      <a:pt x="49" y="36"/>
                      <a:pt x="49" y="36"/>
                      <a:pt x="49" y="36"/>
                    </a:cubicBezTo>
                    <a:cubicBezTo>
                      <a:pt x="46" y="44"/>
                      <a:pt x="39" y="50"/>
                      <a:pt x="29" y="50"/>
                    </a:cubicBezTo>
                    <a:cubicBezTo>
                      <a:pt x="18" y="50"/>
                      <a:pt x="8" y="41"/>
                      <a:pt x="8" y="29"/>
                    </a:cubicBezTo>
                    <a:cubicBezTo>
                      <a:pt x="8" y="18"/>
                      <a:pt x="18" y="9"/>
                      <a:pt x="29" y="9"/>
                    </a:cubicBezTo>
                    <a:cubicBezTo>
                      <a:pt x="39" y="9"/>
                      <a:pt x="46" y="15"/>
                      <a:pt x="49" y="23"/>
                    </a:cubicBezTo>
                    <a:cubicBezTo>
                      <a:pt x="49" y="8"/>
                      <a:pt x="49" y="8"/>
                      <a:pt x="49" y="8"/>
                    </a:cubicBezTo>
                    <a:cubicBezTo>
                      <a:pt x="44" y="3"/>
                      <a:pt x="37" y="0"/>
                      <a:pt x="2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19" name="Freeform 613">
                <a:extLst>
                  <a:ext uri="{FF2B5EF4-FFF2-40B4-BE49-F238E27FC236}">
                    <a16:creationId xmlns:a16="http://schemas.microsoft.com/office/drawing/2014/main" id="{68C31246-F7E1-40CE-969B-0DD0D142BF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1968"/>
                <a:ext cx="6" cy="43"/>
              </a:xfrm>
              <a:custGeom>
                <a:avLst/>
                <a:gdLst>
                  <a:gd name="T0" fmla="*/ 0 w 6"/>
                  <a:gd name="T1" fmla="*/ 0 h 43"/>
                  <a:gd name="T2" fmla="*/ 0 w 6"/>
                  <a:gd name="T3" fmla="*/ 15 h 43"/>
                  <a:gd name="T4" fmla="*/ 1 w 6"/>
                  <a:gd name="T5" fmla="*/ 21 h 43"/>
                  <a:gd name="T6" fmla="*/ 0 w 6"/>
                  <a:gd name="T7" fmla="*/ 28 h 43"/>
                  <a:gd name="T8" fmla="*/ 0 w 6"/>
                  <a:gd name="T9" fmla="*/ 43 h 43"/>
                  <a:gd name="T10" fmla="*/ 6 w 6"/>
                  <a:gd name="T11" fmla="*/ 36 h 43"/>
                  <a:gd name="T12" fmla="*/ 6 w 6"/>
                  <a:gd name="T13" fmla="*/ 7 h 43"/>
                  <a:gd name="T14" fmla="*/ 0 w 6"/>
                  <a:gd name="T1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3">
                    <a:moveTo>
                      <a:pt x="0" y="0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1" y="17"/>
                      <a:pt x="1" y="19"/>
                      <a:pt x="1" y="21"/>
                    </a:cubicBezTo>
                    <a:cubicBezTo>
                      <a:pt x="1" y="24"/>
                      <a:pt x="1" y="26"/>
                      <a:pt x="0" y="28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3" y="41"/>
                      <a:pt x="5" y="39"/>
                      <a:pt x="6" y="36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5" y="4"/>
                      <a:pt x="3" y="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20" name="Freeform 614">
                <a:extLst>
                  <a:ext uri="{FF2B5EF4-FFF2-40B4-BE49-F238E27FC236}">
                    <a16:creationId xmlns:a16="http://schemas.microsoft.com/office/drawing/2014/main" id="{F8DE72E2-F108-4136-B55E-74B01CA1163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517" y="2238"/>
                <a:ext cx="43" cy="43"/>
              </a:xfrm>
              <a:custGeom>
                <a:avLst/>
                <a:gdLst>
                  <a:gd name="T0" fmla="*/ 21 w 43"/>
                  <a:gd name="T1" fmla="*/ 36 h 43"/>
                  <a:gd name="T2" fmla="*/ 6 w 43"/>
                  <a:gd name="T3" fmla="*/ 21 h 43"/>
                  <a:gd name="T4" fmla="*/ 21 w 43"/>
                  <a:gd name="T5" fmla="*/ 6 h 43"/>
                  <a:gd name="T6" fmla="*/ 36 w 43"/>
                  <a:gd name="T7" fmla="*/ 21 h 43"/>
                  <a:gd name="T8" fmla="*/ 21 w 43"/>
                  <a:gd name="T9" fmla="*/ 36 h 43"/>
                  <a:gd name="T10" fmla="*/ 21 w 43"/>
                  <a:gd name="T11" fmla="*/ 0 h 43"/>
                  <a:gd name="T12" fmla="*/ 0 w 43"/>
                  <a:gd name="T13" fmla="*/ 21 h 43"/>
                  <a:gd name="T14" fmla="*/ 21 w 43"/>
                  <a:gd name="T15" fmla="*/ 43 h 43"/>
                  <a:gd name="T16" fmla="*/ 43 w 43"/>
                  <a:gd name="T17" fmla="*/ 21 h 43"/>
                  <a:gd name="T18" fmla="*/ 21 w 43"/>
                  <a:gd name="T1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3">
                    <a:moveTo>
                      <a:pt x="21" y="36"/>
                    </a:moveTo>
                    <a:cubicBezTo>
                      <a:pt x="13" y="36"/>
                      <a:pt x="6" y="30"/>
                      <a:pt x="6" y="21"/>
                    </a:cubicBezTo>
                    <a:cubicBezTo>
                      <a:pt x="6" y="13"/>
                      <a:pt x="13" y="6"/>
                      <a:pt x="21" y="6"/>
                    </a:cubicBezTo>
                    <a:cubicBezTo>
                      <a:pt x="30" y="6"/>
                      <a:pt x="36" y="13"/>
                      <a:pt x="36" y="21"/>
                    </a:cubicBezTo>
                    <a:cubicBezTo>
                      <a:pt x="36" y="30"/>
                      <a:pt x="30" y="36"/>
                      <a:pt x="21" y="36"/>
                    </a:cubicBezTo>
                    <a:moveTo>
                      <a:pt x="21" y="0"/>
                    </a:moveTo>
                    <a:cubicBezTo>
                      <a:pt x="9" y="0"/>
                      <a:pt x="0" y="10"/>
                      <a:pt x="0" y="21"/>
                    </a:cubicBezTo>
                    <a:cubicBezTo>
                      <a:pt x="0" y="33"/>
                      <a:pt x="9" y="43"/>
                      <a:pt x="21" y="43"/>
                    </a:cubicBezTo>
                    <a:cubicBezTo>
                      <a:pt x="33" y="43"/>
                      <a:pt x="43" y="33"/>
                      <a:pt x="43" y="21"/>
                    </a:cubicBezTo>
                    <a:cubicBezTo>
                      <a:pt x="43" y="10"/>
                      <a:pt x="33" y="0"/>
                      <a:pt x="2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21" name="Freeform 615">
                <a:extLst>
                  <a:ext uri="{FF2B5EF4-FFF2-40B4-BE49-F238E27FC236}">
                    <a16:creationId xmlns:a16="http://schemas.microsoft.com/office/drawing/2014/main" id="{D50FBDEF-4D5E-460A-B61E-04AABE434A9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782" y="2414"/>
                <a:ext cx="19" cy="19"/>
              </a:xfrm>
              <a:custGeom>
                <a:avLst/>
                <a:gdLst>
                  <a:gd name="T0" fmla="*/ 10 w 19"/>
                  <a:gd name="T1" fmla="*/ 16 h 19"/>
                  <a:gd name="T2" fmla="*/ 3 w 19"/>
                  <a:gd name="T3" fmla="*/ 10 h 19"/>
                  <a:gd name="T4" fmla="*/ 10 w 19"/>
                  <a:gd name="T5" fmla="*/ 3 h 19"/>
                  <a:gd name="T6" fmla="*/ 16 w 19"/>
                  <a:gd name="T7" fmla="*/ 10 h 19"/>
                  <a:gd name="T8" fmla="*/ 10 w 19"/>
                  <a:gd name="T9" fmla="*/ 16 h 19"/>
                  <a:gd name="T10" fmla="*/ 10 w 19"/>
                  <a:gd name="T11" fmla="*/ 0 h 19"/>
                  <a:gd name="T12" fmla="*/ 0 w 19"/>
                  <a:gd name="T13" fmla="*/ 10 h 19"/>
                  <a:gd name="T14" fmla="*/ 10 w 19"/>
                  <a:gd name="T15" fmla="*/ 19 h 19"/>
                  <a:gd name="T16" fmla="*/ 19 w 19"/>
                  <a:gd name="T17" fmla="*/ 10 h 19"/>
                  <a:gd name="T18" fmla="*/ 10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0" y="16"/>
                    </a:moveTo>
                    <a:cubicBezTo>
                      <a:pt x="6" y="16"/>
                      <a:pt x="3" y="13"/>
                      <a:pt x="3" y="10"/>
                    </a:cubicBezTo>
                    <a:cubicBezTo>
                      <a:pt x="3" y="6"/>
                      <a:pt x="6" y="3"/>
                      <a:pt x="10" y="3"/>
                    </a:cubicBezTo>
                    <a:cubicBezTo>
                      <a:pt x="13" y="3"/>
                      <a:pt x="16" y="6"/>
                      <a:pt x="16" y="10"/>
                    </a:cubicBezTo>
                    <a:cubicBezTo>
                      <a:pt x="16" y="13"/>
                      <a:pt x="13" y="16"/>
                      <a:pt x="10" y="16"/>
                    </a:cubicBezTo>
                    <a:moveTo>
                      <a:pt x="10" y="0"/>
                    </a:moveTo>
                    <a:cubicBezTo>
                      <a:pt x="5" y="0"/>
                      <a:pt x="0" y="4"/>
                      <a:pt x="0" y="10"/>
                    </a:cubicBezTo>
                    <a:cubicBezTo>
                      <a:pt x="0" y="15"/>
                      <a:pt x="5" y="19"/>
                      <a:pt x="10" y="19"/>
                    </a:cubicBezTo>
                    <a:cubicBezTo>
                      <a:pt x="15" y="19"/>
                      <a:pt x="19" y="15"/>
                      <a:pt x="19" y="10"/>
                    </a:cubicBezTo>
                    <a:cubicBezTo>
                      <a:pt x="19" y="4"/>
                      <a:pt x="15" y="0"/>
                      <a:pt x="1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22" name="Freeform 616">
                <a:extLst>
                  <a:ext uri="{FF2B5EF4-FFF2-40B4-BE49-F238E27FC236}">
                    <a16:creationId xmlns:a16="http://schemas.microsoft.com/office/drawing/2014/main" id="{24258D73-ABA3-431D-A919-2E3BF48CC6A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66" y="2111"/>
                <a:ext cx="45" cy="44"/>
              </a:xfrm>
              <a:custGeom>
                <a:avLst/>
                <a:gdLst>
                  <a:gd name="T0" fmla="*/ 43 w 44"/>
                  <a:gd name="T1" fmla="*/ 27 h 43"/>
                  <a:gd name="T2" fmla="*/ 33 w 44"/>
                  <a:gd name="T3" fmla="*/ 27 h 43"/>
                  <a:gd name="T4" fmla="*/ 22 w 44"/>
                  <a:gd name="T5" fmla="*/ 34 h 43"/>
                  <a:gd name="T6" fmla="*/ 11 w 44"/>
                  <a:gd name="T7" fmla="*/ 27 h 43"/>
                  <a:gd name="T8" fmla="*/ 1 w 44"/>
                  <a:gd name="T9" fmla="*/ 27 h 43"/>
                  <a:gd name="T10" fmla="*/ 22 w 44"/>
                  <a:gd name="T11" fmla="*/ 43 h 43"/>
                  <a:gd name="T12" fmla="*/ 43 w 44"/>
                  <a:gd name="T13" fmla="*/ 27 h 43"/>
                  <a:gd name="T14" fmla="*/ 22 w 44"/>
                  <a:gd name="T15" fmla="*/ 0 h 43"/>
                  <a:gd name="T16" fmla="*/ 0 w 44"/>
                  <a:gd name="T17" fmla="*/ 21 h 43"/>
                  <a:gd name="T18" fmla="*/ 0 w 44"/>
                  <a:gd name="T19" fmla="*/ 23 h 43"/>
                  <a:gd name="T20" fmla="*/ 10 w 44"/>
                  <a:gd name="T21" fmla="*/ 23 h 43"/>
                  <a:gd name="T22" fmla="*/ 10 w 44"/>
                  <a:gd name="T23" fmla="*/ 21 h 43"/>
                  <a:gd name="T24" fmla="*/ 22 w 44"/>
                  <a:gd name="T25" fmla="*/ 9 h 43"/>
                  <a:gd name="T26" fmla="*/ 34 w 44"/>
                  <a:gd name="T27" fmla="*/ 21 h 43"/>
                  <a:gd name="T28" fmla="*/ 34 w 44"/>
                  <a:gd name="T29" fmla="*/ 23 h 43"/>
                  <a:gd name="T30" fmla="*/ 43 w 44"/>
                  <a:gd name="T31" fmla="*/ 23 h 43"/>
                  <a:gd name="T32" fmla="*/ 44 w 44"/>
                  <a:gd name="T33" fmla="*/ 21 h 43"/>
                  <a:gd name="T34" fmla="*/ 22 w 44"/>
                  <a:gd name="T3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" h="43">
                    <a:moveTo>
                      <a:pt x="43" y="27"/>
                    </a:moveTo>
                    <a:cubicBezTo>
                      <a:pt x="33" y="27"/>
                      <a:pt x="33" y="27"/>
                      <a:pt x="33" y="27"/>
                    </a:cubicBezTo>
                    <a:cubicBezTo>
                      <a:pt x="30" y="31"/>
                      <a:pt x="26" y="34"/>
                      <a:pt x="22" y="34"/>
                    </a:cubicBezTo>
                    <a:cubicBezTo>
                      <a:pt x="17" y="34"/>
                      <a:pt x="13" y="31"/>
                      <a:pt x="11" y="2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4" y="36"/>
                      <a:pt x="12" y="43"/>
                      <a:pt x="22" y="43"/>
                    </a:cubicBezTo>
                    <a:cubicBezTo>
                      <a:pt x="32" y="43"/>
                      <a:pt x="40" y="36"/>
                      <a:pt x="43" y="27"/>
                    </a:cubicBezTo>
                    <a:moveTo>
                      <a:pt x="22" y="0"/>
                    </a:moveTo>
                    <a:cubicBezTo>
                      <a:pt x="10" y="0"/>
                      <a:pt x="0" y="9"/>
                      <a:pt x="0" y="21"/>
                    </a:cubicBezTo>
                    <a:cubicBezTo>
                      <a:pt x="0" y="22"/>
                      <a:pt x="0" y="23"/>
                      <a:pt x="0" y="23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3"/>
                      <a:pt x="10" y="22"/>
                      <a:pt x="10" y="21"/>
                    </a:cubicBezTo>
                    <a:cubicBezTo>
                      <a:pt x="10" y="15"/>
                      <a:pt x="15" y="9"/>
                      <a:pt x="22" y="9"/>
                    </a:cubicBezTo>
                    <a:cubicBezTo>
                      <a:pt x="29" y="9"/>
                      <a:pt x="34" y="15"/>
                      <a:pt x="34" y="21"/>
                    </a:cubicBezTo>
                    <a:cubicBezTo>
                      <a:pt x="34" y="22"/>
                      <a:pt x="34" y="23"/>
                      <a:pt x="34" y="23"/>
                    </a:cubicBezTo>
                    <a:cubicBezTo>
                      <a:pt x="43" y="23"/>
                      <a:pt x="43" y="23"/>
                      <a:pt x="43" y="23"/>
                    </a:cubicBezTo>
                    <a:cubicBezTo>
                      <a:pt x="43" y="23"/>
                      <a:pt x="44" y="22"/>
                      <a:pt x="44" y="21"/>
                    </a:cubicBezTo>
                    <a:cubicBezTo>
                      <a:pt x="44" y="9"/>
                      <a:pt x="34" y="0"/>
                      <a:pt x="2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23" name="Freeform 617">
                <a:extLst>
                  <a:ext uri="{FF2B5EF4-FFF2-40B4-BE49-F238E27FC236}">
                    <a16:creationId xmlns:a16="http://schemas.microsoft.com/office/drawing/2014/main" id="{20841EC5-49C0-46BE-A17D-ABBE213636E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66" y="2134"/>
                <a:ext cx="43" cy="4"/>
              </a:xfrm>
              <a:custGeom>
                <a:avLst/>
                <a:gdLst>
                  <a:gd name="T0" fmla="*/ 10 w 43"/>
                  <a:gd name="T1" fmla="*/ 0 h 4"/>
                  <a:gd name="T2" fmla="*/ 0 w 43"/>
                  <a:gd name="T3" fmla="*/ 0 h 4"/>
                  <a:gd name="T4" fmla="*/ 1 w 43"/>
                  <a:gd name="T5" fmla="*/ 4 h 4"/>
                  <a:gd name="T6" fmla="*/ 11 w 43"/>
                  <a:gd name="T7" fmla="*/ 4 h 4"/>
                  <a:gd name="T8" fmla="*/ 10 w 43"/>
                  <a:gd name="T9" fmla="*/ 0 h 4"/>
                  <a:gd name="T10" fmla="*/ 43 w 43"/>
                  <a:gd name="T11" fmla="*/ 0 h 4"/>
                  <a:gd name="T12" fmla="*/ 34 w 43"/>
                  <a:gd name="T13" fmla="*/ 0 h 4"/>
                  <a:gd name="T14" fmla="*/ 33 w 43"/>
                  <a:gd name="T15" fmla="*/ 4 h 4"/>
                  <a:gd name="T16" fmla="*/ 43 w 43"/>
                  <a:gd name="T17" fmla="*/ 4 h 4"/>
                  <a:gd name="T18" fmla="*/ 43 w 43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">
                    <a:moveTo>
                      <a:pt x="1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3"/>
                      <a:pt x="10" y="2"/>
                      <a:pt x="10" y="0"/>
                    </a:cubicBezTo>
                    <a:moveTo>
                      <a:pt x="43" y="0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34" y="2"/>
                      <a:pt x="33" y="3"/>
                      <a:pt x="33" y="4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43" y="3"/>
                      <a:pt x="43" y="2"/>
                      <a:pt x="4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24" name="Freeform 618">
                <a:extLst>
                  <a:ext uri="{FF2B5EF4-FFF2-40B4-BE49-F238E27FC236}">
                    <a16:creationId xmlns:a16="http://schemas.microsoft.com/office/drawing/2014/main" id="{B2AF03F6-8703-4810-8F44-6B56D6885D2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000" y="1790"/>
                <a:ext cx="20" cy="21"/>
              </a:xfrm>
              <a:custGeom>
                <a:avLst/>
                <a:gdLst>
                  <a:gd name="T0" fmla="*/ 10 w 20"/>
                  <a:gd name="T1" fmla="*/ 16 h 21"/>
                  <a:gd name="T2" fmla="*/ 4 w 20"/>
                  <a:gd name="T3" fmla="*/ 10 h 21"/>
                  <a:gd name="T4" fmla="*/ 10 w 20"/>
                  <a:gd name="T5" fmla="*/ 5 h 21"/>
                  <a:gd name="T6" fmla="*/ 16 w 20"/>
                  <a:gd name="T7" fmla="*/ 10 h 21"/>
                  <a:gd name="T8" fmla="*/ 10 w 20"/>
                  <a:gd name="T9" fmla="*/ 16 h 21"/>
                  <a:gd name="T10" fmla="*/ 10 w 20"/>
                  <a:gd name="T11" fmla="*/ 0 h 21"/>
                  <a:gd name="T12" fmla="*/ 0 w 20"/>
                  <a:gd name="T13" fmla="*/ 10 h 21"/>
                  <a:gd name="T14" fmla="*/ 10 w 20"/>
                  <a:gd name="T15" fmla="*/ 21 h 21"/>
                  <a:gd name="T16" fmla="*/ 20 w 20"/>
                  <a:gd name="T17" fmla="*/ 10 h 21"/>
                  <a:gd name="T18" fmla="*/ 10 w 20"/>
                  <a:gd name="T1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21">
                    <a:moveTo>
                      <a:pt x="10" y="16"/>
                    </a:moveTo>
                    <a:cubicBezTo>
                      <a:pt x="7" y="16"/>
                      <a:pt x="4" y="14"/>
                      <a:pt x="4" y="10"/>
                    </a:cubicBezTo>
                    <a:cubicBezTo>
                      <a:pt x="4" y="7"/>
                      <a:pt x="7" y="5"/>
                      <a:pt x="10" y="5"/>
                    </a:cubicBezTo>
                    <a:cubicBezTo>
                      <a:pt x="13" y="5"/>
                      <a:pt x="16" y="7"/>
                      <a:pt x="16" y="10"/>
                    </a:cubicBezTo>
                    <a:cubicBezTo>
                      <a:pt x="16" y="14"/>
                      <a:pt x="13" y="16"/>
                      <a:pt x="10" y="16"/>
                    </a:cubicBezTo>
                    <a:moveTo>
                      <a:pt x="10" y="0"/>
                    </a:moveTo>
                    <a:cubicBezTo>
                      <a:pt x="4" y="0"/>
                      <a:pt x="0" y="5"/>
                      <a:pt x="0" y="10"/>
                    </a:cubicBezTo>
                    <a:cubicBezTo>
                      <a:pt x="0" y="16"/>
                      <a:pt x="4" y="21"/>
                      <a:pt x="10" y="21"/>
                    </a:cubicBezTo>
                    <a:cubicBezTo>
                      <a:pt x="16" y="21"/>
                      <a:pt x="20" y="16"/>
                      <a:pt x="20" y="10"/>
                    </a:cubicBezTo>
                    <a:cubicBezTo>
                      <a:pt x="20" y="5"/>
                      <a:pt x="16" y="0"/>
                      <a:pt x="1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25" name="Freeform 619">
                <a:extLst>
                  <a:ext uri="{FF2B5EF4-FFF2-40B4-BE49-F238E27FC236}">
                    <a16:creationId xmlns:a16="http://schemas.microsoft.com/office/drawing/2014/main" id="{9681018D-2FC8-4B42-AA6B-6DA8B4FE26D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02" y="2876"/>
                <a:ext cx="23" cy="23"/>
              </a:xfrm>
              <a:custGeom>
                <a:avLst/>
                <a:gdLst>
                  <a:gd name="T0" fmla="*/ 12 w 23"/>
                  <a:gd name="T1" fmla="*/ 18 h 23"/>
                  <a:gd name="T2" fmla="*/ 5 w 23"/>
                  <a:gd name="T3" fmla="*/ 11 h 23"/>
                  <a:gd name="T4" fmla="*/ 12 w 23"/>
                  <a:gd name="T5" fmla="*/ 5 h 23"/>
                  <a:gd name="T6" fmla="*/ 18 w 23"/>
                  <a:gd name="T7" fmla="*/ 11 h 23"/>
                  <a:gd name="T8" fmla="*/ 12 w 23"/>
                  <a:gd name="T9" fmla="*/ 18 h 23"/>
                  <a:gd name="T10" fmla="*/ 12 w 23"/>
                  <a:gd name="T11" fmla="*/ 0 h 23"/>
                  <a:gd name="T12" fmla="*/ 0 w 23"/>
                  <a:gd name="T13" fmla="*/ 11 h 23"/>
                  <a:gd name="T14" fmla="*/ 12 w 23"/>
                  <a:gd name="T15" fmla="*/ 23 h 23"/>
                  <a:gd name="T16" fmla="*/ 23 w 23"/>
                  <a:gd name="T17" fmla="*/ 11 h 23"/>
                  <a:gd name="T18" fmla="*/ 12 w 23"/>
                  <a:gd name="T1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3">
                    <a:moveTo>
                      <a:pt x="12" y="18"/>
                    </a:moveTo>
                    <a:cubicBezTo>
                      <a:pt x="8" y="18"/>
                      <a:pt x="5" y="15"/>
                      <a:pt x="5" y="11"/>
                    </a:cubicBezTo>
                    <a:cubicBezTo>
                      <a:pt x="5" y="8"/>
                      <a:pt x="8" y="5"/>
                      <a:pt x="12" y="5"/>
                    </a:cubicBezTo>
                    <a:cubicBezTo>
                      <a:pt x="15" y="5"/>
                      <a:pt x="18" y="8"/>
                      <a:pt x="18" y="11"/>
                    </a:cubicBezTo>
                    <a:cubicBezTo>
                      <a:pt x="18" y="15"/>
                      <a:pt x="15" y="18"/>
                      <a:pt x="12" y="18"/>
                    </a:cubicBezTo>
                    <a:moveTo>
                      <a:pt x="12" y="0"/>
                    </a:moveTo>
                    <a:cubicBezTo>
                      <a:pt x="6" y="0"/>
                      <a:pt x="0" y="5"/>
                      <a:pt x="0" y="11"/>
                    </a:cubicBezTo>
                    <a:cubicBezTo>
                      <a:pt x="0" y="18"/>
                      <a:pt x="6" y="23"/>
                      <a:pt x="12" y="23"/>
                    </a:cubicBezTo>
                    <a:cubicBezTo>
                      <a:pt x="18" y="23"/>
                      <a:pt x="23" y="18"/>
                      <a:pt x="23" y="11"/>
                    </a:cubicBezTo>
                    <a:cubicBezTo>
                      <a:pt x="23" y="5"/>
                      <a:pt x="18" y="0"/>
                      <a:pt x="1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26" name="Freeform 620">
                <a:extLst>
                  <a:ext uri="{FF2B5EF4-FFF2-40B4-BE49-F238E27FC236}">
                    <a16:creationId xmlns:a16="http://schemas.microsoft.com/office/drawing/2014/main" id="{8B9D6589-0B8C-4A40-9819-15216C01AF7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543" y="2000"/>
                <a:ext cx="53" cy="53"/>
              </a:xfrm>
              <a:custGeom>
                <a:avLst/>
                <a:gdLst>
                  <a:gd name="T0" fmla="*/ 27 w 53"/>
                  <a:gd name="T1" fmla="*/ 41 h 53"/>
                  <a:gd name="T2" fmla="*/ 12 w 53"/>
                  <a:gd name="T3" fmla="*/ 26 h 53"/>
                  <a:gd name="T4" fmla="*/ 27 w 53"/>
                  <a:gd name="T5" fmla="*/ 11 h 53"/>
                  <a:gd name="T6" fmla="*/ 41 w 53"/>
                  <a:gd name="T7" fmla="*/ 26 h 53"/>
                  <a:gd name="T8" fmla="*/ 27 w 53"/>
                  <a:gd name="T9" fmla="*/ 41 h 53"/>
                  <a:gd name="T10" fmla="*/ 27 w 53"/>
                  <a:gd name="T11" fmla="*/ 0 h 53"/>
                  <a:gd name="T12" fmla="*/ 0 w 53"/>
                  <a:gd name="T13" fmla="*/ 26 h 53"/>
                  <a:gd name="T14" fmla="*/ 27 w 53"/>
                  <a:gd name="T15" fmla="*/ 53 h 53"/>
                  <a:gd name="T16" fmla="*/ 53 w 53"/>
                  <a:gd name="T17" fmla="*/ 26 h 53"/>
                  <a:gd name="T18" fmla="*/ 27 w 53"/>
                  <a:gd name="T19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" h="53">
                    <a:moveTo>
                      <a:pt x="27" y="41"/>
                    </a:moveTo>
                    <a:cubicBezTo>
                      <a:pt x="18" y="41"/>
                      <a:pt x="12" y="35"/>
                      <a:pt x="12" y="26"/>
                    </a:cubicBezTo>
                    <a:cubicBezTo>
                      <a:pt x="12" y="18"/>
                      <a:pt x="18" y="11"/>
                      <a:pt x="27" y="11"/>
                    </a:cubicBezTo>
                    <a:cubicBezTo>
                      <a:pt x="35" y="11"/>
                      <a:pt x="41" y="18"/>
                      <a:pt x="41" y="26"/>
                    </a:cubicBezTo>
                    <a:cubicBezTo>
                      <a:pt x="41" y="35"/>
                      <a:pt x="35" y="41"/>
                      <a:pt x="27" y="41"/>
                    </a:cubicBezTo>
                    <a:moveTo>
                      <a:pt x="27" y="0"/>
                    </a:moveTo>
                    <a:cubicBezTo>
                      <a:pt x="12" y="0"/>
                      <a:pt x="0" y="12"/>
                      <a:pt x="0" y="26"/>
                    </a:cubicBezTo>
                    <a:cubicBezTo>
                      <a:pt x="0" y="41"/>
                      <a:pt x="12" y="53"/>
                      <a:pt x="27" y="53"/>
                    </a:cubicBezTo>
                    <a:cubicBezTo>
                      <a:pt x="41" y="53"/>
                      <a:pt x="53" y="41"/>
                      <a:pt x="53" y="26"/>
                    </a:cubicBezTo>
                    <a:cubicBezTo>
                      <a:pt x="53" y="12"/>
                      <a:pt x="41" y="0"/>
                      <a:pt x="2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27" name="Freeform 621">
                <a:extLst>
                  <a:ext uri="{FF2B5EF4-FFF2-40B4-BE49-F238E27FC236}">
                    <a16:creationId xmlns:a16="http://schemas.microsoft.com/office/drawing/2014/main" id="{E01C06D0-4892-40A5-B3E9-A32F4F7E9AB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635" y="1910"/>
                <a:ext cx="65" cy="65"/>
              </a:xfrm>
              <a:custGeom>
                <a:avLst/>
                <a:gdLst>
                  <a:gd name="T0" fmla="*/ 47 w 65"/>
                  <a:gd name="T1" fmla="*/ 61 h 64"/>
                  <a:gd name="T2" fmla="*/ 18 w 65"/>
                  <a:gd name="T3" fmla="*/ 61 h 64"/>
                  <a:gd name="T4" fmla="*/ 33 w 65"/>
                  <a:gd name="T5" fmla="*/ 64 h 64"/>
                  <a:gd name="T6" fmla="*/ 47 w 65"/>
                  <a:gd name="T7" fmla="*/ 61 h 64"/>
                  <a:gd name="T8" fmla="*/ 63 w 65"/>
                  <a:gd name="T9" fmla="*/ 20 h 64"/>
                  <a:gd name="T10" fmla="*/ 63 w 65"/>
                  <a:gd name="T11" fmla="*/ 44 h 64"/>
                  <a:gd name="T12" fmla="*/ 65 w 65"/>
                  <a:gd name="T13" fmla="*/ 32 h 64"/>
                  <a:gd name="T14" fmla="*/ 63 w 65"/>
                  <a:gd name="T15" fmla="*/ 20 h 64"/>
                  <a:gd name="T16" fmla="*/ 33 w 65"/>
                  <a:gd name="T17" fmla="*/ 50 h 64"/>
                  <a:gd name="T18" fmla="*/ 14 w 65"/>
                  <a:gd name="T19" fmla="*/ 32 h 64"/>
                  <a:gd name="T20" fmla="*/ 33 w 65"/>
                  <a:gd name="T21" fmla="*/ 14 h 64"/>
                  <a:gd name="T22" fmla="*/ 51 w 65"/>
                  <a:gd name="T23" fmla="*/ 32 h 64"/>
                  <a:gd name="T24" fmla="*/ 33 w 65"/>
                  <a:gd name="T25" fmla="*/ 50 h 64"/>
                  <a:gd name="T26" fmla="*/ 33 w 65"/>
                  <a:gd name="T27" fmla="*/ 0 h 64"/>
                  <a:gd name="T28" fmla="*/ 0 w 65"/>
                  <a:gd name="T29" fmla="*/ 32 h 64"/>
                  <a:gd name="T30" fmla="*/ 12 w 65"/>
                  <a:gd name="T31" fmla="*/ 57 h 64"/>
                  <a:gd name="T32" fmla="*/ 53 w 65"/>
                  <a:gd name="T33" fmla="*/ 57 h 64"/>
                  <a:gd name="T34" fmla="*/ 59 w 65"/>
                  <a:gd name="T35" fmla="*/ 51 h 64"/>
                  <a:gd name="T36" fmla="*/ 59 w 65"/>
                  <a:gd name="T37" fmla="*/ 13 h 64"/>
                  <a:gd name="T38" fmla="*/ 33 w 65"/>
                  <a:gd name="T3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5" h="64">
                    <a:moveTo>
                      <a:pt x="47" y="61"/>
                    </a:moveTo>
                    <a:cubicBezTo>
                      <a:pt x="18" y="61"/>
                      <a:pt x="18" y="61"/>
                      <a:pt x="18" y="61"/>
                    </a:cubicBezTo>
                    <a:cubicBezTo>
                      <a:pt x="22" y="63"/>
                      <a:pt x="27" y="64"/>
                      <a:pt x="33" y="64"/>
                    </a:cubicBezTo>
                    <a:cubicBezTo>
                      <a:pt x="38" y="64"/>
                      <a:pt x="43" y="63"/>
                      <a:pt x="47" y="61"/>
                    </a:cubicBezTo>
                    <a:moveTo>
                      <a:pt x="63" y="20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64" y="40"/>
                      <a:pt x="65" y="36"/>
                      <a:pt x="65" y="32"/>
                    </a:cubicBezTo>
                    <a:cubicBezTo>
                      <a:pt x="65" y="28"/>
                      <a:pt x="64" y="24"/>
                      <a:pt x="63" y="20"/>
                    </a:cubicBezTo>
                    <a:moveTo>
                      <a:pt x="33" y="50"/>
                    </a:moveTo>
                    <a:cubicBezTo>
                      <a:pt x="23" y="50"/>
                      <a:pt x="14" y="42"/>
                      <a:pt x="14" y="32"/>
                    </a:cubicBezTo>
                    <a:cubicBezTo>
                      <a:pt x="14" y="22"/>
                      <a:pt x="23" y="14"/>
                      <a:pt x="33" y="14"/>
                    </a:cubicBezTo>
                    <a:cubicBezTo>
                      <a:pt x="43" y="14"/>
                      <a:pt x="51" y="22"/>
                      <a:pt x="51" y="32"/>
                    </a:cubicBezTo>
                    <a:cubicBezTo>
                      <a:pt x="51" y="42"/>
                      <a:pt x="43" y="50"/>
                      <a:pt x="33" y="50"/>
                    </a:cubicBezTo>
                    <a:moveTo>
                      <a:pt x="33" y="0"/>
                    </a:moveTo>
                    <a:cubicBezTo>
                      <a:pt x="15" y="0"/>
                      <a:pt x="0" y="14"/>
                      <a:pt x="0" y="32"/>
                    </a:cubicBezTo>
                    <a:cubicBezTo>
                      <a:pt x="0" y="42"/>
                      <a:pt x="5" y="51"/>
                      <a:pt x="12" y="57"/>
                    </a:cubicBezTo>
                    <a:cubicBezTo>
                      <a:pt x="53" y="57"/>
                      <a:pt x="53" y="57"/>
                      <a:pt x="53" y="57"/>
                    </a:cubicBezTo>
                    <a:cubicBezTo>
                      <a:pt x="55" y="55"/>
                      <a:pt x="57" y="53"/>
                      <a:pt x="59" y="51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53" y="5"/>
                      <a:pt x="43" y="0"/>
                      <a:pt x="3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28" name="Freeform 622">
                <a:extLst>
                  <a:ext uri="{FF2B5EF4-FFF2-40B4-BE49-F238E27FC236}">
                    <a16:creationId xmlns:a16="http://schemas.microsoft.com/office/drawing/2014/main" id="{B8ECDCA7-132E-4CFA-9F4D-E833ED05384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647" y="1924"/>
                <a:ext cx="51" cy="48"/>
              </a:xfrm>
              <a:custGeom>
                <a:avLst/>
                <a:gdLst>
                  <a:gd name="T0" fmla="*/ 41 w 51"/>
                  <a:gd name="T1" fmla="*/ 44 h 48"/>
                  <a:gd name="T2" fmla="*/ 0 w 51"/>
                  <a:gd name="T3" fmla="*/ 44 h 48"/>
                  <a:gd name="T4" fmla="*/ 6 w 51"/>
                  <a:gd name="T5" fmla="*/ 48 h 48"/>
                  <a:gd name="T6" fmla="*/ 35 w 51"/>
                  <a:gd name="T7" fmla="*/ 48 h 48"/>
                  <a:gd name="T8" fmla="*/ 41 w 51"/>
                  <a:gd name="T9" fmla="*/ 44 h 48"/>
                  <a:gd name="T10" fmla="*/ 47 w 51"/>
                  <a:gd name="T11" fmla="*/ 0 h 48"/>
                  <a:gd name="T12" fmla="*/ 47 w 51"/>
                  <a:gd name="T13" fmla="*/ 38 h 48"/>
                  <a:gd name="T14" fmla="*/ 51 w 51"/>
                  <a:gd name="T15" fmla="*/ 31 h 48"/>
                  <a:gd name="T16" fmla="*/ 51 w 51"/>
                  <a:gd name="T17" fmla="*/ 7 h 48"/>
                  <a:gd name="T18" fmla="*/ 47 w 51"/>
                  <a:gd name="T1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41" y="44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2" y="45"/>
                      <a:pt x="4" y="47"/>
                      <a:pt x="6" y="48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7" y="47"/>
                      <a:pt x="39" y="45"/>
                      <a:pt x="41" y="44"/>
                    </a:cubicBezTo>
                    <a:moveTo>
                      <a:pt x="47" y="0"/>
                    </a:moveTo>
                    <a:cubicBezTo>
                      <a:pt x="47" y="38"/>
                      <a:pt x="47" y="38"/>
                      <a:pt x="47" y="38"/>
                    </a:cubicBezTo>
                    <a:cubicBezTo>
                      <a:pt x="48" y="36"/>
                      <a:pt x="50" y="34"/>
                      <a:pt x="51" y="3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50" y="4"/>
                      <a:pt x="48" y="2"/>
                      <a:pt x="4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29" name="Freeform 623">
                <a:extLst>
                  <a:ext uri="{FF2B5EF4-FFF2-40B4-BE49-F238E27FC236}">
                    <a16:creationId xmlns:a16="http://schemas.microsoft.com/office/drawing/2014/main" id="{D5B16111-F010-4D56-9028-9B5F393DC89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077" y="1586"/>
                <a:ext cx="39" cy="38"/>
              </a:xfrm>
              <a:custGeom>
                <a:avLst/>
                <a:gdLst>
                  <a:gd name="T0" fmla="*/ 11 w 39"/>
                  <a:gd name="T1" fmla="*/ 28 h 38"/>
                  <a:gd name="T2" fmla="*/ 11 w 39"/>
                  <a:gd name="T3" fmla="*/ 11 h 38"/>
                  <a:gd name="T4" fmla="*/ 28 w 39"/>
                  <a:gd name="T5" fmla="*/ 11 h 38"/>
                  <a:gd name="T6" fmla="*/ 28 w 39"/>
                  <a:gd name="T7" fmla="*/ 28 h 38"/>
                  <a:gd name="T8" fmla="*/ 11 w 39"/>
                  <a:gd name="T9" fmla="*/ 28 h 38"/>
                  <a:gd name="T10" fmla="*/ 39 w 39"/>
                  <a:gd name="T11" fmla="*/ 0 h 38"/>
                  <a:gd name="T12" fmla="*/ 0 w 39"/>
                  <a:gd name="T13" fmla="*/ 0 h 38"/>
                  <a:gd name="T14" fmla="*/ 0 w 39"/>
                  <a:gd name="T15" fmla="*/ 38 h 38"/>
                  <a:gd name="T16" fmla="*/ 39 w 39"/>
                  <a:gd name="T17" fmla="*/ 38 h 38"/>
                  <a:gd name="T18" fmla="*/ 39 w 39"/>
                  <a:gd name="T1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" h="38">
                    <a:moveTo>
                      <a:pt x="11" y="28"/>
                    </a:moveTo>
                    <a:lnTo>
                      <a:pt x="11" y="11"/>
                    </a:lnTo>
                    <a:lnTo>
                      <a:pt x="28" y="11"/>
                    </a:lnTo>
                    <a:lnTo>
                      <a:pt x="28" y="28"/>
                    </a:lnTo>
                    <a:lnTo>
                      <a:pt x="11" y="28"/>
                    </a:lnTo>
                    <a:close/>
                    <a:moveTo>
                      <a:pt x="39" y="0"/>
                    </a:moveTo>
                    <a:lnTo>
                      <a:pt x="0" y="0"/>
                    </a:lnTo>
                    <a:lnTo>
                      <a:pt x="0" y="38"/>
                    </a:lnTo>
                    <a:lnTo>
                      <a:pt x="39" y="38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30" name="Freeform 624">
                <a:extLst>
                  <a:ext uri="{FF2B5EF4-FFF2-40B4-BE49-F238E27FC236}">
                    <a16:creationId xmlns:a16="http://schemas.microsoft.com/office/drawing/2014/main" id="{2D90A34F-268C-4270-9E39-DACAC5FBE3B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077" y="1586"/>
                <a:ext cx="39" cy="38"/>
              </a:xfrm>
              <a:custGeom>
                <a:avLst/>
                <a:gdLst>
                  <a:gd name="T0" fmla="*/ 11 w 39"/>
                  <a:gd name="T1" fmla="*/ 28 h 38"/>
                  <a:gd name="T2" fmla="*/ 11 w 39"/>
                  <a:gd name="T3" fmla="*/ 11 h 38"/>
                  <a:gd name="T4" fmla="*/ 28 w 39"/>
                  <a:gd name="T5" fmla="*/ 11 h 38"/>
                  <a:gd name="T6" fmla="*/ 28 w 39"/>
                  <a:gd name="T7" fmla="*/ 28 h 38"/>
                  <a:gd name="T8" fmla="*/ 11 w 39"/>
                  <a:gd name="T9" fmla="*/ 28 h 38"/>
                  <a:gd name="T10" fmla="*/ 39 w 39"/>
                  <a:gd name="T11" fmla="*/ 0 h 38"/>
                  <a:gd name="T12" fmla="*/ 0 w 39"/>
                  <a:gd name="T13" fmla="*/ 0 h 38"/>
                  <a:gd name="T14" fmla="*/ 0 w 39"/>
                  <a:gd name="T15" fmla="*/ 38 h 38"/>
                  <a:gd name="T16" fmla="*/ 39 w 39"/>
                  <a:gd name="T17" fmla="*/ 38 h 38"/>
                  <a:gd name="T18" fmla="*/ 39 w 39"/>
                  <a:gd name="T1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" h="38">
                    <a:moveTo>
                      <a:pt x="11" y="28"/>
                    </a:moveTo>
                    <a:lnTo>
                      <a:pt x="11" y="11"/>
                    </a:lnTo>
                    <a:lnTo>
                      <a:pt x="28" y="11"/>
                    </a:lnTo>
                    <a:lnTo>
                      <a:pt x="28" y="28"/>
                    </a:lnTo>
                    <a:lnTo>
                      <a:pt x="11" y="28"/>
                    </a:lnTo>
                    <a:moveTo>
                      <a:pt x="39" y="0"/>
                    </a:moveTo>
                    <a:lnTo>
                      <a:pt x="0" y="0"/>
                    </a:lnTo>
                    <a:lnTo>
                      <a:pt x="0" y="38"/>
                    </a:lnTo>
                    <a:lnTo>
                      <a:pt x="39" y="38"/>
                    </a:lnTo>
                    <a:lnTo>
                      <a:pt x="39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31" name="Freeform 625">
                <a:extLst>
                  <a:ext uri="{FF2B5EF4-FFF2-40B4-BE49-F238E27FC236}">
                    <a16:creationId xmlns:a16="http://schemas.microsoft.com/office/drawing/2014/main" id="{131D6731-0BB2-4DE4-8F30-6076487B9C4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11" y="2530"/>
                <a:ext cx="18" cy="17"/>
              </a:xfrm>
              <a:custGeom>
                <a:avLst/>
                <a:gdLst>
                  <a:gd name="T0" fmla="*/ 5 w 18"/>
                  <a:gd name="T1" fmla="*/ 12 h 17"/>
                  <a:gd name="T2" fmla="*/ 5 w 18"/>
                  <a:gd name="T3" fmla="*/ 5 h 17"/>
                  <a:gd name="T4" fmla="*/ 13 w 18"/>
                  <a:gd name="T5" fmla="*/ 5 h 17"/>
                  <a:gd name="T6" fmla="*/ 13 w 18"/>
                  <a:gd name="T7" fmla="*/ 12 h 17"/>
                  <a:gd name="T8" fmla="*/ 5 w 18"/>
                  <a:gd name="T9" fmla="*/ 12 h 17"/>
                  <a:gd name="T10" fmla="*/ 18 w 18"/>
                  <a:gd name="T11" fmla="*/ 0 h 17"/>
                  <a:gd name="T12" fmla="*/ 0 w 18"/>
                  <a:gd name="T13" fmla="*/ 0 h 17"/>
                  <a:gd name="T14" fmla="*/ 0 w 18"/>
                  <a:gd name="T15" fmla="*/ 17 h 17"/>
                  <a:gd name="T16" fmla="*/ 18 w 18"/>
                  <a:gd name="T17" fmla="*/ 17 h 17"/>
                  <a:gd name="T18" fmla="*/ 18 w 18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7">
                    <a:moveTo>
                      <a:pt x="5" y="12"/>
                    </a:moveTo>
                    <a:lnTo>
                      <a:pt x="5" y="5"/>
                    </a:lnTo>
                    <a:lnTo>
                      <a:pt x="13" y="5"/>
                    </a:lnTo>
                    <a:lnTo>
                      <a:pt x="13" y="12"/>
                    </a:lnTo>
                    <a:lnTo>
                      <a:pt x="5" y="12"/>
                    </a:lnTo>
                    <a:close/>
                    <a:moveTo>
                      <a:pt x="18" y="0"/>
                    </a:moveTo>
                    <a:lnTo>
                      <a:pt x="0" y="0"/>
                    </a:lnTo>
                    <a:lnTo>
                      <a:pt x="0" y="17"/>
                    </a:lnTo>
                    <a:lnTo>
                      <a:pt x="18" y="17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32" name="Freeform 626">
                <a:extLst>
                  <a:ext uri="{FF2B5EF4-FFF2-40B4-BE49-F238E27FC236}">
                    <a16:creationId xmlns:a16="http://schemas.microsoft.com/office/drawing/2014/main" id="{40A3850A-1A45-4188-B88B-1B391179596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11" y="2530"/>
                <a:ext cx="18" cy="17"/>
              </a:xfrm>
              <a:custGeom>
                <a:avLst/>
                <a:gdLst>
                  <a:gd name="T0" fmla="*/ 5 w 18"/>
                  <a:gd name="T1" fmla="*/ 12 h 17"/>
                  <a:gd name="T2" fmla="*/ 5 w 18"/>
                  <a:gd name="T3" fmla="*/ 5 h 17"/>
                  <a:gd name="T4" fmla="*/ 13 w 18"/>
                  <a:gd name="T5" fmla="*/ 5 h 17"/>
                  <a:gd name="T6" fmla="*/ 13 w 18"/>
                  <a:gd name="T7" fmla="*/ 12 h 17"/>
                  <a:gd name="T8" fmla="*/ 5 w 18"/>
                  <a:gd name="T9" fmla="*/ 12 h 17"/>
                  <a:gd name="T10" fmla="*/ 18 w 18"/>
                  <a:gd name="T11" fmla="*/ 0 h 17"/>
                  <a:gd name="T12" fmla="*/ 0 w 18"/>
                  <a:gd name="T13" fmla="*/ 0 h 17"/>
                  <a:gd name="T14" fmla="*/ 0 w 18"/>
                  <a:gd name="T15" fmla="*/ 17 h 17"/>
                  <a:gd name="T16" fmla="*/ 18 w 18"/>
                  <a:gd name="T17" fmla="*/ 17 h 17"/>
                  <a:gd name="T18" fmla="*/ 18 w 18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7">
                    <a:moveTo>
                      <a:pt x="5" y="12"/>
                    </a:moveTo>
                    <a:lnTo>
                      <a:pt x="5" y="5"/>
                    </a:lnTo>
                    <a:lnTo>
                      <a:pt x="13" y="5"/>
                    </a:lnTo>
                    <a:lnTo>
                      <a:pt x="13" y="12"/>
                    </a:lnTo>
                    <a:lnTo>
                      <a:pt x="5" y="12"/>
                    </a:lnTo>
                    <a:moveTo>
                      <a:pt x="18" y="0"/>
                    </a:moveTo>
                    <a:lnTo>
                      <a:pt x="0" y="0"/>
                    </a:lnTo>
                    <a:lnTo>
                      <a:pt x="0" y="17"/>
                    </a:lnTo>
                    <a:lnTo>
                      <a:pt x="18" y="17"/>
                    </a:lnTo>
                    <a:lnTo>
                      <a:pt x="1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33" name="Freeform 627">
                <a:extLst>
                  <a:ext uri="{FF2B5EF4-FFF2-40B4-BE49-F238E27FC236}">
                    <a16:creationId xmlns:a16="http://schemas.microsoft.com/office/drawing/2014/main" id="{19FD77EA-3ADA-47CA-96E9-96A41A850AC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027" y="2253"/>
                <a:ext cx="22" cy="22"/>
              </a:xfrm>
              <a:custGeom>
                <a:avLst/>
                <a:gdLst>
                  <a:gd name="T0" fmla="*/ 6 w 22"/>
                  <a:gd name="T1" fmla="*/ 16 h 22"/>
                  <a:gd name="T2" fmla="*/ 6 w 22"/>
                  <a:gd name="T3" fmla="*/ 6 h 22"/>
                  <a:gd name="T4" fmla="*/ 16 w 22"/>
                  <a:gd name="T5" fmla="*/ 6 h 22"/>
                  <a:gd name="T6" fmla="*/ 16 w 22"/>
                  <a:gd name="T7" fmla="*/ 16 h 22"/>
                  <a:gd name="T8" fmla="*/ 6 w 22"/>
                  <a:gd name="T9" fmla="*/ 16 h 22"/>
                  <a:gd name="T10" fmla="*/ 22 w 22"/>
                  <a:gd name="T11" fmla="*/ 0 h 22"/>
                  <a:gd name="T12" fmla="*/ 0 w 22"/>
                  <a:gd name="T13" fmla="*/ 0 h 22"/>
                  <a:gd name="T14" fmla="*/ 0 w 22"/>
                  <a:gd name="T15" fmla="*/ 22 h 22"/>
                  <a:gd name="T16" fmla="*/ 22 w 22"/>
                  <a:gd name="T17" fmla="*/ 22 h 22"/>
                  <a:gd name="T18" fmla="*/ 22 w 22"/>
                  <a:gd name="T1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6" y="16"/>
                    </a:moveTo>
                    <a:lnTo>
                      <a:pt x="6" y="6"/>
                    </a:lnTo>
                    <a:lnTo>
                      <a:pt x="16" y="6"/>
                    </a:lnTo>
                    <a:lnTo>
                      <a:pt x="16" y="16"/>
                    </a:lnTo>
                    <a:lnTo>
                      <a:pt x="6" y="16"/>
                    </a:lnTo>
                    <a:close/>
                    <a:moveTo>
                      <a:pt x="22" y="0"/>
                    </a:moveTo>
                    <a:lnTo>
                      <a:pt x="0" y="0"/>
                    </a:lnTo>
                    <a:lnTo>
                      <a:pt x="0" y="22"/>
                    </a:lnTo>
                    <a:lnTo>
                      <a:pt x="22" y="2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34" name="Freeform 628">
                <a:extLst>
                  <a:ext uri="{FF2B5EF4-FFF2-40B4-BE49-F238E27FC236}">
                    <a16:creationId xmlns:a16="http://schemas.microsoft.com/office/drawing/2014/main" id="{6597FCA0-746B-4E56-811A-72CD75EE14A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027" y="2253"/>
                <a:ext cx="22" cy="22"/>
              </a:xfrm>
              <a:custGeom>
                <a:avLst/>
                <a:gdLst>
                  <a:gd name="T0" fmla="*/ 6 w 22"/>
                  <a:gd name="T1" fmla="*/ 16 h 22"/>
                  <a:gd name="T2" fmla="*/ 6 w 22"/>
                  <a:gd name="T3" fmla="*/ 6 h 22"/>
                  <a:gd name="T4" fmla="*/ 16 w 22"/>
                  <a:gd name="T5" fmla="*/ 6 h 22"/>
                  <a:gd name="T6" fmla="*/ 16 w 22"/>
                  <a:gd name="T7" fmla="*/ 16 h 22"/>
                  <a:gd name="T8" fmla="*/ 6 w 22"/>
                  <a:gd name="T9" fmla="*/ 16 h 22"/>
                  <a:gd name="T10" fmla="*/ 22 w 22"/>
                  <a:gd name="T11" fmla="*/ 0 h 22"/>
                  <a:gd name="T12" fmla="*/ 0 w 22"/>
                  <a:gd name="T13" fmla="*/ 0 h 22"/>
                  <a:gd name="T14" fmla="*/ 0 w 22"/>
                  <a:gd name="T15" fmla="*/ 22 h 22"/>
                  <a:gd name="T16" fmla="*/ 22 w 22"/>
                  <a:gd name="T17" fmla="*/ 22 h 22"/>
                  <a:gd name="T18" fmla="*/ 22 w 22"/>
                  <a:gd name="T1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6" y="16"/>
                    </a:moveTo>
                    <a:lnTo>
                      <a:pt x="6" y="6"/>
                    </a:lnTo>
                    <a:lnTo>
                      <a:pt x="16" y="6"/>
                    </a:lnTo>
                    <a:lnTo>
                      <a:pt x="16" y="16"/>
                    </a:lnTo>
                    <a:lnTo>
                      <a:pt x="6" y="16"/>
                    </a:lnTo>
                    <a:moveTo>
                      <a:pt x="22" y="0"/>
                    </a:moveTo>
                    <a:lnTo>
                      <a:pt x="0" y="0"/>
                    </a:lnTo>
                    <a:lnTo>
                      <a:pt x="0" y="22"/>
                    </a:lnTo>
                    <a:lnTo>
                      <a:pt x="22" y="22"/>
                    </a:lnTo>
                    <a:lnTo>
                      <a:pt x="22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35" name="Freeform 629">
                <a:extLst>
                  <a:ext uri="{FF2B5EF4-FFF2-40B4-BE49-F238E27FC236}">
                    <a16:creationId xmlns:a16="http://schemas.microsoft.com/office/drawing/2014/main" id="{AAC9DBD1-CDC9-4E4E-9227-CF34862FBF5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467" y="2600"/>
                <a:ext cx="52" cy="52"/>
              </a:xfrm>
              <a:custGeom>
                <a:avLst/>
                <a:gdLst>
                  <a:gd name="T0" fmla="*/ 14 w 52"/>
                  <a:gd name="T1" fmla="*/ 38 h 52"/>
                  <a:gd name="T2" fmla="*/ 14 w 52"/>
                  <a:gd name="T3" fmla="*/ 15 h 52"/>
                  <a:gd name="T4" fmla="*/ 37 w 52"/>
                  <a:gd name="T5" fmla="*/ 15 h 52"/>
                  <a:gd name="T6" fmla="*/ 37 w 52"/>
                  <a:gd name="T7" fmla="*/ 38 h 52"/>
                  <a:gd name="T8" fmla="*/ 14 w 52"/>
                  <a:gd name="T9" fmla="*/ 38 h 52"/>
                  <a:gd name="T10" fmla="*/ 52 w 52"/>
                  <a:gd name="T11" fmla="*/ 0 h 52"/>
                  <a:gd name="T12" fmla="*/ 0 w 52"/>
                  <a:gd name="T13" fmla="*/ 0 h 52"/>
                  <a:gd name="T14" fmla="*/ 0 w 52"/>
                  <a:gd name="T15" fmla="*/ 52 h 52"/>
                  <a:gd name="T16" fmla="*/ 52 w 52"/>
                  <a:gd name="T17" fmla="*/ 52 h 52"/>
                  <a:gd name="T18" fmla="*/ 52 w 52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" h="52">
                    <a:moveTo>
                      <a:pt x="14" y="38"/>
                    </a:moveTo>
                    <a:lnTo>
                      <a:pt x="14" y="15"/>
                    </a:lnTo>
                    <a:lnTo>
                      <a:pt x="37" y="15"/>
                    </a:lnTo>
                    <a:lnTo>
                      <a:pt x="37" y="38"/>
                    </a:lnTo>
                    <a:lnTo>
                      <a:pt x="14" y="38"/>
                    </a:lnTo>
                    <a:close/>
                    <a:moveTo>
                      <a:pt x="52" y="0"/>
                    </a:moveTo>
                    <a:lnTo>
                      <a:pt x="0" y="0"/>
                    </a:lnTo>
                    <a:lnTo>
                      <a:pt x="0" y="52"/>
                    </a:lnTo>
                    <a:lnTo>
                      <a:pt x="52" y="5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36" name="Freeform 630">
                <a:extLst>
                  <a:ext uri="{FF2B5EF4-FFF2-40B4-BE49-F238E27FC236}">
                    <a16:creationId xmlns:a16="http://schemas.microsoft.com/office/drawing/2014/main" id="{C7F9CAEF-1EF8-4C11-81ED-E782D5CB75D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467" y="2600"/>
                <a:ext cx="52" cy="52"/>
              </a:xfrm>
              <a:custGeom>
                <a:avLst/>
                <a:gdLst>
                  <a:gd name="T0" fmla="*/ 14 w 52"/>
                  <a:gd name="T1" fmla="*/ 38 h 52"/>
                  <a:gd name="T2" fmla="*/ 14 w 52"/>
                  <a:gd name="T3" fmla="*/ 15 h 52"/>
                  <a:gd name="T4" fmla="*/ 37 w 52"/>
                  <a:gd name="T5" fmla="*/ 15 h 52"/>
                  <a:gd name="T6" fmla="*/ 37 w 52"/>
                  <a:gd name="T7" fmla="*/ 38 h 52"/>
                  <a:gd name="T8" fmla="*/ 14 w 52"/>
                  <a:gd name="T9" fmla="*/ 38 h 52"/>
                  <a:gd name="T10" fmla="*/ 52 w 52"/>
                  <a:gd name="T11" fmla="*/ 0 h 52"/>
                  <a:gd name="T12" fmla="*/ 0 w 52"/>
                  <a:gd name="T13" fmla="*/ 0 h 52"/>
                  <a:gd name="T14" fmla="*/ 0 w 52"/>
                  <a:gd name="T15" fmla="*/ 52 h 52"/>
                  <a:gd name="T16" fmla="*/ 52 w 52"/>
                  <a:gd name="T17" fmla="*/ 52 h 52"/>
                  <a:gd name="T18" fmla="*/ 52 w 52"/>
                  <a:gd name="T1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" h="52">
                    <a:moveTo>
                      <a:pt x="14" y="38"/>
                    </a:moveTo>
                    <a:lnTo>
                      <a:pt x="14" y="15"/>
                    </a:lnTo>
                    <a:lnTo>
                      <a:pt x="37" y="15"/>
                    </a:lnTo>
                    <a:lnTo>
                      <a:pt x="37" y="38"/>
                    </a:lnTo>
                    <a:lnTo>
                      <a:pt x="14" y="38"/>
                    </a:lnTo>
                    <a:moveTo>
                      <a:pt x="52" y="0"/>
                    </a:moveTo>
                    <a:lnTo>
                      <a:pt x="0" y="0"/>
                    </a:lnTo>
                    <a:lnTo>
                      <a:pt x="0" y="52"/>
                    </a:lnTo>
                    <a:lnTo>
                      <a:pt x="52" y="52"/>
                    </a:lnTo>
                    <a:lnTo>
                      <a:pt x="52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37" name="Freeform 631">
                <a:extLst>
                  <a:ext uri="{FF2B5EF4-FFF2-40B4-BE49-F238E27FC236}">
                    <a16:creationId xmlns:a16="http://schemas.microsoft.com/office/drawing/2014/main" id="{AAC5FAA3-BF69-4D82-AEAF-4588135D3AD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651" y="1658"/>
                <a:ext cx="31" cy="31"/>
              </a:xfrm>
              <a:custGeom>
                <a:avLst/>
                <a:gdLst>
                  <a:gd name="T0" fmla="*/ 9 w 31"/>
                  <a:gd name="T1" fmla="*/ 22 h 31"/>
                  <a:gd name="T2" fmla="*/ 9 w 31"/>
                  <a:gd name="T3" fmla="*/ 8 h 31"/>
                  <a:gd name="T4" fmla="*/ 22 w 31"/>
                  <a:gd name="T5" fmla="*/ 8 h 31"/>
                  <a:gd name="T6" fmla="*/ 22 w 31"/>
                  <a:gd name="T7" fmla="*/ 22 h 31"/>
                  <a:gd name="T8" fmla="*/ 9 w 31"/>
                  <a:gd name="T9" fmla="*/ 22 h 31"/>
                  <a:gd name="T10" fmla="*/ 31 w 31"/>
                  <a:gd name="T11" fmla="*/ 0 h 31"/>
                  <a:gd name="T12" fmla="*/ 0 w 31"/>
                  <a:gd name="T13" fmla="*/ 0 h 31"/>
                  <a:gd name="T14" fmla="*/ 0 w 31"/>
                  <a:gd name="T15" fmla="*/ 31 h 31"/>
                  <a:gd name="T16" fmla="*/ 31 w 31"/>
                  <a:gd name="T17" fmla="*/ 31 h 31"/>
                  <a:gd name="T18" fmla="*/ 31 w 31"/>
                  <a:gd name="T1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31">
                    <a:moveTo>
                      <a:pt x="9" y="22"/>
                    </a:moveTo>
                    <a:lnTo>
                      <a:pt x="9" y="8"/>
                    </a:lnTo>
                    <a:lnTo>
                      <a:pt x="22" y="8"/>
                    </a:lnTo>
                    <a:lnTo>
                      <a:pt x="22" y="22"/>
                    </a:lnTo>
                    <a:lnTo>
                      <a:pt x="9" y="22"/>
                    </a:lnTo>
                    <a:close/>
                    <a:moveTo>
                      <a:pt x="31" y="0"/>
                    </a:moveTo>
                    <a:lnTo>
                      <a:pt x="0" y="0"/>
                    </a:lnTo>
                    <a:lnTo>
                      <a:pt x="0" y="31"/>
                    </a:lnTo>
                    <a:lnTo>
                      <a:pt x="31" y="31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38" name="Freeform 632">
                <a:extLst>
                  <a:ext uri="{FF2B5EF4-FFF2-40B4-BE49-F238E27FC236}">
                    <a16:creationId xmlns:a16="http://schemas.microsoft.com/office/drawing/2014/main" id="{97F5806F-1081-423F-8437-7BD1C2C1EDE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651" y="1658"/>
                <a:ext cx="31" cy="31"/>
              </a:xfrm>
              <a:custGeom>
                <a:avLst/>
                <a:gdLst>
                  <a:gd name="T0" fmla="*/ 9 w 31"/>
                  <a:gd name="T1" fmla="*/ 22 h 31"/>
                  <a:gd name="T2" fmla="*/ 9 w 31"/>
                  <a:gd name="T3" fmla="*/ 8 h 31"/>
                  <a:gd name="T4" fmla="*/ 22 w 31"/>
                  <a:gd name="T5" fmla="*/ 8 h 31"/>
                  <a:gd name="T6" fmla="*/ 22 w 31"/>
                  <a:gd name="T7" fmla="*/ 22 h 31"/>
                  <a:gd name="T8" fmla="*/ 9 w 31"/>
                  <a:gd name="T9" fmla="*/ 22 h 31"/>
                  <a:gd name="T10" fmla="*/ 31 w 31"/>
                  <a:gd name="T11" fmla="*/ 0 h 31"/>
                  <a:gd name="T12" fmla="*/ 0 w 31"/>
                  <a:gd name="T13" fmla="*/ 0 h 31"/>
                  <a:gd name="T14" fmla="*/ 0 w 31"/>
                  <a:gd name="T15" fmla="*/ 31 h 31"/>
                  <a:gd name="T16" fmla="*/ 31 w 31"/>
                  <a:gd name="T17" fmla="*/ 31 h 31"/>
                  <a:gd name="T18" fmla="*/ 31 w 31"/>
                  <a:gd name="T1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31">
                    <a:moveTo>
                      <a:pt x="9" y="22"/>
                    </a:moveTo>
                    <a:lnTo>
                      <a:pt x="9" y="8"/>
                    </a:lnTo>
                    <a:lnTo>
                      <a:pt x="22" y="8"/>
                    </a:lnTo>
                    <a:lnTo>
                      <a:pt x="22" y="22"/>
                    </a:lnTo>
                    <a:lnTo>
                      <a:pt x="9" y="22"/>
                    </a:lnTo>
                    <a:moveTo>
                      <a:pt x="31" y="0"/>
                    </a:moveTo>
                    <a:lnTo>
                      <a:pt x="0" y="0"/>
                    </a:lnTo>
                    <a:lnTo>
                      <a:pt x="0" y="31"/>
                    </a:lnTo>
                    <a:lnTo>
                      <a:pt x="31" y="31"/>
                    </a:lnTo>
                    <a:lnTo>
                      <a:pt x="3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39" name="Rectangle 633">
                <a:extLst>
                  <a:ext uri="{FF2B5EF4-FFF2-40B4-BE49-F238E27FC236}">
                    <a16:creationId xmlns:a16="http://schemas.microsoft.com/office/drawing/2014/main" id="{8B05350B-A443-498C-A7EA-3F7D2CA6699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424" y="2174"/>
                <a:ext cx="16" cy="1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40" name="Rectangle 634">
                <a:extLst>
                  <a:ext uri="{FF2B5EF4-FFF2-40B4-BE49-F238E27FC236}">
                    <a16:creationId xmlns:a16="http://schemas.microsoft.com/office/drawing/2014/main" id="{D2A76637-ACFD-4E34-9455-177ACFF7606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424" y="2174"/>
                <a:ext cx="16" cy="1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41" name="Rectangle 635">
                <a:extLst>
                  <a:ext uri="{FF2B5EF4-FFF2-40B4-BE49-F238E27FC236}">
                    <a16:creationId xmlns:a16="http://schemas.microsoft.com/office/drawing/2014/main" id="{87F5A9FE-CBA6-4319-91C0-2A1C3B0BAA5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213" y="2086"/>
                <a:ext cx="36" cy="3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42" name="Rectangle 636">
                <a:extLst>
                  <a:ext uri="{FF2B5EF4-FFF2-40B4-BE49-F238E27FC236}">
                    <a16:creationId xmlns:a16="http://schemas.microsoft.com/office/drawing/2014/main" id="{B6E57678-645E-43A6-8757-CF7CC730BE6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213" y="2086"/>
                <a:ext cx="36" cy="3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43" name="Rectangle 637">
                <a:extLst>
                  <a:ext uri="{FF2B5EF4-FFF2-40B4-BE49-F238E27FC236}">
                    <a16:creationId xmlns:a16="http://schemas.microsoft.com/office/drawing/2014/main" id="{D2DCB254-B3DA-4464-AD27-A56A9E52427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117" y="2013"/>
                <a:ext cx="19" cy="1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44" name="Rectangle 638">
                <a:extLst>
                  <a:ext uri="{FF2B5EF4-FFF2-40B4-BE49-F238E27FC236}">
                    <a16:creationId xmlns:a16="http://schemas.microsoft.com/office/drawing/2014/main" id="{FE82C322-AEA7-4B2A-B5E9-AC32E258209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117" y="2013"/>
                <a:ext cx="19" cy="1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45" name="Freeform 639">
                <a:extLst>
                  <a:ext uri="{FF2B5EF4-FFF2-40B4-BE49-F238E27FC236}">
                    <a16:creationId xmlns:a16="http://schemas.microsoft.com/office/drawing/2014/main" id="{2FBBF355-8FF7-4EE7-8822-B05C53EDA5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2" y="2008"/>
                <a:ext cx="42" cy="24"/>
              </a:xfrm>
              <a:custGeom>
                <a:avLst/>
                <a:gdLst>
                  <a:gd name="T0" fmla="*/ 42 w 42"/>
                  <a:gd name="T1" fmla="*/ 0 h 24"/>
                  <a:gd name="T2" fmla="*/ 0 w 42"/>
                  <a:gd name="T3" fmla="*/ 0 h 24"/>
                  <a:gd name="T4" fmla="*/ 0 w 42"/>
                  <a:gd name="T5" fmla="*/ 24 h 24"/>
                  <a:gd name="T6" fmla="*/ 31 w 42"/>
                  <a:gd name="T7" fmla="*/ 24 h 24"/>
                  <a:gd name="T8" fmla="*/ 38 w 42"/>
                  <a:gd name="T9" fmla="*/ 20 h 24"/>
                  <a:gd name="T10" fmla="*/ 42 w 42"/>
                  <a:gd name="T11" fmla="*/ 21 h 24"/>
                  <a:gd name="T12" fmla="*/ 42 w 42"/>
                  <a:gd name="T1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24">
                    <a:moveTo>
                      <a:pt x="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31" y="24"/>
                      <a:pt x="31" y="24"/>
                      <a:pt x="31" y="24"/>
                    </a:cubicBezTo>
                    <a:cubicBezTo>
                      <a:pt x="33" y="22"/>
                      <a:pt x="35" y="20"/>
                      <a:pt x="38" y="20"/>
                    </a:cubicBezTo>
                    <a:cubicBezTo>
                      <a:pt x="39" y="20"/>
                      <a:pt x="41" y="21"/>
                      <a:pt x="42" y="21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46" name="Freeform 640">
                <a:extLst>
                  <a:ext uri="{FF2B5EF4-FFF2-40B4-BE49-F238E27FC236}">
                    <a16:creationId xmlns:a16="http://schemas.microsoft.com/office/drawing/2014/main" id="{0753C82B-7688-44E3-B83E-8B4E79C82B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13" y="2028"/>
                <a:ext cx="11" cy="4"/>
              </a:xfrm>
              <a:custGeom>
                <a:avLst/>
                <a:gdLst>
                  <a:gd name="T0" fmla="*/ 7 w 11"/>
                  <a:gd name="T1" fmla="*/ 0 h 4"/>
                  <a:gd name="T2" fmla="*/ 0 w 11"/>
                  <a:gd name="T3" fmla="*/ 4 h 4"/>
                  <a:gd name="T4" fmla="*/ 11 w 11"/>
                  <a:gd name="T5" fmla="*/ 4 h 4"/>
                  <a:gd name="T6" fmla="*/ 11 w 11"/>
                  <a:gd name="T7" fmla="*/ 1 h 4"/>
                  <a:gd name="T8" fmla="*/ 7 w 11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">
                    <a:moveTo>
                      <a:pt x="7" y="0"/>
                    </a:moveTo>
                    <a:cubicBezTo>
                      <a:pt x="4" y="0"/>
                      <a:pt x="2" y="2"/>
                      <a:pt x="0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0" y="1"/>
                      <a:pt x="8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47" name="Freeform 641">
                <a:extLst>
                  <a:ext uri="{FF2B5EF4-FFF2-40B4-BE49-F238E27FC236}">
                    <a16:creationId xmlns:a16="http://schemas.microsoft.com/office/drawing/2014/main" id="{F2DCECFC-9E1F-42DE-A821-2A9737236C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2" y="2038"/>
                <a:ext cx="42" cy="12"/>
              </a:xfrm>
              <a:custGeom>
                <a:avLst/>
                <a:gdLst>
                  <a:gd name="T0" fmla="*/ 31 w 42"/>
                  <a:gd name="T1" fmla="*/ 0 h 12"/>
                  <a:gd name="T2" fmla="*/ 1 w 42"/>
                  <a:gd name="T3" fmla="*/ 0 h 12"/>
                  <a:gd name="T4" fmla="*/ 0 w 42"/>
                  <a:gd name="T5" fmla="*/ 1 h 12"/>
                  <a:gd name="T6" fmla="*/ 0 w 42"/>
                  <a:gd name="T7" fmla="*/ 12 h 12"/>
                  <a:gd name="T8" fmla="*/ 42 w 42"/>
                  <a:gd name="T9" fmla="*/ 12 h 12"/>
                  <a:gd name="T10" fmla="*/ 42 w 42"/>
                  <a:gd name="T11" fmla="*/ 4 h 12"/>
                  <a:gd name="T12" fmla="*/ 38 w 42"/>
                  <a:gd name="T13" fmla="*/ 5 h 12"/>
                  <a:gd name="T14" fmla="*/ 31 w 42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12">
                    <a:moveTo>
                      <a:pt x="3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1" y="5"/>
                      <a:pt x="39" y="5"/>
                      <a:pt x="38" y="5"/>
                    </a:cubicBezTo>
                    <a:cubicBezTo>
                      <a:pt x="34" y="5"/>
                      <a:pt x="31" y="3"/>
                      <a:pt x="3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48" name="Freeform 642">
                <a:extLst>
                  <a:ext uri="{FF2B5EF4-FFF2-40B4-BE49-F238E27FC236}">
                    <a16:creationId xmlns:a16="http://schemas.microsoft.com/office/drawing/2014/main" id="{7DB121F3-4F62-4166-B83E-0EA1005B55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13" y="2038"/>
                <a:ext cx="11" cy="5"/>
              </a:xfrm>
              <a:custGeom>
                <a:avLst/>
                <a:gdLst>
                  <a:gd name="T0" fmla="*/ 11 w 11"/>
                  <a:gd name="T1" fmla="*/ 0 h 5"/>
                  <a:gd name="T2" fmla="*/ 0 w 11"/>
                  <a:gd name="T3" fmla="*/ 0 h 5"/>
                  <a:gd name="T4" fmla="*/ 7 w 11"/>
                  <a:gd name="T5" fmla="*/ 5 h 5"/>
                  <a:gd name="T6" fmla="*/ 11 w 11"/>
                  <a:gd name="T7" fmla="*/ 4 h 5"/>
                  <a:gd name="T8" fmla="*/ 11 w 11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5">
                    <a:moveTo>
                      <a:pt x="1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3" y="5"/>
                      <a:pt x="7" y="5"/>
                    </a:cubicBezTo>
                    <a:cubicBezTo>
                      <a:pt x="8" y="5"/>
                      <a:pt x="10" y="5"/>
                      <a:pt x="11" y="4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49" name="Freeform 643">
                <a:extLst>
                  <a:ext uri="{FF2B5EF4-FFF2-40B4-BE49-F238E27FC236}">
                    <a16:creationId xmlns:a16="http://schemas.microsoft.com/office/drawing/2014/main" id="{F54154C2-1228-4650-8181-4793B5E27E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2" y="2038"/>
                <a:ext cx="1" cy="1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50" name="Freeform 644">
                <a:extLst>
                  <a:ext uri="{FF2B5EF4-FFF2-40B4-BE49-F238E27FC236}">
                    <a16:creationId xmlns:a16="http://schemas.microsoft.com/office/drawing/2014/main" id="{3A13F7B3-8CB3-441E-8302-A51F150E25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2" y="2032"/>
                <a:ext cx="42" cy="6"/>
              </a:xfrm>
              <a:custGeom>
                <a:avLst/>
                <a:gdLst>
                  <a:gd name="T0" fmla="*/ 42 w 42"/>
                  <a:gd name="T1" fmla="*/ 0 h 6"/>
                  <a:gd name="T2" fmla="*/ 31 w 42"/>
                  <a:gd name="T3" fmla="*/ 0 h 6"/>
                  <a:gd name="T4" fmla="*/ 0 w 42"/>
                  <a:gd name="T5" fmla="*/ 0 h 6"/>
                  <a:gd name="T6" fmla="*/ 0 w 42"/>
                  <a:gd name="T7" fmla="*/ 6 h 6"/>
                  <a:gd name="T8" fmla="*/ 1 w 42"/>
                  <a:gd name="T9" fmla="*/ 6 h 6"/>
                  <a:gd name="T10" fmla="*/ 31 w 42"/>
                  <a:gd name="T11" fmla="*/ 6 h 6"/>
                  <a:gd name="T12" fmla="*/ 42 w 42"/>
                  <a:gd name="T13" fmla="*/ 6 h 6"/>
                  <a:gd name="T14" fmla="*/ 42 w 42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6">
                    <a:moveTo>
                      <a:pt x="42" y="0"/>
                    </a:moveTo>
                    <a:lnTo>
                      <a:pt x="31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31" y="6"/>
                    </a:lnTo>
                    <a:lnTo>
                      <a:pt x="42" y="6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51" name="Freeform 645">
                <a:extLst>
                  <a:ext uri="{FF2B5EF4-FFF2-40B4-BE49-F238E27FC236}">
                    <a16:creationId xmlns:a16="http://schemas.microsoft.com/office/drawing/2014/main" id="{ADBC02B3-3B4E-4F3F-95EE-611EAD3F1E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2" y="2032"/>
                <a:ext cx="42" cy="6"/>
              </a:xfrm>
              <a:custGeom>
                <a:avLst/>
                <a:gdLst>
                  <a:gd name="T0" fmla="*/ 42 w 42"/>
                  <a:gd name="T1" fmla="*/ 0 h 6"/>
                  <a:gd name="T2" fmla="*/ 31 w 42"/>
                  <a:gd name="T3" fmla="*/ 0 h 6"/>
                  <a:gd name="T4" fmla="*/ 0 w 42"/>
                  <a:gd name="T5" fmla="*/ 0 h 6"/>
                  <a:gd name="T6" fmla="*/ 0 w 42"/>
                  <a:gd name="T7" fmla="*/ 6 h 6"/>
                  <a:gd name="T8" fmla="*/ 1 w 42"/>
                  <a:gd name="T9" fmla="*/ 6 h 6"/>
                  <a:gd name="T10" fmla="*/ 31 w 42"/>
                  <a:gd name="T11" fmla="*/ 6 h 6"/>
                  <a:gd name="T12" fmla="*/ 42 w 42"/>
                  <a:gd name="T13" fmla="*/ 6 h 6"/>
                  <a:gd name="T14" fmla="*/ 42 w 42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6">
                    <a:moveTo>
                      <a:pt x="42" y="0"/>
                    </a:moveTo>
                    <a:lnTo>
                      <a:pt x="31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31" y="6"/>
                    </a:lnTo>
                    <a:lnTo>
                      <a:pt x="42" y="6"/>
                    </a:lnTo>
                    <a:lnTo>
                      <a:pt x="42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52" name="Rectangle 646">
                <a:extLst>
                  <a:ext uri="{FF2B5EF4-FFF2-40B4-BE49-F238E27FC236}">
                    <a16:creationId xmlns:a16="http://schemas.microsoft.com/office/drawing/2014/main" id="{5516D6D7-1757-4CB9-9084-A8CA5846D77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85" y="2726"/>
                <a:ext cx="16" cy="1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53" name="Rectangle 647">
                <a:extLst>
                  <a:ext uri="{FF2B5EF4-FFF2-40B4-BE49-F238E27FC236}">
                    <a16:creationId xmlns:a16="http://schemas.microsoft.com/office/drawing/2014/main" id="{80DD34F6-A00A-439F-8E10-E7EBD6D56A8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785" y="2726"/>
                <a:ext cx="16" cy="1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54" name="Freeform 648">
                <a:extLst>
                  <a:ext uri="{FF2B5EF4-FFF2-40B4-BE49-F238E27FC236}">
                    <a16:creationId xmlns:a16="http://schemas.microsoft.com/office/drawing/2014/main" id="{3F7B9135-6457-4096-BB9E-738E15114D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19" y="2328"/>
                <a:ext cx="3527" cy="142"/>
              </a:xfrm>
              <a:custGeom>
                <a:avLst/>
                <a:gdLst>
                  <a:gd name="T0" fmla="*/ 1475 w 3527"/>
                  <a:gd name="T1" fmla="*/ 0 h 142"/>
                  <a:gd name="T2" fmla="*/ 1864 w 3527"/>
                  <a:gd name="T3" fmla="*/ 0 h 142"/>
                  <a:gd name="T4" fmla="*/ 1956 w 3527"/>
                  <a:gd name="T5" fmla="*/ 92 h 142"/>
                  <a:gd name="T6" fmla="*/ 2283 w 3527"/>
                  <a:gd name="T7" fmla="*/ 92 h 142"/>
                  <a:gd name="T8" fmla="*/ 2362 w 3527"/>
                  <a:gd name="T9" fmla="*/ 12 h 142"/>
                  <a:gd name="T10" fmla="*/ 3527 w 3527"/>
                  <a:gd name="T11" fmla="*/ 12 h 142"/>
                  <a:gd name="T12" fmla="*/ 3527 w 3527"/>
                  <a:gd name="T13" fmla="*/ 21 h 142"/>
                  <a:gd name="T14" fmla="*/ 2366 w 3527"/>
                  <a:gd name="T15" fmla="*/ 21 h 142"/>
                  <a:gd name="T16" fmla="*/ 2287 w 3527"/>
                  <a:gd name="T17" fmla="*/ 101 h 142"/>
                  <a:gd name="T18" fmla="*/ 1952 w 3527"/>
                  <a:gd name="T19" fmla="*/ 101 h 142"/>
                  <a:gd name="T20" fmla="*/ 1860 w 3527"/>
                  <a:gd name="T21" fmla="*/ 8 h 142"/>
                  <a:gd name="T22" fmla="*/ 1479 w 3527"/>
                  <a:gd name="T23" fmla="*/ 8 h 142"/>
                  <a:gd name="T24" fmla="*/ 1350 w 3527"/>
                  <a:gd name="T25" fmla="*/ 136 h 142"/>
                  <a:gd name="T26" fmla="*/ 972 w 3527"/>
                  <a:gd name="T27" fmla="*/ 136 h 142"/>
                  <a:gd name="T28" fmla="*/ 846 w 3527"/>
                  <a:gd name="T29" fmla="*/ 9 h 142"/>
                  <a:gd name="T30" fmla="*/ 138 w 3527"/>
                  <a:gd name="T31" fmla="*/ 9 h 142"/>
                  <a:gd name="T32" fmla="*/ 6 w 3527"/>
                  <a:gd name="T33" fmla="*/ 142 h 142"/>
                  <a:gd name="T34" fmla="*/ 0 w 3527"/>
                  <a:gd name="T35" fmla="*/ 136 h 142"/>
                  <a:gd name="T36" fmla="*/ 135 w 3527"/>
                  <a:gd name="T37" fmla="*/ 1 h 142"/>
                  <a:gd name="T38" fmla="*/ 849 w 3527"/>
                  <a:gd name="T39" fmla="*/ 1 h 142"/>
                  <a:gd name="T40" fmla="*/ 976 w 3527"/>
                  <a:gd name="T41" fmla="*/ 128 h 142"/>
                  <a:gd name="T42" fmla="*/ 1347 w 3527"/>
                  <a:gd name="T43" fmla="*/ 128 h 142"/>
                  <a:gd name="T44" fmla="*/ 1475 w 3527"/>
                  <a:gd name="T45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527" h="142">
                    <a:moveTo>
                      <a:pt x="1475" y="0"/>
                    </a:moveTo>
                    <a:lnTo>
                      <a:pt x="1864" y="0"/>
                    </a:lnTo>
                    <a:lnTo>
                      <a:pt x="1956" y="92"/>
                    </a:lnTo>
                    <a:lnTo>
                      <a:pt x="2283" y="92"/>
                    </a:lnTo>
                    <a:lnTo>
                      <a:pt x="2362" y="12"/>
                    </a:lnTo>
                    <a:lnTo>
                      <a:pt x="3527" y="12"/>
                    </a:lnTo>
                    <a:lnTo>
                      <a:pt x="3527" y="21"/>
                    </a:lnTo>
                    <a:lnTo>
                      <a:pt x="2366" y="21"/>
                    </a:lnTo>
                    <a:lnTo>
                      <a:pt x="2287" y="101"/>
                    </a:lnTo>
                    <a:lnTo>
                      <a:pt x="1952" y="101"/>
                    </a:lnTo>
                    <a:lnTo>
                      <a:pt x="1860" y="8"/>
                    </a:lnTo>
                    <a:lnTo>
                      <a:pt x="1479" y="8"/>
                    </a:lnTo>
                    <a:lnTo>
                      <a:pt x="1350" y="136"/>
                    </a:lnTo>
                    <a:lnTo>
                      <a:pt x="972" y="136"/>
                    </a:lnTo>
                    <a:lnTo>
                      <a:pt x="846" y="9"/>
                    </a:lnTo>
                    <a:lnTo>
                      <a:pt x="138" y="9"/>
                    </a:lnTo>
                    <a:lnTo>
                      <a:pt x="6" y="142"/>
                    </a:lnTo>
                    <a:lnTo>
                      <a:pt x="0" y="136"/>
                    </a:lnTo>
                    <a:lnTo>
                      <a:pt x="135" y="1"/>
                    </a:lnTo>
                    <a:lnTo>
                      <a:pt x="849" y="1"/>
                    </a:lnTo>
                    <a:lnTo>
                      <a:pt x="976" y="128"/>
                    </a:lnTo>
                    <a:lnTo>
                      <a:pt x="1347" y="128"/>
                    </a:lnTo>
                    <a:lnTo>
                      <a:pt x="14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55" name="Oval 649">
                <a:extLst>
                  <a:ext uri="{FF2B5EF4-FFF2-40B4-BE49-F238E27FC236}">
                    <a16:creationId xmlns:a16="http://schemas.microsoft.com/office/drawing/2014/main" id="{7A188E83-D65B-4923-AAF9-FE210F7AEB3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729" y="2329"/>
                <a:ext cx="32" cy="3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56" name="Freeform 650">
                <a:extLst>
                  <a:ext uri="{FF2B5EF4-FFF2-40B4-BE49-F238E27FC236}">
                    <a16:creationId xmlns:a16="http://schemas.microsoft.com/office/drawing/2014/main" id="{FACDE8E0-04F2-46FF-9412-00846F27A5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5" y="2449"/>
                <a:ext cx="34" cy="35"/>
              </a:xfrm>
              <a:custGeom>
                <a:avLst/>
                <a:gdLst>
                  <a:gd name="T0" fmla="*/ 6 w 34"/>
                  <a:gd name="T1" fmla="*/ 6 h 35"/>
                  <a:gd name="T2" fmla="*/ 6 w 34"/>
                  <a:gd name="T3" fmla="*/ 28 h 35"/>
                  <a:gd name="T4" fmla="*/ 28 w 34"/>
                  <a:gd name="T5" fmla="*/ 28 h 35"/>
                  <a:gd name="T6" fmla="*/ 28 w 34"/>
                  <a:gd name="T7" fmla="*/ 6 h 35"/>
                  <a:gd name="T8" fmla="*/ 6 w 34"/>
                  <a:gd name="T9" fmla="*/ 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5">
                    <a:moveTo>
                      <a:pt x="6" y="6"/>
                    </a:moveTo>
                    <a:cubicBezTo>
                      <a:pt x="0" y="12"/>
                      <a:pt x="0" y="22"/>
                      <a:pt x="6" y="28"/>
                    </a:cubicBezTo>
                    <a:cubicBezTo>
                      <a:pt x="12" y="35"/>
                      <a:pt x="22" y="35"/>
                      <a:pt x="28" y="28"/>
                    </a:cubicBezTo>
                    <a:cubicBezTo>
                      <a:pt x="34" y="22"/>
                      <a:pt x="34" y="12"/>
                      <a:pt x="28" y="6"/>
                    </a:cubicBezTo>
                    <a:cubicBezTo>
                      <a:pt x="22" y="0"/>
                      <a:pt x="12" y="0"/>
                      <a:pt x="6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57" name="Freeform 651">
                <a:extLst>
                  <a:ext uri="{FF2B5EF4-FFF2-40B4-BE49-F238E27FC236}">
                    <a16:creationId xmlns:a16="http://schemas.microsoft.com/office/drawing/2014/main" id="{67D381AF-7006-4760-BB86-5365F9CAA2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0" y="2022"/>
                <a:ext cx="3646" cy="154"/>
              </a:xfrm>
              <a:custGeom>
                <a:avLst/>
                <a:gdLst>
                  <a:gd name="T0" fmla="*/ 0 w 3646"/>
                  <a:gd name="T1" fmla="*/ 0 h 154"/>
                  <a:gd name="T2" fmla="*/ 113 w 3646"/>
                  <a:gd name="T3" fmla="*/ 0 h 154"/>
                  <a:gd name="T4" fmla="*/ 257 w 3646"/>
                  <a:gd name="T5" fmla="*/ 144 h 154"/>
                  <a:gd name="T6" fmla="*/ 965 w 3646"/>
                  <a:gd name="T7" fmla="*/ 144 h 154"/>
                  <a:gd name="T8" fmla="*/ 1091 w 3646"/>
                  <a:gd name="T9" fmla="*/ 17 h 154"/>
                  <a:gd name="T10" fmla="*/ 1469 w 3646"/>
                  <a:gd name="T11" fmla="*/ 17 h 154"/>
                  <a:gd name="T12" fmla="*/ 1598 w 3646"/>
                  <a:gd name="T13" fmla="*/ 145 h 154"/>
                  <a:gd name="T14" fmla="*/ 1979 w 3646"/>
                  <a:gd name="T15" fmla="*/ 145 h 154"/>
                  <a:gd name="T16" fmla="*/ 2071 w 3646"/>
                  <a:gd name="T17" fmla="*/ 53 h 154"/>
                  <a:gd name="T18" fmla="*/ 2406 w 3646"/>
                  <a:gd name="T19" fmla="*/ 53 h 154"/>
                  <a:gd name="T20" fmla="*/ 2485 w 3646"/>
                  <a:gd name="T21" fmla="*/ 133 h 154"/>
                  <a:gd name="T22" fmla="*/ 3646 w 3646"/>
                  <a:gd name="T23" fmla="*/ 133 h 154"/>
                  <a:gd name="T24" fmla="*/ 3646 w 3646"/>
                  <a:gd name="T25" fmla="*/ 141 h 154"/>
                  <a:gd name="T26" fmla="*/ 2481 w 3646"/>
                  <a:gd name="T27" fmla="*/ 141 h 154"/>
                  <a:gd name="T28" fmla="*/ 2402 w 3646"/>
                  <a:gd name="T29" fmla="*/ 61 h 154"/>
                  <a:gd name="T30" fmla="*/ 2075 w 3646"/>
                  <a:gd name="T31" fmla="*/ 61 h 154"/>
                  <a:gd name="T32" fmla="*/ 1983 w 3646"/>
                  <a:gd name="T33" fmla="*/ 154 h 154"/>
                  <a:gd name="T34" fmla="*/ 1594 w 3646"/>
                  <a:gd name="T35" fmla="*/ 154 h 154"/>
                  <a:gd name="T36" fmla="*/ 1466 w 3646"/>
                  <a:gd name="T37" fmla="*/ 25 h 154"/>
                  <a:gd name="T38" fmla="*/ 1095 w 3646"/>
                  <a:gd name="T39" fmla="*/ 25 h 154"/>
                  <a:gd name="T40" fmla="*/ 968 w 3646"/>
                  <a:gd name="T41" fmla="*/ 153 h 154"/>
                  <a:gd name="T42" fmla="*/ 254 w 3646"/>
                  <a:gd name="T43" fmla="*/ 153 h 154"/>
                  <a:gd name="T44" fmla="*/ 109 w 3646"/>
                  <a:gd name="T45" fmla="*/ 8 h 154"/>
                  <a:gd name="T46" fmla="*/ 0 w 3646"/>
                  <a:gd name="T47" fmla="*/ 8 h 154"/>
                  <a:gd name="T48" fmla="*/ 0 w 3646"/>
                  <a:gd name="T49" fmla="*/ 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646" h="154">
                    <a:moveTo>
                      <a:pt x="0" y="0"/>
                    </a:moveTo>
                    <a:lnTo>
                      <a:pt x="113" y="0"/>
                    </a:lnTo>
                    <a:lnTo>
                      <a:pt x="257" y="144"/>
                    </a:lnTo>
                    <a:lnTo>
                      <a:pt x="965" y="144"/>
                    </a:lnTo>
                    <a:lnTo>
                      <a:pt x="1091" y="17"/>
                    </a:lnTo>
                    <a:lnTo>
                      <a:pt x="1469" y="17"/>
                    </a:lnTo>
                    <a:lnTo>
                      <a:pt x="1598" y="145"/>
                    </a:lnTo>
                    <a:lnTo>
                      <a:pt x="1979" y="145"/>
                    </a:lnTo>
                    <a:lnTo>
                      <a:pt x="2071" y="53"/>
                    </a:lnTo>
                    <a:lnTo>
                      <a:pt x="2406" y="53"/>
                    </a:lnTo>
                    <a:lnTo>
                      <a:pt x="2485" y="133"/>
                    </a:lnTo>
                    <a:lnTo>
                      <a:pt x="3646" y="133"/>
                    </a:lnTo>
                    <a:lnTo>
                      <a:pt x="3646" y="141"/>
                    </a:lnTo>
                    <a:lnTo>
                      <a:pt x="2481" y="141"/>
                    </a:lnTo>
                    <a:lnTo>
                      <a:pt x="2402" y="61"/>
                    </a:lnTo>
                    <a:lnTo>
                      <a:pt x="2075" y="61"/>
                    </a:lnTo>
                    <a:lnTo>
                      <a:pt x="1983" y="154"/>
                    </a:lnTo>
                    <a:lnTo>
                      <a:pt x="1594" y="154"/>
                    </a:lnTo>
                    <a:lnTo>
                      <a:pt x="1466" y="25"/>
                    </a:lnTo>
                    <a:lnTo>
                      <a:pt x="1095" y="25"/>
                    </a:lnTo>
                    <a:lnTo>
                      <a:pt x="968" y="153"/>
                    </a:lnTo>
                    <a:lnTo>
                      <a:pt x="254" y="153"/>
                    </a:lnTo>
                    <a:lnTo>
                      <a:pt x="109" y="8"/>
                    </a:lnTo>
                    <a:lnTo>
                      <a:pt x="0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58" name="Oval 652">
                <a:extLst>
                  <a:ext uri="{FF2B5EF4-FFF2-40B4-BE49-F238E27FC236}">
                    <a16:creationId xmlns:a16="http://schemas.microsoft.com/office/drawing/2014/main" id="{5CFD6677-5048-4E49-AB58-DF93076526D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729" y="2142"/>
                <a:ext cx="32" cy="3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59" name="Oval 653">
                <a:extLst>
                  <a:ext uri="{FF2B5EF4-FFF2-40B4-BE49-F238E27FC236}">
                    <a16:creationId xmlns:a16="http://schemas.microsoft.com/office/drawing/2014/main" id="{6828D53E-1A4A-44EA-9196-8B0DBC766BB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085" y="2010"/>
                <a:ext cx="32" cy="3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60" name="Freeform 654">
                <a:extLst>
                  <a:ext uri="{FF2B5EF4-FFF2-40B4-BE49-F238E27FC236}">
                    <a16:creationId xmlns:a16="http://schemas.microsoft.com/office/drawing/2014/main" id="{1A94021F-EE6B-4D7C-BFEB-B46293F7BC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85" y="2341"/>
                <a:ext cx="591" cy="111"/>
              </a:xfrm>
              <a:custGeom>
                <a:avLst/>
                <a:gdLst>
                  <a:gd name="T0" fmla="*/ 585 w 591"/>
                  <a:gd name="T1" fmla="*/ 0 h 111"/>
                  <a:gd name="T2" fmla="*/ 591 w 591"/>
                  <a:gd name="T3" fmla="*/ 6 h 111"/>
                  <a:gd name="T4" fmla="*/ 488 w 591"/>
                  <a:gd name="T5" fmla="*/ 111 h 111"/>
                  <a:gd name="T6" fmla="*/ 0 w 591"/>
                  <a:gd name="T7" fmla="*/ 111 h 111"/>
                  <a:gd name="T8" fmla="*/ 0 w 591"/>
                  <a:gd name="T9" fmla="*/ 102 h 111"/>
                  <a:gd name="T10" fmla="*/ 484 w 591"/>
                  <a:gd name="T11" fmla="*/ 102 h 111"/>
                  <a:gd name="T12" fmla="*/ 585 w 591"/>
                  <a:gd name="T1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1" h="111">
                    <a:moveTo>
                      <a:pt x="585" y="0"/>
                    </a:moveTo>
                    <a:lnTo>
                      <a:pt x="591" y="6"/>
                    </a:lnTo>
                    <a:lnTo>
                      <a:pt x="488" y="111"/>
                    </a:lnTo>
                    <a:lnTo>
                      <a:pt x="0" y="111"/>
                    </a:lnTo>
                    <a:lnTo>
                      <a:pt x="0" y="102"/>
                    </a:lnTo>
                    <a:lnTo>
                      <a:pt x="484" y="102"/>
                    </a:lnTo>
                    <a:lnTo>
                      <a:pt x="58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61" name="Oval 655">
                <a:extLst>
                  <a:ext uri="{FF2B5EF4-FFF2-40B4-BE49-F238E27FC236}">
                    <a16:creationId xmlns:a16="http://schemas.microsoft.com/office/drawing/2014/main" id="{1658F5A0-D269-43BB-ABE3-F0FCFD4B17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4870" y="2432"/>
                <a:ext cx="31" cy="3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62" name="Freeform 656">
                <a:extLst>
                  <a:ext uri="{FF2B5EF4-FFF2-40B4-BE49-F238E27FC236}">
                    <a16:creationId xmlns:a16="http://schemas.microsoft.com/office/drawing/2014/main" id="{0FC0E524-40C5-4411-83B3-A28AEC20DB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54" y="2329"/>
                <a:ext cx="672" cy="324"/>
              </a:xfrm>
              <a:custGeom>
                <a:avLst/>
                <a:gdLst>
                  <a:gd name="T0" fmla="*/ 666 w 672"/>
                  <a:gd name="T1" fmla="*/ 0 h 324"/>
                  <a:gd name="T2" fmla="*/ 672 w 672"/>
                  <a:gd name="T3" fmla="*/ 6 h 324"/>
                  <a:gd name="T4" fmla="*/ 448 w 672"/>
                  <a:gd name="T5" fmla="*/ 231 h 324"/>
                  <a:gd name="T6" fmla="*/ 98 w 672"/>
                  <a:gd name="T7" fmla="*/ 231 h 324"/>
                  <a:gd name="T8" fmla="*/ 5 w 672"/>
                  <a:gd name="T9" fmla="*/ 324 h 324"/>
                  <a:gd name="T10" fmla="*/ 0 w 672"/>
                  <a:gd name="T11" fmla="*/ 318 h 324"/>
                  <a:gd name="T12" fmla="*/ 95 w 672"/>
                  <a:gd name="T13" fmla="*/ 223 h 324"/>
                  <a:gd name="T14" fmla="*/ 444 w 672"/>
                  <a:gd name="T15" fmla="*/ 223 h 324"/>
                  <a:gd name="T16" fmla="*/ 666 w 672"/>
                  <a:gd name="T17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2" h="324">
                    <a:moveTo>
                      <a:pt x="666" y="0"/>
                    </a:moveTo>
                    <a:lnTo>
                      <a:pt x="672" y="6"/>
                    </a:lnTo>
                    <a:lnTo>
                      <a:pt x="448" y="231"/>
                    </a:lnTo>
                    <a:lnTo>
                      <a:pt x="98" y="231"/>
                    </a:lnTo>
                    <a:lnTo>
                      <a:pt x="5" y="324"/>
                    </a:lnTo>
                    <a:lnTo>
                      <a:pt x="0" y="318"/>
                    </a:lnTo>
                    <a:lnTo>
                      <a:pt x="95" y="223"/>
                    </a:lnTo>
                    <a:lnTo>
                      <a:pt x="444" y="223"/>
                    </a:lnTo>
                    <a:lnTo>
                      <a:pt x="6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63" name="Freeform 657">
                <a:extLst>
                  <a:ext uri="{FF2B5EF4-FFF2-40B4-BE49-F238E27FC236}">
                    <a16:creationId xmlns:a16="http://schemas.microsoft.com/office/drawing/2014/main" id="{0279248A-2CB4-452E-BECF-DE8553DA9B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40" y="2632"/>
                <a:ext cx="34" cy="35"/>
              </a:xfrm>
              <a:custGeom>
                <a:avLst/>
                <a:gdLst>
                  <a:gd name="T0" fmla="*/ 6 w 34"/>
                  <a:gd name="T1" fmla="*/ 6 h 35"/>
                  <a:gd name="T2" fmla="*/ 6 w 34"/>
                  <a:gd name="T3" fmla="*/ 29 h 35"/>
                  <a:gd name="T4" fmla="*/ 28 w 34"/>
                  <a:gd name="T5" fmla="*/ 29 h 35"/>
                  <a:gd name="T6" fmla="*/ 28 w 34"/>
                  <a:gd name="T7" fmla="*/ 6 h 35"/>
                  <a:gd name="T8" fmla="*/ 6 w 34"/>
                  <a:gd name="T9" fmla="*/ 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5">
                    <a:moveTo>
                      <a:pt x="6" y="6"/>
                    </a:moveTo>
                    <a:cubicBezTo>
                      <a:pt x="0" y="12"/>
                      <a:pt x="0" y="22"/>
                      <a:pt x="6" y="29"/>
                    </a:cubicBezTo>
                    <a:cubicBezTo>
                      <a:pt x="12" y="35"/>
                      <a:pt x="22" y="35"/>
                      <a:pt x="28" y="29"/>
                    </a:cubicBezTo>
                    <a:cubicBezTo>
                      <a:pt x="34" y="22"/>
                      <a:pt x="34" y="12"/>
                      <a:pt x="28" y="6"/>
                    </a:cubicBezTo>
                    <a:cubicBezTo>
                      <a:pt x="22" y="0"/>
                      <a:pt x="12" y="0"/>
                      <a:pt x="6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64" name="Freeform 658">
                <a:extLst>
                  <a:ext uri="{FF2B5EF4-FFF2-40B4-BE49-F238E27FC236}">
                    <a16:creationId xmlns:a16="http://schemas.microsoft.com/office/drawing/2014/main" id="{13647E88-6A4E-4B22-AB50-96FF9C3185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19" y="2330"/>
                <a:ext cx="873" cy="352"/>
              </a:xfrm>
              <a:custGeom>
                <a:avLst/>
                <a:gdLst>
                  <a:gd name="T0" fmla="*/ 867 w 873"/>
                  <a:gd name="T1" fmla="*/ 0 h 352"/>
                  <a:gd name="T2" fmla="*/ 873 w 873"/>
                  <a:gd name="T3" fmla="*/ 6 h 352"/>
                  <a:gd name="T4" fmla="*/ 763 w 873"/>
                  <a:gd name="T5" fmla="*/ 116 h 352"/>
                  <a:gd name="T6" fmla="*/ 445 w 873"/>
                  <a:gd name="T7" fmla="*/ 116 h 352"/>
                  <a:gd name="T8" fmla="*/ 242 w 873"/>
                  <a:gd name="T9" fmla="*/ 319 h 352"/>
                  <a:gd name="T10" fmla="*/ 39 w 873"/>
                  <a:gd name="T11" fmla="*/ 319 h 352"/>
                  <a:gd name="T12" fmla="*/ 6 w 873"/>
                  <a:gd name="T13" fmla="*/ 352 h 352"/>
                  <a:gd name="T14" fmla="*/ 0 w 873"/>
                  <a:gd name="T15" fmla="*/ 346 h 352"/>
                  <a:gd name="T16" fmla="*/ 35 w 873"/>
                  <a:gd name="T17" fmla="*/ 311 h 352"/>
                  <a:gd name="T18" fmla="*/ 239 w 873"/>
                  <a:gd name="T19" fmla="*/ 311 h 352"/>
                  <a:gd name="T20" fmla="*/ 441 w 873"/>
                  <a:gd name="T21" fmla="*/ 107 h 352"/>
                  <a:gd name="T22" fmla="*/ 760 w 873"/>
                  <a:gd name="T23" fmla="*/ 107 h 352"/>
                  <a:gd name="T24" fmla="*/ 867 w 873"/>
                  <a:gd name="T25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73" h="352">
                    <a:moveTo>
                      <a:pt x="867" y="0"/>
                    </a:moveTo>
                    <a:lnTo>
                      <a:pt x="873" y="6"/>
                    </a:lnTo>
                    <a:lnTo>
                      <a:pt x="763" y="116"/>
                    </a:lnTo>
                    <a:lnTo>
                      <a:pt x="445" y="116"/>
                    </a:lnTo>
                    <a:lnTo>
                      <a:pt x="242" y="319"/>
                    </a:lnTo>
                    <a:lnTo>
                      <a:pt x="39" y="319"/>
                    </a:lnTo>
                    <a:lnTo>
                      <a:pt x="6" y="352"/>
                    </a:lnTo>
                    <a:lnTo>
                      <a:pt x="0" y="346"/>
                    </a:lnTo>
                    <a:lnTo>
                      <a:pt x="35" y="311"/>
                    </a:lnTo>
                    <a:lnTo>
                      <a:pt x="239" y="311"/>
                    </a:lnTo>
                    <a:lnTo>
                      <a:pt x="441" y="107"/>
                    </a:lnTo>
                    <a:lnTo>
                      <a:pt x="760" y="107"/>
                    </a:lnTo>
                    <a:lnTo>
                      <a:pt x="8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65" name="Freeform 659">
                <a:extLst>
                  <a:ext uri="{FF2B5EF4-FFF2-40B4-BE49-F238E27FC236}">
                    <a16:creationId xmlns:a16="http://schemas.microsoft.com/office/drawing/2014/main" id="{8A194C98-849D-41C7-9EA9-9256E3E499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5" y="2661"/>
                <a:ext cx="35" cy="35"/>
              </a:xfrm>
              <a:custGeom>
                <a:avLst/>
                <a:gdLst>
                  <a:gd name="T0" fmla="*/ 6 w 35"/>
                  <a:gd name="T1" fmla="*/ 7 h 35"/>
                  <a:gd name="T2" fmla="*/ 6 w 35"/>
                  <a:gd name="T3" fmla="*/ 29 h 35"/>
                  <a:gd name="T4" fmla="*/ 28 w 35"/>
                  <a:gd name="T5" fmla="*/ 29 h 35"/>
                  <a:gd name="T6" fmla="*/ 28 w 35"/>
                  <a:gd name="T7" fmla="*/ 7 h 35"/>
                  <a:gd name="T8" fmla="*/ 6 w 35"/>
                  <a:gd name="T9" fmla="*/ 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5">
                    <a:moveTo>
                      <a:pt x="6" y="7"/>
                    </a:moveTo>
                    <a:cubicBezTo>
                      <a:pt x="0" y="13"/>
                      <a:pt x="0" y="23"/>
                      <a:pt x="6" y="29"/>
                    </a:cubicBezTo>
                    <a:cubicBezTo>
                      <a:pt x="12" y="35"/>
                      <a:pt x="22" y="35"/>
                      <a:pt x="28" y="29"/>
                    </a:cubicBezTo>
                    <a:cubicBezTo>
                      <a:pt x="35" y="23"/>
                      <a:pt x="35" y="13"/>
                      <a:pt x="28" y="7"/>
                    </a:cubicBezTo>
                    <a:cubicBezTo>
                      <a:pt x="22" y="0"/>
                      <a:pt x="12" y="0"/>
                      <a:pt x="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66" name="Freeform 660">
                <a:extLst>
                  <a:ext uri="{FF2B5EF4-FFF2-40B4-BE49-F238E27FC236}">
                    <a16:creationId xmlns:a16="http://schemas.microsoft.com/office/drawing/2014/main" id="{F4CF8BF0-D806-4CB4-BCA3-0252C79BCB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6" y="2189"/>
                <a:ext cx="1274" cy="158"/>
              </a:xfrm>
              <a:custGeom>
                <a:avLst/>
                <a:gdLst>
                  <a:gd name="T0" fmla="*/ 6 w 1274"/>
                  <a:gd name="T1" fmla="*/ 0 h 158"/>
                  <a:gd name="T2" fmla="*/ 51 w 1274"/>
                  <a:gd name="T3" fmla="*/ 45 h 158"/>
                  <a:gd name="T4" fmla="*/ 1166 w 1274"/>
                  <a:gd name="T5" fmla="*/ 45 h 158"/>
                  <a:gd name="T6" fmla="*/ 1274 w 1274"/>
                  <a:gd name="T7" fmla="*/ 152 h 158"/>
                  <a:gd name="T8" fmla="*/ 1268 w 1274"/>
                  <a:gd name="T9" fmla="*/ 158 h 158"/>
                  <a:gd name="T10" fmla="*/ 1163 w 1274"/>
                  <a:gd name="T11" fmla="*/ 53 h 158"/>
                  <a:gd name="T12" fmla="*/ 47 w 1274"/>
                  <a:gd name="T13" fmla="*/ 53 h 158"/>
                  <a:gd name="T14" fmla="*/ 0 w 1274"/>
                  <a:gd name="T15" fmla="*/ 6 h 158"/>
                  <a:gd name="T16" fmla="*/ 6 w 1274"/>
                  <a:gd name="T17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74" h="158">
                    <a:moveTo>
                      <a:pt x="6" y="0"/>
                    </a:moveTo>
                    <a:lnTo>
                      <a:pt x="51" y="45"/>
                    </a:lnTo>
                    <a:lnTo>
                      <a:pt x="1166" y="45"/>
                    </a:lnTo>
                    <a:lnTo>
                      <a:pt x="1274" y="152"/>
                    </a:lnTo>
                    <a:lnTo>
                      <a:pt x="1268" y="158"/>
                    </a:lnTo>
                    <a:lnTo>
                      <a:pt x="1163" y="53"/>
                    </a:lnTo>
                    <a:lnTo>
                      <a:pt x="47" y="53"/>
                    </a:lnTo>
                    <a:lnTo>
                      <a:pt x="0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  <p:sp>
            <p:nvSpPr>
              <p:cNvPr id="267" name="Freeform 661">
                <a:extLst>
                  <a:ext uri="{FF2B5EF4-FFF2-40B4-BE49-F238E27FC236}">
                    <a16:creationId xmlns:a16="http://schemas.microsoft.com/office/drawing/2014/main" id="{0BFB2574-269A-4D02-8007-7470C92A61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72" y="2175"/>
                <a:ext cx="34" cy="34"/>
              </a:xfrm>
              <a:custGeom>
                <a:avLst/>
                <a:gdLst>
                  <a:gd name="T0" fmla="*/ 28 w 34"/>
                  <a:gd name="T1" fmla="*/ 6 h 34"/>
                  <a:gd name="T2" fmla="*/ 6 w 34"/>
                  <a:gd name="T3" fmla="*/ 6 h 34"/>
                  <a:gd name="T4" fmla="*/ 6 w 34"/>
                  <a:gd name="T5" fmla="*/ 28 h 34"/>
                  <a:gd name="T6" fmla="*/ 28 w 34"/>
                  <a:gd name="T7" fmla="*/ 28 h 34"/>
                  <a:gd name="T8" fmla="*/ 28 w 34"/>
                  <a:gd name="T9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28" y="6"/>
                    </a:moveTo>
                    <a:cubicBezTo>
                      <a:pt x="22" y="0"/>
                      <a:pt x="12" y="0"/>
                      <a:pt x="6" y="6"/>
                    </a:cubicBezTo>
                    <a:cubicBezTo>
                      <a:pt x="0" y="12"/>
                      <a:pt x="0" y="22"/>
                      <a:pt x="6" y="28"/>
                    </a:cubicBezTo>
                    <a:cubicBezTo>
                      <a:pt x="12" y="34"/>
                      <a:pt x="22" y="34"/>
                      <a:pt x="28" y="28"/>
                    </a:cubicBezTo>
                    <a:cubicBezTo>
                      <a:pt x="34" y="22"/>
                      <a:pt x="34" y="12"/>
                      <a:pt x="28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799"/>
              </a:p>
            </p:txBody>
          </p:sp>
        </p:grpSp>
        <p:sp>
          <p:nvSpPr>
            <p:cNvPr id="61" name="Freeform 663">
              <a:extLst>
                <a:ext uri="{FF2B5EF4-FFF2-40B4-BE49-F238E27FC236}">
                  <a16:creationId xmlns:a16="http://schemas.microsoft.com/office/drawing/2014/main" id="{B864D5B1-CEB9-4B7D-BF94-3D66499416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16" y="2244"/>
              <a:ext cx="589" cy="218"/>
            </a:xfrm>
            <a:custGeom>
              <a:avLst/>
              <a:gdLst>
                <a:gd name="T0" fmla="*/ 0 w 589"/>
                <a:gd name="T1" fmla="*/ 0 h 218"/>
                <a:gd name="T2" fmla="*/ 378 w 589"/>
                <a:gd name="T3" fmla="*/ 0 h 218"/>
                <a:gd name="T4" fmla="*/ 589 w 589"/>
                <a:gd name="T5" fmla="*/ 212 h 218"/>
                <a:gd name="T6" fmla="*/ 583 w 589"/>
                <a:gd name="T7" fmla="*/ 218 h 218"/>
                <a:gd name="T8" fmla="*/ 374 w 589"/>
                <a:gd name="T9" fmla="*/ 8 h 218"/>
                <a:gd name="T10" fmla="*/ 0 w 589"/>
                <a:gd name="T11" fmla="*/ 8 h 218"/>
                <a:gd name="T12" fmla="*/ 0 w 589"/>
                <a:gd name="T13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9" h="218">
                  <a:moveTo>
                    <a:pt x="0" y="0"/>
                  </a:moveTo>
                  <a:lnTo>
                    <a:pt x="378" y="0"/>
                  </a:lnTo>
                  <a:lnTo>
                    <a:pt x="589" y="212"/>
                  </a:lnTo>
                  <a:lnTo>
                    <a:pt x="583" y="218"/>
                  </a:lnTo>
                  <a:lnTo>
                    <a:pt x="374" y="8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62" name="Oval 664">
              <a:extLst>
                <a:ext uri="{FF2B5EF4-FFF2-40B4-BE49-F238E27FC236}">
                  <a16:creationId xmlns:a16="http://schemas.microsoft.com/office/drawing/2014/main" id="{5B18E0D8-01AA-4967-886D-32B87A5A54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901" y="2233"/>
              <a:ext cx="32" cy="3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63" name="Freeform 665">
              <a:extLst>
                <a:ext uri="{FF2B5EF4-FFF2-40B4-BE49-F238E27FC236}">
                  <a16:creationId xmlns:a16="http://schemas.microsoft.com/office/drawing/2014/main" id="{CC6942E8-5B2C-4667-8FEA-4FD2BA686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8" y="2408"/>
              <a:ext cx="415" cy="104"/>
            </a:xfrm>
            <a:custGeom>
              <a:avLst/>
              <a:gdLst>
                <a:gd name="T0" fmla="*/ 410 w 415"/>
                <a:gd name="T1" fmla="*/ 0 h 104"/>
                <a:gd name="T2" fmla="*/ 415 w 415"/>
                <a:gd name="T3" fmla="*/ 6 h 104"/>
                <a:gd name="T4" fmla="*/ 317 w 415"/>
                <a:gd name="T5" fmla="*/ 104 h 104"/>
                <a:gd name="T6" fmla="*/ 0 w 415"/>
                <a:gd name="T7" fmla="*/ 104 h 104"/>
                <a:gd name="T8" fmla="*/ 0 w 415"/>
                <a:gd name="T9" fmla="*/ 96 h 104"/>
                <a:gd name="T10" fmla="*/ 313 w 415"/>
                <a:gd name="T11" fmla="*/ 96 h 104"/>
                <a:gd name="T12" fmla="*/ 410 w 415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5" h="104">
                  <a:moveTo>
                    <a:pt x="410" y="0"/>
                  </a:moveTo>
                  <a:lnTo>
                    <a:pt x="415" y="6"/>
                  </a:lnTo>
                  <a:lnTo>
                    <a:pt x="317" y="104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313" y="96"/>
                  </a:lnTo>
                  <a:lnTo>
                    <a:pt x="4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64" name="Oval 666">
              <a:extLst>
                <a:ext uri="{FF2B5EF4-FFF2-40B4-BE49-F238E27FC236}">
                  <a16:creationId xmlns:a16="http://schemas.microsoft.com/office/drawing/2014/main" id="{5E17CC59-22F2-491A-8427-4322CCDD24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14" y="2492"/>
              <a:ext cx="31" cy="3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65" name="Freeform 667">
              <a:extLst>
                <a:ext uri="{FF2B5EF4-FFF2-40B4-BE49-F238E27FC236}">
                  <a16:creationId xmlns:a16="http://schemas.microsoft.com/office/drawing/2014/main" id="{ADE8505C-271A-430A-99F3-1B0FB57453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0" y="2040"/>
              <a:ext cx="582" cy="226"/>
            </a:xfrm>
            <a:custGeom>
              <a:avLst/>
              <a:gdLst>
                <a:gd name="T0" fmla="*/ 6 w 582"/>
                <a:gd name="T1" fmla="*/ 0 h 226"/>
                <a:gd name="T2" fmla="*/ 222 w 582"/>
                <a:gd name="T3" fmla="*/ 217 h 226"/>
                <a:gd name="T4" fmla="*/ 582 w 582"/>
                <a:gd name="T5" fmla="*/ 218 h 226"/>
                <a:gd name="T6" fmla="*/ 582 w 582"/>
                <a:gd name="T7" fmla="*/ 226 h 226"/>
                <a:gd name="T8" fmla="*/ 219 w 582"/>
                <a:gd name="T9" fmla="*/ 226 h 226"/>
                <a:gd name="T10" fmla="*/ 0 w 582"/>
                <a:gd name="T11" fmla="*/ 6 h 226"/>
                <a:gd name="T12" fmla="*/ 6 w 582"/>
                <a:gd name="T1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2" h="226">
                  <a:moveTo>
                    <a:pt x="6" y="0"/>
                  </a:moveTo>
                  <a:lnTo>
                    <a:pt x="222" y="217"/>
                  </a:lnTo>
                  <a:lnTo>
                    <a:pt x="582" y="218"/>
                  </a:lnTo>
                  <a:lnTo>
                    <a:pt x="582" y="226"/>
                  </a:lnTo>
                  <a:lnTo>
                    <a:pt x="219" y="22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66" name="Freeform 668">
              <a:extLst>
                <a:ext uri="{FF2B5EF4-FFF2-40B4-BE49-F238E27FC236}">
                  <a16:creationId xmlns:a16="http://schemas.microsoft.com/office/drawing/2014/main" id="{8F19F424-A7DF-4531-87CC-FE2B8E5C38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5" y="2246"/>
              <a:ext cx="32" cy="32"/>
            </a:xfrm>
            <a:custGeom>
              <a:avLst/>
              <a:gdLst>
                <a:gd name="T0" fmla="*/ 16 w 32"/>
                <a:gd name="T1" fmla="*/ 32 h 32"/>
                <a:gd name="T2" fmla="*/ 32 w 32"/>
                <a:gd name="T3" fmla="*/ 16 h 32"/>
                <a:gd name="T4" fmla="*/ 16 w 32"/>
                <a:gd name="T5" fmla="*/ 0 h 32"/>
                <a:gd name="T6" fmla="*/ 0 w 32"/>
                <a:gd name="T7" fmla="*/ 16 h 32"/>
                <a:gd name="T8" fmla="*/ 16 w 32"/>
                <a:gd name="T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25" y="32"/>
                    <a:pt x="32" y="25"/>
                    <a:pt x="32" y="16"/>
                  </a:cubicBezTo>
                  <a:cubicBezTo>
                    <a:pt x="32" y="8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grpSp>
        <p:nvGrpSpPr>
          <p:cNvPr id="679" name="Group 678">
            <a:extLst>
              <a:ext uri="{FF2B5EF4-FFF2-40B4-BE49-F238E27FC236}">
                <a16:creationId xmlns:a16="http://schemas.microsoft.com/office/drawing/2014/main" id="{6BFC601F-AFAD-4460-A0F6-0FE38BD75575}"/>
              </a:ext>
            </a:extLst>
          </p:cNvPr>
          <p:cNvGrpSpPr/>
          <p:nvPr userDrawn="1"/>
        </p:nvGrpSpPr>
        <p:grpSpPr>
          <a:xfrm>
            <a:off x="609601" y="733547"/>
            <a:ext cx="11096879" cy="336214"/>
            <a:chOff x="-3270181" y="690323"/>
            <a:chExt cx="14994269" cy="503857"/>
          </a:xfrm>
        </p:grpSpPr>
        <p:cxnSp>
          <p:nvCxnSpPr>
            <p:cNvPr id="680" name="Straight Connector 679">
              <a:extLst>
                <a:ext uri="{FF2B5EF4-FFF2-40B4-BE49-F238E27FC236}">
                  <a16:creationId xmlns:a16="http://schemas.microsoft.com/office/drawing/2014/main" id="{8D2B90B3-E4D0-4792-BE60-A18269F936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270181" y="924560"/>
              <a:ext cx="6917621" cy="0"/>
            </a:xfrm>
            <a:prstGeom prst="line">
              <a:avLst/>
            </a:prstGeom>
            <a:ln w="25400">
              <a:solidFill>
                <a:srgbClr val="FFE6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1" name="Straight Connector 680">
              <a:extLst>
                <a:ext uri="{FF2B5EF4-FFF2-40B4-BE49-F238E27FC236}">
                  <a16:creationId xmlns:a16="http://schemas.microsoft.com/office/drawing/2014/main" id="{D9C649DA-3FD1-42D4-BFD1-D81107401214}"/>
                </a:ext>
              </a:extLst>
            </p:cNvPr>
            <p:cNvCxnSpPr/>
            <p:nvPr userDrawn="1"/>
          </p:nvCxnSpPr>
          <p:spPr>
            <a:xfrm>
              <a:off x="3638773" y="924560"/>
              <a:ext cx="341915" cy="197104"/>
            </a:xfrm>
            <a:prstGeom prst="line">
              <a:avLst/>
            </a:prstGeom>
            <a:ln w="25400">
              <a:solidFill>
                <a:srgbClr val="FFE6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2" name="Straight Connector 681">
              <a:extLst>
                <a:ext uri="{FF2B5EF4-FFF2-40B4-BE49-F238E27FC236}">
                  <a16:creationId xmlns:a16="http://schemas.microsoft.com/office/drawing/2014/main" id="{6A36C2CB-9D24-4A16-A05D-829F04341006}"/>
                </a:ext>
              </a:extLst>
            </p:cNvPr>
            <p:cNvCxnSpPr/>
            <p:nvPr userDrawn="1"/>
          </p:nvCxnSpPr>
          <p:spPr>
            <a:xfrm>
              <a:off x="3980688" y="1121664"/>
              <a:ext cx="3037522" cy="0"/>
            </a:xfrm>
            <a:prstGeom prst="line">
              <a:avLst/>
            </a:prstGeom>
            <a:ln w="25400">
              <a:solidFill>
                <a:srgbClr val="FFE6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3" name="Straight Connector 682">
              <a:extLst>
                <a:ext uri="{FF2B5EF4-FFF2-40B4-BE49-F238E27FC236}">
                  <a16:creationId xmlns:a16="http://schemas.microsoft.com/office/drawing/2014/main" id="{1EFE6614-D61A-4832-BA9C-E2510ECFBCA7}"/>
                </a:ext>
              </a:extLst>
            </p:cNvPr>
            <p:cNvCxnSpPr/>
            <p:nvPr userDrawn="1"/>
          </p:nvCxnSpPr>
          <p:spPr>
            <a:xfrm flipV="1">
              <a:off x="7000875" y="830580"/>
              <a:ext cx="489585" cy="291084"/>
            </a:xfrm>
            <a:prstGeom prst="line">
              <a:avLst/>
            </a:prstGeom>
            <a:ln w="25400">
              <a:solidFill>
                <a:srgbClr val="FFE6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4" name="Straight Connector 683">
              <a:extLst>
                <a:ext uri="{FF2B5EF4-FFF2-40B4-BE49-F238E27FC236}">
                  <a16:creationId xmlns:a16="http://schemas.microsoft.com/office/drawing/2014/main" id="{7F4E1365-355A-4657-980C-1EA725C4B2DE}"/>
                </a:ext>
              </a:extLst>
            </p:cNvPr>
            <p:cNvCxnSpPr/>
            <p:nvPr userDrawn="1"/>
          </p:nvCxnSpPr>
          <p:spPr>
            <a:xfrm>
              <a:off x="7483158" y="830580"/>
              <a:ext cx="4105275" cy="0"/>
            </a:xfrm>
            <a:prstGeom prst="line">
              <a:avLst/>
            </a:prstGeom>
            <a:ln w="25400">
              <a:solidFill>
                <a:srgbClr val="FFE6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5" name="Isosceles Triangle 684">
              <a:extLst>
                <a:ext uri="{FF2B5EF4-FFF2-40B4-BE49-F238E27FC236}">
                  <a16:creationId xmlns:a16="http://schemas.microsoft.com/office/drawing/2014/main" id="{98D8B991-B531-4CE4-93D7-697D5C4CB0B6}"/>
                </a:ext>
              </a:extLst>
            </p:cNvPr>
            <p:cNvSpPr/>
            <p:nvPr userDrawn="1"/>
          </p:nvSpPr>
          <p:spPr>
            <a:xfrm rot="5400000">
              <a:off x="11477352" y="724103"/>
              <a:ext cx="280516" cy="212956"/>
            </a:xfrm>
            <a:prstGeom prst="triangle">
              <a:avLst/>
            </a:prstGeom>
            <a:solidFill>
              <a:srgbClr val="FFE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>
                <a:solidFill>
                  <a:schemeClr val="tx1"/>
                </a:solidFill>
              </a:endParaRPr>
            </a:p>
          </p:txBody>
        </p:sp>
        <p:cxnSp>
          <p:nvCxnSpPr>
            <p:cNvPr id="686" name="Straight Connector 685">
              <a:extLst>
                <a:ext uri="{FF2B5EF4-FFF2-40B4-BE49-F238E27FC236}">
                  <a16:creationId xmlns:a16="http://schemas.microsoft.com/office/drawing/2014/main" id="{7C81C9C0-69DC-4597-8A3E-676EB460F83C}"/>
                </a:ext>
              </a:extLst>
            </p:cNvPr>
            <p:cNvCxnSpPr/>
            <p:nvPr userDrawn="1"/>
          </p:nvCxnSpPr>
          <p:spPr>
            <a:xfrm>
              <a:off x="7245667" y="972363"/>
              <a:ext cx="2035493" cy="0"/>
            </a:xfrm>
            <a:prstGeom prst="line">
              <a:avLst/>
            </a:prstGeom>
            <a:ln w="25400">
              <a:solidFill>
                <a:srgbClr val="FFE6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FAA13333-A09C-46BE-9F71-178497C52296}"/>
                </a:ext>
              </a:extLst>
            </p:cNvPr>
            <p:cNvSpPr/>
            <p:nvPr userDrawn="1"/>
          </p:nvSpPr>
          <p:spPr>
            <a:xfrm>
              <a:off x="10099060" y="1018920"/>
              <a:ext cx="175260" cy="175260"/>
            </a:xfrm>
            <a:prstGeom prst="ellipse">
              <a:avLst/>
            </a:prstGeom>
            <a:noFill/>
            <a:ln w="31750">
              <a:solidFill>
                <a:srgbClr val="FFE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>
                <a:solidFill>
                  <a:schemeClr val="tx1"/>
                </a:solidFill>
              </a:endParaRPr>
            </a:p>
          </p:txBody>
        </p:sp>
        <p:cxnSp>
          <p:nvCxnSpPr>
            <p:cNvPr id="688" name="Straight Connector 687">
              <a:extLst>
                <a:ext uri="{FF2B5EF4-FFF2-40B4-BE49-F238E27FC236}">
                  <a16:creationId xmlns:a16="http://schemas.microsoft.com/office/drawing/2014/main" id="{1EA5C4DF-3BB3-451C-A8B1-537A7AAAE388}"/>
                </a:ext>
              </a:extLst>
            </p:cNvPr>
            <p:cNvCxnSpPr/>
            <p:nvPr userDrawn="1"/>
          </p:nvCxnSpPr>
          <p:spPr>
            <a:xfrm>
              <a:off x="9267438" y="972363"/>
              <a:ext cx="267056" cy="135000"/>
            </a:xfrm>
            <a:prstGeom prst="line">
              <a:avLst/>
            </a:prstGeom>
            <a:ln w="25400">
              <a:solidFill>
                <a:srgbClr val="FFE6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9" name="Straight Connector 688">
              <a:extLst>
                <a:ext uri="{FF2B5EF4-FFF2-40B4-BE49-F238E27FC236}">
                  <a16:creationId xmlns:a16="http://schemas.microsoft.com/office/drawing/2014/main" id="{82E8D967-C26F-4B3C-8539-F04564CA182C}"/>
                </a:ext>
              </a:extLst>
            </p:cNvPr>
            <p:cNvCxnSpPr/>
            <p:nvPr userDrawn="1"/>
          </p:nvCxnSpPr>
          <p:spPr>
            <a:xfrm>
              <a:off x="9528398" y="1107363"/>
              <a:ext cx="590464" cy="0"/>
            </a:xfrm>
            <a:prstGeom prst="line">
              <a:avLst/>
            </a:prstGeom>
            <a:ln w="25400">
              <a:solidFill>
                <a:srgbClr val="FFE6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69" name="Graphic 668">
            <a:extLst>
              <a:ext uri="{FF2B5EF4-FFF2-40B4-BE49-F238E27FC236}">
                <a16:creationId xmlns:a16="http://schemas.microsoft.com/office/drawing/2014/main" id="{F18568B9-E226-46D7-B30B-20AAC74912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807053" y="1288351"/>
            <a:ext cx="4833306" cy="4835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129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66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71161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91118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304735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70263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228641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493397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50356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1402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075512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9634104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8E1C79A-9B7A-43E2-8801-3A7228170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0"/>
            <a:ext cx="12191999" cy="68580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A0F44D1-9B1A-4F25-AC76-9A0755EEFFB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04883" y="594865"/>
            <a:ext cx="4157286" cy="3347087"/>
          </a:xfrm>
          <a:custGeom>
            <a:avLst/>
            <a:gdLst>
              <a:gd name="connsiteX0" fmla="*/ 0 w 4159451"/>
              <a:gd name="connsiteY0" fmla="*/ 3347087 h 3347087"/>
              <a:gd name="connsiteX1" fmla="*/ 468 w 4159451"/>
              <a:gd name="connsiteY1" fmla="*/ 2910523 h 3347087"/>
              <a:gd name="connsiteX2" fmla="*/ 555 w 4159451"/>
              <a:gd name="connsiteY2" fmla="*/ 2811553 h 3347087"/>
              <a:gd name="connsiteX3" fmla="*/ 0 w 4159451"/>
              <a:gd name="connsiteY3" fmla="*/ 2811650 h 3347087"/>
              <a:gd name="connsiteX4" fmla="*/ 2496 w 4159451"/>
              <a:gd name="connsiteY4" fmla="*/ 0 h 3347087"/>
              <a:gd name="connsiteX5" fmla="*/ 4159451 w 4159451"/>
              <a:gd name="connsiteY5" fmla="*/ 1842 h 3347087"/>
              <a:gd name="connsiteX6" fmla="*/ 4159451 w 4159451"/>
              <a:gd name="connsiteY6" fmla="*/ 537279 h 3347087"/>
              <a:gd name="connsiteX7" fmla="*/ 4159451 w 4159451"/>
              <a:gd name="connsiteY7" fmla="*/ 2081116 h 3347087"/>
              <a:gd name="connsiteX8" fmla="*/ 4159451 w 4159451"/>
              <a:gd name="connsiteY8" fmla="*/ 2616553 h 3347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59451" h="3347087">
                <a:moveTo>
                  <a:pt x="0" y="3347087"/>
                </a:moveTo>
                <a:cubicBezTo>
                  <a:pt x="156" y="3230828"/>
                  <a:pt x="312" y="3081127"/>
                  <a:pt x="468" y="2910523"/>
                </a:cubicBezTo>
                <a:lnTo>
                  <a:pt x="555" y="2811553"/>
                </a:lnTo>
                <a:lnTo>
                  <a:pt x="0" y="2811650"/>
                </a:lnTo>
                <a:cubicBezTo>
                  <a:pt x="832" y="2191603"/>
                  <a:pt x="1664" y="620310"/>
                  <a:pt x="2496" y="0"/>
                </a:cubicBezTo>
                <a:lnTo>
                  <a:pt x="4159451" y="1842"/>
                </a:lnTo>
                <a:lnTo>
                  <a:pt x="4159451" y="537279"/>
                </a:lnTo>
                <a:lnTo>
                  <a:pt x="4159451" y="2081116"/>
                </a:lnTo>
                <a:lnTo>
                  <a:pt x="4159451" y="2616553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1799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0697" y="1539873"/>
            <a:ext cx="3753237" cy="860400"/>
          </a:xfrm>
        </p:spPr>
        <p:txBody>
          <a:bodyPr/>
          <a:lstStyle>
            <a:lvl1pPr>
              <a:defRPr sz="2999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0698" y="2854217"/>
            <a:ext cx="3753237" cy="391225"/>
          </a:xfrm>
        </p:spPr>
        <p:txBody>
          <a:bodyPr/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199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599" b="0">
                <a:solidFill>
                  <a:srgbClr val="404040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599"/>
              <a:t>Subtitle (EY Interstate 16 point)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199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8AE72999-64B9-400D-B276-16BADE1AD5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B20916FE-1037-44A8-A815-13B16E6543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E21227F-16C4-4E48-B9B5-03B2F374C3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698772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3491046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932848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4203" y="294203"/>
            <a:ext cx="10569757" cy="319694"/>
          </a:xfrm>
        </p:spPr>
        <p:txBody>
          <a:bodyPr/>
          <a:lstStyle>
            <a:lvl1pPr>
              <a:defRPr sz="207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4203" y="1137923"/>
            <a:ext cx="10569757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76BF3-581D-4150-8C1A-4BBCB74112C5}"/>
              </a:ext>
            </a:extLst>
          </p:cNvPr>
          <p:cNvCxnSpPr/>
          <p:nvPr userDrawn="1"/>
        </p:nvCxnSpPr>
        <p:spPr>
          <a:xfrm>
            <a:off x="312260" y="914321"/>
            <a:ext cx="11419745" cy="0"/>
          </a:xfrm>
          <a:prstGeom prst="line">
            <a:avLst/>
          </a:prstGeom>
          <a:ln w="19050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942321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EA04ACD5-A953-43C7-93AE-6BE135B59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260" y="390526"/>
            <a:ext cx="11419745" cy="580871"/>
          </a:xfrm>
        </p:spPr>
        <p:txBody>
          <a:bodyPr anchor="ctr">
            <a:noAutofit/>
          </a:bodyPr>
          <a:lstStyle>
            <a:lvl1pPr>
              <a:defRPr sz="24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88D8CC3-FD13-4A0D-90C7-D2014A2E4201}"/>
              </a:ext>
            </a:extLst>
          </p:cNvPr>
          <p:cNvCxnSpPr/>
          <p:nvPr userDrawn="1"/>
        </p:nvCxnSpPr>
        <p:spPr>
          <a:xfrm>
            <a:off x="312260" y="1142921"/>
            <a:ext cx="11419745" cy="0"/>
          </a:xfrm>
          <a:prstGeom prst="line">
            <a:avLst/>
          </a:prstGeom>
          <a:ln w="19050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522189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22F14-E373-4879-A1BA-2D2564BC5A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604139"/>
          </a:xfrm>
        </p:spPr>
        <p:txBody>
          <a:bodyPr>
            <a:noAutofit/>
          </a:bodyPr>
          <a:lstStyle>
            <a:lvl1pPr>
              <a:defRPr sz="1799">
                <a:latin typeface="EYInterstate Light" panose="0200050600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04C8A5-5915-4BFE-B184-872857F38985}"/>
              </a:ext>
            </a:extLst>
          </p:cNvPr>
          <p:cNvSpPr/>
          <p:nvPr userDrawn="1"/>
        </p:nvSpPr>
        <p:spPr>
          <a:xfrm>
            <a:off x="594277" y="969264"/>
            <a:ext cx="10938303" cy="12436"/>
          </a:xfrm>
          <a:prstGeom prst="rect">
            <a:avLst/>
          </a:prstGeom>
          <a:solidFill>
            <a:srgbClr val="FFE600"/>
          </a:solidFill>
          <a:ln w="19050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799"/>
          </a:p>
        </p:txBody>
      </p:sp>
    </p:spTree>
    <p:extLst>
      <p:ext uri="{BB962C8B-B14F-4D97-AF65-F5344CB8AC3E}">
        <p14:creationId xmlns:p14="http://schemas.microsoft.com/office/powerpoint/2010/main" val="89343690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33FBC8-D43A-4FA1-B1AF-D6F7CE122D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9508" y="1442092"/>
            <a:ext cx="4127943" cy="2852737"/>
          </a:xfrm>
        </p:spPr>
        <p:txBody>
          <a:bodyPr anchor="b"/>
          <a:lstStyle>
            <a:lvl1pPr>
              <a:defRPr sz="5997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BD6AC7-46BD-49F8-9182-3220819BCA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19505" y="4338013"/>
            <a:ext cx="4127944" cy="1077899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1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4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14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4pPr>
            <a:lvl5pPr marL="1827886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5pPr>
            <a:lvl6pPr marL="2284857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6pPr>
            <a:lvl7pPr marL="2741828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7pPr>
            <a:lvl8pPr marL="319880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8pPr>
            <a:lvl9pPr marL="3655771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439316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33FBC8-D43A-4FA1-B1AF-D6F7CE122D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09474" y="1064902"/>
            <a:ext cx="4520256" cy="2774469"/>
          </a:xfrm>
        </p:spPr>
        <p:txBody>
          <a:bodyPr anchor="b"/>
          <a:lstStyle>
            <a:lvl1pPr>
              <a:defRPr sz="5997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BD6AC7-46BD-49F8-9182-3220819BCA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09475" y="3839371"/>
            <a:ext cx="4520255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1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4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14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4pPr>
            <a:lvl5pPr marL="1827886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5pPr>
            <a:lvl6pPr marL="2284857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6pPr>
            <a:lvl7pPr marL="2741828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7pPr>
            <a:lvl8pPr marL="319880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8pPr>
            <a:lvl9pPr marL="3655771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ssorted piles of beans and legumes">
            <a:extLst>
              <a:ext uri="{FF2B5EF4-FFF2-40B4-BE49-F238E27FC236}">
                <a16:creationId xmlns:a16="http://schemas.microsoft.com/office/drawing/2014/main" id="{30A9CA15-0966-0AB5-2A56-CC2E79DE2B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960" y="929309"/>
            <a:ext cx="6655489" cy="5232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37169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4">
            <a:extLst>
              <a:ext uri="{FF2B5EF4-FFF2-40B4-BE49-F238E27FC236}">
                <a16:creationId xmlns:a16="http://schemas.microsoft.com/office/drawing/2014/main" id="{E4E8BDF9-665F-4A6B-A41C-D2C548C065B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2" y="6356350"/>
            <a:ext cx="303055" cy="311150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7A0248FA-C400-4063-9344-13F620589F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2AFD45A1-917D-43B0-9FCD-0269A40ED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4107E8A5-EDFA-451C-891A-57D35DE5BD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</p:grpSp>
      <p:sp>
        <p:nvSpPr>
          <p:cNvPr id="13" name="Title 18">
            <a:extLst>
              <a:ext uri="{FF2B5EF4-FFF2-40B4-BE49-F238E27FC236}">
                <a16:creationId xmlns:a16="http://schemas.microsoft.com/office/drawing/2014/main" id="{27FE7B25-DDE4-4CA8-9B8D-1B06752A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931" y="190499"/>
            <a:ext cx="10972800" cy="590880"/>
          </a:xfrm>
        </p:spPr>
        <p:txBody>
          <a:bodyPr anchor="ctr"/>
          <a:lstStyle>
            <a:lvl1pPr marL="7359" algn="l" defTabSz="1340099" rtl="0" eaLnBrk="1" latinLnBrk="0" hangingPunct="1">
              <a:lnSpc>
                <a:spcPct val="100000"/>
              </a:lnSpc>
              <a:spcBef>
                <a:spcPts val="55"/>
              </a:spcBef>
              <a:buNone/>
              <a:defRPr lang="en-IN" sz="1996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57EEB34-AA0B-4955-B891-8AB5A284C5D8}"/>
              </a:ext>
            </a:extLst>
          </p:cNvPr>
          <p:cNvCxnSpPr>
            <a:cxnSpLocks/>
          </p:cNvCxnSpPr>
          <p:nvPr userDrawn="1"/>
        </p:nvCxnSpPr>
        <p:spPr>
          <a:xfrm>
            <a:off x="378933" y="825067"/>
            <a:ext cx="10972799" cy="0"/>
          </a:xfrm>
          <a:prstGeom prst="line">
            <a:avLst/>
          </a:prstGeom>
          <a:ln w="2857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74074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05642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39949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91" r="2240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481" y="5340096"/>
            <a:ext cx="1316736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26739" y="457199"/>
            <a:ext cx="6009412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8544" tIns="34272" rIns="68544" bIns="34272" numCol="1" anchor="t" anchorCtr="0" compatLnSpc="1">
            <a:prstTxWarp prst="textNoShape">
              <a:avLst/>
            </a:prstTxWarp>
          </a:bodyPr>
          <a:lstStyle/>
          <a:p>
            <a:endParaRPr lang="en-GB" sz="1349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5104" y="1476597"/>
            <a:ext cx="5419932" cy="860400"/>
          </a:xfrm>
        </p:spPr>
        <p:txBody>
          <a:bodyPr/>
          <a:lstStyle>
            <a:lvl1pPr>
              <a:defRPr sz="2249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5104" y="2422869"/>
            <a:ext cx="5419932" cy="391225"/>
          </a:xfrm>
        </p:spPr>
        <p:txBody>
          <a:bodyPr/>
          <a:lstStyle>
            <a:lvl1pPr marL="0" marR="0" indent="0" algn="l" defTabSz="68545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199" b="0">
                <a:solidFill>
                  <a:srgbClr val="404040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rgbClr val="404040"/>
                </a:solidFill>
              </a:defRPr>
            </a:lvl2pPr>
            <a:lvl3pPr marL="685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199"/>
              <a:t>Subtitle (EY Interstate 16 point)</a:t>
            </a:r>
          </a:p>
          <a:p>
            <a:pPr marL="0" marR="0" lvl="0" indent="0" algn="l" defTabSz="68545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/>
              <a:t>XX Month 200X (EY Interstate bold 16 point)</a:t>
            </a:r>
          </a:p>
        </p:txBody>
      </p:sp>
    </p:spTree>
    <p:extLst>
      <p:ext uri="{BB962C8B-B14F-4D97-AF65-F5344CB8AC3E}">
        <p14:creationId xmlns:p14="http://schemas.microsoft.com/office/powerpoint/2010/main" val="255049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83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" name="Picture 145">
            <a:extLst>
              <a:ext uri="{FF2B5EF4-FFF2-40B4-BE49-F238E27FC236}">
                <a16:creationId xmlns:a16="http://schemas.microsoft.com/office/drawing/2014/main" id="{7FDAC7B4-6A01-49C4-9730-BF8572B139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402" b="5936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BCCB2E-3515-42EB-B2C6-FB7D701D1793}"/>
              </a:ext>
            </a:extLst>
          </p:cNvPr>
          <p:cNvSpPr/>
          <p:nvPr userDrawn="1"/>
        </p:nvSpPr>
        <p:spPr>
          <a:xfrm>
            <a:off x="0" y="5340096"/>
            <a:ext cx="12192000" cy="1517904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61000">
                <a:schemeClr val="bg2">
                  <a:alpha val="34000"/>
                </a:schemeClr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900">
              <a:solidFill>
                <a:schemeClr val="tx1"/>
              </a:solidFill>
            </a:endParaRP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9C231702-C029-4BB5-90D1-8311DD931D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481" y="5340096"/>
            <a:ext cx="1316736" cy="1156968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6451607B-CAB5-4136-AB12-1BF3A1C4485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3" y="457200"/>
            <a:ext cx="6205727" cy="3930900"/>
          </a:xfrm>
          <a:prstGeom prst="rect">
            <a:avLst/>
          </a:prstGeom>
        </p:spPr>
      </p:pic>
      <p:sp>
        <p:nvSpPr>
          <p:cNvPr id="74" name="Title 1">
            <a:extLst>
              <a:ext uri="{FF2B5EF4-FFF2-40B4-BE49-F238E27FC236}">
                <a16:creationId xmlns:a16="http://schemas.microsoft.com/office/drawing/2014/main" id="{01B1427F-F1DB-442D-870C-2543A78EC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2624" y="1799130"/>
            <a:ext cx="4791456" cy="8604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97E0F9BC-39E2-4ADF-93B9-7358577711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2624" y="2769576"/>
            <a:ext cx="4791456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199">
                <a:solidFill>
                  <a:srgbClr val="FFFFFF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rgbClr val="404040"/>
                </a:solidFill>
              </a:defRPr>
            </a:lvl2pPr>
            <a:lvl3pPr marL="685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45" name="Picture 144">
            <a:extLst>
              <a:ext uri="{FF2B5EF4-FFF2-40B4-BE49-F238E27FC236}">
                <a16:creationId xmlns:a16="http://schemas.microsoft.com/office/drawing/2014/main" id="{727C5A3D-F97A-4F85-9F88-240C243986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5914517"/>
            <a:ext cx="504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917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>
            <a:extLst>
              <a:ext uri="{FF2B5EF4-FFF2-40B4-BE49-F238E27FC236}">
                <a16:creationId xmlns:a16="http://schemas.microsoft.com/office/drawing/2014/main" id="{581C513F-D0C9-46EE-93E2-83D5128319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481" y="5340096"/>
            <a:ext cx="1316736" cy="1156968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7204B28E-7010-45B1-9A81-2C543F9490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2" y="777245"/>
            <a:ext cx="9004300" cy="3400425"/>
          </a:xfrm>
          <a:prstGeom prst="rect">
            <a:avLst/>
          </a:prstGeom>
        </p:spPr>
      </p:pic>
      <p:sp>
        <p:nvSpPr>
          <p:cNvPr id="75" name="Subtitle 2">
            <a:extLst>
              <a:ext uri="{FF2B5EF4-FFF2-40B4-BE49-F238E27FC236}">
                <a16:creationId xmlns:a16="http://schemas.microsoft.com/office/drawing/2014/main" id="{24F2EA79-0822-4B81-90D8-1FA02CFB98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4256" y="3258529"/>
            <a:ext cx="7924576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199">
                <a:solidFill>
                  <a:srgbClr val="FFFFFF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rgbClr val="FFFFFF"/>
                </a:solidFill>
              </a:defRPr>
            </a:lvl2pPr>
            <a:lvl3pPr marL="0" indent="0" algn="l">
              <a:buNone/>
              <a:defRPr sz="1199">
                <a:solidFill>
                  <a:srgbClr val="FFFFFF"/>
                </a:solidFill>
              </a:defRPr>
            </a:lvl3pPr>
            <a:lvl4pPr marL="1028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EC2B6F8E-BD78-40B0-B08A-973D853594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4256" y="2288083"/>
            <a:ext cx="7924576" cy="8604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79" name="Picture 278">
            <a:extLst>
              <a:ext uri="{FF2B5EF4-FFF2-40B4-BE49-F238E27FC236}">
                <a16:creationId xmlns:a16="http://schemas.microsoft.com/office/drawing/2014/main" id="{5A33645C-A5C8-4EA5-A3D8-D74C0FE66CD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5914517"/>
            <a:ext cx="504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757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DEEE8F-8979-4277-B8CD-851591AB07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147316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6DEEE8F-8979-4277-B8CD-851591AB0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099D8372-EFC5-44C7-9A01-4719AC150C66}"/>
              </a:ext>
            </a:extLst>
          </p:cNvPr>
          <p:cNvGrpSpPr/>
          <p:nvPr userDrawn="1"/>
        </p:nvGrpSpPr>
        <p:grpSpPr>
          <a:xfrm>
            <a:off x="675859" y="510398"/>
            <a:ext cx="5230280" cy="5055533"/>
            <a:chOff x="675859" y="510398"/>
            <a:chExt cx="5230280" cy="505553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3E68833-E9AC-42B3-B3E6-DB917710E9A2}"/>
                </a:ext>
              </a:extLst>
            </p:cNvPr>
            <p:cNvSpPr/>
            <p:nvPr userDrawn="1"/>
          </p:nvSpPr>
          <p:spPr>
            <a:xfrm>
              <a:off x="685800" y="1598093"/>
              <a:ext cx="5220339" cy="3967838"/>
            </a:xfrm>
            <a:prstGeom prst="rect">
              <a:avLst/>
            </a:prstGeom>
            <a:solidFill>
              <a:schemeClr val="tx1">
                <a:alpha val="58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rtl="0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6" name="Right Triangle 5">
              <a:extLst>
                <a:ext uri="{FF2B5EF4-FFF2-40B4-BE49-F238E27FC236}">
                  <a16:creationId xmlns:a16="http://schemas.microsoft.com/office/drawing/2014/main" id="{04D3C88A-1C9C-4C13-8703-412E57D0F55C}"/>
                </a:ext>
              </a:extLst>
            </p:cNvPr>
            <p:cNvSpPr/>
            <p:nvPr userDrawn="1"/>
          </p:nvSpPr>
          <p:spPr>
            <a:xfrm flipH="1">
              <a:off x="675859" y="510398"/>
              <a:ext cx="5220340" cy="1087690"/>
            </a:xfrm>
            <a:prstGeom prst="rtTriangle">
              <a:avLst/>
            </a:prstGeom>
            <a:solidFill>
              <a:schemeClr val="tx1">
                <a:alpha val="58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rtl="0"/>
              <a:endParaRPr lang="en-US" sz="1200">
                <a:solidFill>
                  <a:schemeClr val="tx1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0F55AD-8908-43E8-960C-8F4683535E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rtl="0"/>
            <a:endParaRPr lang="en-US" sz="3498" b="1" i="0" baseline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051" y="5888736"/>
            <a:ext cx="3778032" cy="618750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985704" y="2346733"/>
            <a:ext cx="4595007" cy="860400"/>
          </a:xfrm>
          <a:prstGeom prst="rect">
            <a:avLst/>
          </a:prstGeom>
        </p:spPr>
        <p:txBody>
          <a:bodyPr vert="horz"/>
          <a:lstStyle>
            <a:lvl1pPr rtl="0">
              <a:defRPr cap="none" baseline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985704" y="4647490"/>
            <a:ext cx="4595007" cy="645742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sz="1999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4103" y="5340096"/>
            <a:ext cx="987037" cy="1156968"/>
          </a:xfrm>
          <a:prstGeom prst="rect">
            <a:avLst/>
          </a:prstGeom>
        </p:spPr>
      </p:pic>
      <p:sp>
        <p:nvSpPr>
          <p:cNvPr id="7" name="AutoShape 3">
            <a:extLst>
              <a:ext uri="{FF2B5EF4-FFF2-40B4-BE49-F238E27FC236}">
                <a16:creationId xmlns:a16="http://schemas.microsoft.com/office/drawing/2014/main" id="{36FB9443-AE7F-4C48-8B69-146C170648C4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93725" y="1844849"/>
            <a:ext cx="5410200" cy="3787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4C7B81BA-B2D0-402D-8515-B52E867C0DD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93725" y="288925"/>
            <a:ext cx="5410200" cy="5343525"/>
          </a:xfrm>
          <a:custGeom>
            <a:avLst/>
            <a:gdLst>
              <a:gd name="T0" fmla="*/ 102 w 3408"/>
              <a:gd name="T1" fmla="*/ 3366 h 3366"/>
              <a:gd name="T2" fmla="*/ 0 w 3408"/>
              <a:gd name="T3" fmla="*/ 3366 h 3366"/>
              <a:gd name="T4" fmla="*/ 0 w 3408"/>
              <a:gd name="T5" fmla="*/ 3247 h 3366"/>
              <a:gd name="T6" fmla="*/ 102 w 3408"/>
              <a:gd name="T7" fmla="*/ 3247 h 3366"/>
              <a:gd name="T8" fmla="*/ 102 w 3408"/>
              <a:gd name="T9" fmla="*/ 3366 h 3366"/>
              <a:gd name="T10" fmla="*/ 288 w 3408"/>
              <a:gd name="T11" fmla="*/ 3247 h 3366"/>
              <a:gd name="T12" fmla="*/ 188 w 3408"/>
              <a:gd name="T13" fmla="*/ 3247 h 3366"/>
              <a:gd name="T14" fmla="*/ 188 w 3408"/>
              <a:gd name="T15" fmla="*/ 3366 h 3366"/>
              <a:gd name="T16" fmla="*/ 288 w 3408"/>
              <a:gd name="T17" fmla="*/ 3366 h 3366"/>
              <a:gd name="T18" fmla="*/ 288 w 3408"/>
              <a:gd name="T19" fmla="*/ 3247 h 3366"/>
              <a:gd name="T20" fmla="*/ 474 w 3408"/>
              <a:gd name="T21" fmla="*/ 3247 h 3366"/>
              <a:gd name="T22" fmla="*/ 374 w 3408"/>
              <a:gd name="T23" fmla="*/ 3247 h 3366"/>
              <a:gd name="T24" fmla="*/ 374 w 3408"/>
              <a:gd name="T25" fmla="*/ 3366 h 3366"/>
              <a:gd name="T26" fmla="*/ 474 w 3408"/>
              <a:gd name="T27" fmla="*/ 3366 h 3366"/>
              <a:gd name="T28" fmla="*/ 474 w 3408"/>
              <a:gd name="T29" fmla="*/ 3247 h 3366"/>
              <a:gd name="T30" fmla="*/ 0 w 3408"/>
              <a:gd name="T31" fmla="*/ 701 h 3366"/>
              <a:gd name="T32" fmla="*/ 0 w 3408"/>
              <a:gd name="T33" fmla="*/ 3149 h 3366"/>
              <a:gd name="T34" fmla="*/ 102 w 3408"/>
              <a:gd name="T35" fmla="*/ 3149 h 3366"/>
              <a:gd name="T36" fmla="*/ 102 w 3408"/>
              <a:gd name="T37" fmla="*/ 799 h 3366"/>
              <a:gd name="T38" fmla="*/ 3306 w 3408"/>
              <a:gd name="T39" fmla="*/ 140 h 3366"/>
              <a:gd name="T40" fmla="*/ 3308 w 3408"/>
              <a:gd name="T41" fmla="*/ 3247 h 3366"/>
              <a:gd name="T42" fmla="*/ 560 w 3408"/>
              <a:gd name="T43" fmla="*/ 3247 h 3366"/>
              <a:gd name="T44" fmla="*/ 560 w 3408"/>
              <a:gd name="T45" fmla="*/ 3366 h 3366"/>
              <a:gd name="T46" fmla="*/ 3408 w 3408"/>
              <a:gd name="T47" fmla="*/ 3366 h 3366"/>
              <a:gd name="T48" fmla="*/ 3408 w 3408"/>
              <a:gd name="T49" fmla="*/ 0 h 3366"/>
              <a:gd name="T50" fmla="*/ 0 w 3408"/>
              <a:gd name="T51" fmla="*/ 701 h 3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08" h="3366">
                <a:moveTo>
                  <a:pt x="102" y="3366"/>
                </a:moveTo>
                <a:lnTo>
                  <a:pt x="0" y="3366"/>
                </a:lnTo>
                <a:lnTo>
                  <a:pt x="0" y="3247"/>
                </a:lnTo>
                <a:lnTo>
                  <a:pt x="102" y="3247"/>
                </a:lnTo>
                <a:lnTo>
                  <a:pt x="102" y="3366"/>
                </a:lnTo>
                <a:close/>
                <a:moveTo>
                  <a:pt x="288" y="3247"/>
                </a:moveTo>
                <a:lnTo>
                  <a:pt x="188" y="3247"/>
                </a:lnTo>
                <a:lnTo>
                  <a:pt x="188" y="3366"/>
                </a:lnTo>
                <a:lnTo>
                  <a:pt x="288" y="3366"/>
                </a:lnTo>
                <a:lnTo>
                  <a:pt x="288" y="3247"/>
                </a:lnTo>
                <a:close/>
                <a:moveTo>
                  <a:pt x="474" y="3247"/>
                </a:moveTo>
                <a:lnTo>
                  <a:pt x="374" y="3247"/>
                </a:lnTo>
                <a:lnTo>
                  <a:pt x="374" y="3366"/>
                </a:lnTo>
                <a:lnTo>
                  <a:pt x="474" y="3366"/>
                </a:lnTo>
                <a:lnTo>
                  <a:pt x="474" y="3247"/>
                </a:lnTo>
                <a:close/>
                <a:moveTo>
                  <a:pt x="0" y="701"/>
                </a:moveTo>
                <a:lnTo>
                  <a:pt x="0" y="3149"/>
                </a:lnTo>
                <a:lnTo>
                  <a:pt x="102" y="3149"/>
                </a:lnTo>
                <a:lnTo>
                  <a:pt x="102" y="799"/>
                </a:lnTo>
                <a:lnTo>
                  <a:pt x="3306" y="140"/>
                </a:lnTo>
                <a:lnTo>
                  <a:pt x="3308" y="3247"/>
                </a:lnTo>
                <a:lnTo>
                  <a:pt x="560" y="3247"/>
                </a:lnTo>
                <a:lnTo>
                  <a:pt x="560" y="3366"/>
                </a:lnTo>
                <a:lnTo>
                  <a:pt x="3408" y="3366"/>
                </a:lnTo>
                <a:lnTo>
                  <a:pt x="3408" y="0"/>
                </a:lnTo>
                <a:lnTo>
                  <a:pt x="0" y="701"/>
                </a:lnTo>
                <a:close/>
              </a:path>
            </a:pathLst>
          </a:custGeom>
          <a:solidFill>
            <a:srgbClr val="FEE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58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  <p15:guide id="3" pos="731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70E64C6A-78AE-4547-94F4-A7E658DB2EF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3" y="907750"/>
            <a:ext cx="11011709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E7A319-28F8-4E6B-8249-40111354BC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565D5F12-9236-45E8-96D1-F6A2C4A63F39}" type="datetime3">
              <a:rPr lang="en-US" smtClean="0"/>
              <a:t>2 July 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3A21D-493F-4B42-85B4-BCE5E8F92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0E1552-BF13-453D-A76C-3B49D9C85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FC3EC46-D295-425C-8ED2-70D3C94626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499"/>
            </a:lvl1pPr>
            <a:lvl2pPr>
              <a:defRPr sz="1349"/>
            </a:lvl2pPr>
            <a:lvl3pPr>
              <a:defRPr sz="1199"/>
            </a:lvl3pPr>
            <a:lvl4pPr>
              <a:defRPr sz="1049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08116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1348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AF1241-E9B6-4AFC-94DC-380325C3DE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17D657FC-BEB6-472D-B2FA-5939A6D4E9E2}" type="datetime3">
              <a:rPr lang="en-US" smtClean="0"/>
              <a:t>2 July 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181A62-2FE8-40E2-AD71-A2FCBF45A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34FE67-B066-4247-BB41-6FE7CE167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Line 10">
            <a:extLst>
              <a:ext uri="{FF2B5EF4-FFF2-40B4-BE49-F238E27FC236}">
                <a16:creationId xmlns:a16="http://schemas.microsoft.com/office/drawing/2014/main" id="{BACA5309-F0C9-41E7-9519-DCE6027DE76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4" y="1044000"/>
            <a:ext cx="10972800" cy="0"/>
          </a:xfrm>
          <a:prstGeom prst="line">
            <a:avLst/>
          </a:prstGeom>
          <a:noFill/>
          <a:ln w="19050">
            <a:solidFill>
              <a:srgbClr val="FFE6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8">
              <a:solidFill>
                <a:srgbClr val="646464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6A21D3A-6DB2-4439-AD9C-5094E14A4C6C}"/>
              </a:ext>
            </a:extLst>
          </p:cNvPr>
          <p:cNvSpPr/>
          <p:nvPr userDrawn="1"/>
        </p:nvSpPr>
        <p:spPr>
          <a:xfrm>
            <a:off x="2359199" y="6315740"/>
            <a:ext cx="6663144" cy="542256"/>
          </a:xfrm>
          <a:prstGeom prst="rect">
            <a:avLst/>
          </a:pr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7" name="Google Shape;1180;p11">
            <a:extLst>
              <a:ext uri="{FF2B5EF4-FFF2-40B4-BE49-F238E27FC236}">
                <a16:creationId xmlns:a16="http://schemas.microsoft.com/office/drawing/2014/main" id="{79517B29-72D1-D52A-4A09-DAE1840BAE29}"/>
              </a:ext>
            </a:extLst>
          </p:cNvPr>
          <p:cNvSpPr txBox="1"/>
          <p:nvPr userDrawn="1"/>
        </p:nvSpPr>
        <p:spPr>
          <a:xfrm>
            <a:off x="487045" y="6514849"/>
            <a:ext cx="883628" cy="179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5" tIns="45675" rIns="91375" bIns="456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Inter"/>
              <a:buNone/>
            </a:pPr>
            <a:r>
              <a:rPr lang="en-US" sz="800" b="0" i="0" u="none" strike="noStrike" cap="none">
                <a:solidFill>
                  <a:srgbClr val="FFFFFF"/>
                </a:solidFill>
                <a:ea typeface="Inter"/>
                <a:cs typeface="Inter"/>
                <a:sym typeface="Inter"/>
              </a:rPr>
              <a:t>Page </a:t>
            </a: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ea typeface="Inter"/>
                <a:cs typeface="Inter"/>
                <a:sym typeface="Inter"/>
              </a:rPr>
              <a:t>‹#›</a:t>
            </a:fld>
            <a:endParaRPr sz="800" b="0" i="0" u="none" strike="noStrike" cap="none">
              <a:solidFill>
                <a:srgbClr val="FFFFFF"/>
              </a:solidFill>
              <a:ea typeface="Inter"/>
              <a:cs typeface="Inter"/>
              <a:sym typeface="Inter"/>
            </a:endParaRPr>
          </a:p>
        </p:txBody>
      </p:sp>
    </p:spTree>
    <p:extLst>
      <p:ext uri="{BB962C8B-B14F-4D97-AF65-F5344CB8AC3E}">
        <p14:creationId xmlns:p14="http://schemas.microsoft.com/office/powerpoint/2010/main" val="35082644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3" y="1"/>
            <a:ext cx="3997149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2" y="1137921"/>
            <a:ext cx="7295843" cy="873760"/>
          </a:xfrm>
        </p:spPr>
        <p:txBody>
          <a:bodyPr/>
          <a:lstStyle>
            <a:lvl1pPr marL="0" indent="0">
              <a:buNone/>
              <a:defRPr sz="1011">
                <a:solidFill>
                  <a:schemeClr val="bg1"/>
                </a:solidFill>
              </a:defRPr>
            </a:lvl1pPr>
            <a:lvl2pPr marL="200389" indent="0">
              <a:buNone/>
              <a:defRPr sz="1011">
                <a:solidFill>
                  <a:schemeClr val="bg1"/>
                </a:solidFill>
              </a:defRPr>
            </a:lvl2pPr>
            <a:lvl3pPr marL="400779" indent="0">
              <a:buNone/>
              <a:defRPr sz="899">
                <a:solidFill>
                  <a:schemeClr val="bg1"/>
                </a:solidFill>
              </a:defRPr>
            </a:lvl3pPr>
            <a:lvl4pPr marL="601168" indent="0">
              <a:buNone/>
              <a:defRPr sz="787">
                <a:solidFill>
                  <a:schemeClr val="bg1"/>
                </a:solidFill>
              </a:defRPr>
            </a:lvl4pPr>
            <a:lvl5pPr marL="801557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4" y="2311401"/>
            <a:ext cx="3578253" cy="3844704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389" indent="0">
              <a:buNone/>
              <a:defRPr sz="1011">
                <a:solidFill>
                  <a:schemeClr val="bg1"/>
                </a:solidFill>
              </a:defRPr>
            </a:lvl2pPr>
            <a:lvl3pPr marL="400779" indent="0">
              <a:buNone/>
              <a:defRPr sz="899">
                <a:solidFill>
                  <a:schemeClr val="bg1"/>
                </a:solidFill>
              </a:defRPr>
            </a:lvl3pPr>
            <a:lvl4pPr marL="601168" indent="0">
              <a:buNone/>
              <a:defRPr sz="787">
                <a:solidFill>
                  <a:schemeClr val="bg1"/>
                </a:solidFill>
              </a:defRPr>
            </a:lvl4pPr>
            <a:lvl5pPr marL="801557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2" y="2311407"/>
            <a:ext cx="3578253" cy="1254759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389" indent="0">
              <a:buNone/>
              <a:defRPr sz="1011">
                <a:solidFill>
                  <a:schemeClr val="bg1"/>
                </a:solidFill>
              </a:defRPr>
            </a:lvl2pPr>
            <a:lvl3pPr marL="400779" indent="0">
              <a:buNone/>
              <a:defRPr sz="899">
                <a:solidFill>
                  <a:schemeClr val="bg1"/>
                </a:solidFill>
              </a:defRPr>
            </a:lvl3pPr>
            <a:lvl4pPr marL="601168" indent="0">
              <a:buNone/>
              <a:defRPr sz="787">
                <a:solidFill>
                  <a:schemeClr val="bg1"/>
                </a:solidFill>
              </a:defRPr>
            </a:lvl4pPr>
            <a:lvl5pPr marL="801557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2" y="4236721"/>
            <a:ext cx="3578253" cy="1944160"/>
          </a:xfrm>
        </p:spPr>
        <p:txBody>
          <a:bodyPr numCol="1"/>
          <a:lstStyle>
            <a:lvl1pPr marL="0" indent="0">
              <a:buNone/>
              <a:defRPr sz="101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00389" indent="0">
              <a:buNone/>
              <a:defRPr sz="1011">
                <a:solidFill>
                  <a:schemeClr val="bg1"/>
                </a:solidFill>
              </a:defRPr>
            </a:lvl2pPr>
            <a:lvl3pPr marL="400779" indent="0">
              <a:buNone/>
              <a:defRPr sz="899">
                <a:solidFill>
                  <a:schemeClr val="bg1"/>
                </a:solidFill>
              </a:defRPr>
            </a:lvl3pPr>
            <a:lvl4pPr marL="601168" indent="0">
              <a:buNone/>
              <a:defRPr sz="787">
                <a:solidFill>
                  <a:schemeClr val="bg1"/>
                </a:solidFill>
              </a:defRPr>
            </a:lvl4pPr>
            <a:lvl5pPr marL="801557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229C318B-FAE0-4A50-A714-607EF622AFB9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4" y="907750"/>
            <a:ext cx="74578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19BF30-77AC-4AB5-8632-BF71395C23E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A42C7B75-070E-4FA8-81AA-5D744EC27B20}" type="datetime3">
              <a:rPr lang="en-US" smtClean="0"/>
              <a:t>2 July 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54475C-10CE-4EB1-B9D2-1AD083DB73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9A6C31-E14E-4A28-A9E9-2D347271C8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08226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4"/>
            <a:ext cx="2383219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2" y="294200"/>
            <a:ext cx="8887371" cy="590400"/>
          </a:xfrm>
        </p:spPr>
        <p:txBody>
          <a:bodyPr/>
          <a:lstStyle>
            <a:lvl1pPr>
              <a:defRPr sz="134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2" y="1137921"/>
            <a:ext cx="2741455" cy="5018184"/>
          </a:xfrm>
        </p:spPr>
        <p:txBody>
          <a:bodyPr/>
          <a:lstStyle>
            <a:lvl1pPr marL="0" indent="0">
              <a:buNone/>
              <a:defRPr sz="1011">
                <a:solidFill>
                  <a:schemeClr val="bg1"/>
                </a:solidFill>
              </a:defRPr>
            </a:lvl1pPr>
            <a:lvl2pPr marL="200389" indent="0">
              <a:buNone/>
              <a:defRPr sz="1011">
                <a:solidFill>
                  <a:schemeClr val="bg1"/>
                </a:solidFill>
              </a:defRPr>
            </a:lvl2pPr>
            <a:lvl3pPr marL="400779" indent="0">
              <a:buNone/>
              <a:defRPr sz="899">
                <a:solidFill>
                  <a:schemeClr val="bg1"/>
                </a:solidFill>
              </a:defRPr>
            </a:lvl3pPr>
            <a:lvl4pPr marL="601168" indent="0">
              <a:buNone/>
              <a:defRPr sz="787">
                <a:solidFill>
                  <a:schemeClr val="bg1"/>
                </a:solidFill>
              </a:defRPr>
            </a:lvl4pPr>
            <a:lvl5pPr marL="801557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4" y="1137921"/>
            <a:ext cx="2802383" cy="5018184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389" indent="0">
              <a:buNone/>
              <a:defRPr sz="1011">
                <a:solidFill>
                  <a:schemeClr val="bg1"/>
                </a:solidFill>
              </a:defRPr>
            </a:lvl2pPr>
            <a:lvl3pPr marL="400779" indent="0">
              <a:buNone/>
              <a:defRPr sz="899">
                <a:solidFill>
                  <a:schemeClr val="bg1"/>
                </a:solidFill>
              </a:defRPr>
            </a:lvl3pPr>
            <a:lvl4pPr marL="601168" indent="0">
              <a:buNone/>
              <a:defRPr sz="787">
                <a:solidFill>
                  <a:schemeClr val="bg1"/>
                </a:solidFill>
              </a:defRPr>
            </a:lvl4pPr>
            <a:lvl5pPr marL="801557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815244" y="1137927"/>
            <a:ext cx="2767159" cy="2796151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389" indent="0">
              <a:buNone/>
              <a:defRPr sz="1011">
                <a:solidFill>
                  <a:schemeClr val="bg1"/>
                </a:solidFill>
              </a:defRPr>
            </a:lvl2pPr>
            <a:lvl3pPr marL="400779" indent="0">
              <a:buNone/>
              <a:defRPr sz="899">
                <a:solidFill>
                  <a:schemeClr val="bg1"/>
                </a:solidFill>
              </a:defRPr>
            </a:lvl3pPr>
            <a:lvl4pPr marL="601168" indent="0">
              <a:buNone/>
              <a:defRPr sz="787">
                <a:solidFill>
                  <a:schemeClr val="bg1"/>
                </a:solidFill>
              </a:defRPr>
            </a:lvl4pPr>
            <a:lvl5pPr marL="801557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D13F91-AFC9-4CB0-B48E-B4031BDF7D7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815244" y="1137927"/>
            <a:ext cx="2767159" cy="2796151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389" indent="0">
              <a:buNone/>
              <a:defRPr sz="1011">
                <a:solidFill>
                  <a:schemeClr val="bg1"/>
                </a:solidFill>
              </a:defRPr>
            </a:lvl2pPr>
            <a:lvl3pPr marL="400779" indent="0">
              <a:buNone/>
              <a:defRPr sz="899">
                <a:solidFill>
                  <a:schemeClr val="bg1"/>
                </a:solidFill>
              </a:defRPr>
            </a:lvl3pPr>
            <a:lvl4pPr marL="601168" indent="0">
              <a:buNone/>
              <a:defRPr sz="787">
                <a:solidFill>
                  <a:schemeClr val="bg1"/>
                </a:solidFill>
              </a:defRPr>
            </a:lvl4pPr>
            <a:lvl5pPr marL="801557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58BEC6-81BD-4A6C-A6CF-94332742F93B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6CBCD5F7-0DF9-4123-86DA-C7F0BF0B7B5C}" type="datetime3">
              <a:rPr lang="en-US" smtClean="0"/>
              <a:t>2 July 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661FBF-9B0D-493C-BE46-3C702E0F65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C1F439-4CB5-472E-B792-D16C641535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499163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4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01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8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787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EAD7805E-FA43-4FE6-B59E-9A440183B7B9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3" y="907750"/>
            <a:ext cx="11011709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D3198B-8C42-45EB-99DF-C3F1A2ABCB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E7845ABC-A91F-4289-9C66-23D8A5B14269}" type="datetime3">
              <a:rPr lang="en-US" smtClean="0"/>
              <a:t>2 July 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5268C3-3843-40FF-9263-125A8E57D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3DE6C9-5E0D-49AD-8BBE-CFF57149B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75037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20" y="2851522"/>
            <a:ext cx="4445484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023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00389" marR="0" lvl="0" indent="-200389" defTabSz="566351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2EF7B21-823B-4C1B-B44E-8C28E4ECCA2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9741E2ED-6E26-46A5-B0CB-000051BE0FA0}" type="datetime3">
              <a:rPr lang="en-US" smtClean="0"/>
              <a:t>2 July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CE9737-42F0-4F0F-A932-7FE9D402AE1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99A6E3-8A4A-4FC9-88A7-DFA9B43FF9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26901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41" y="0"/>
            <a:ext cx="5968061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6" y="2578743"/>
            <a:ext cx="4535597" cy="1055708"/>
          </a:xfrm>
        </p:spPr>
        <p:txBody>
          <a:bodyPr/>
          <a:lstStyle>
            <a:lvl1pPr marL="0" indent="0">
              <a:buNone/>
              <a:defRPr sz="1686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6" y="3840384"/>
            <a:ext cx="4535597" cy="1055708"/>
          </a:xfrm>
        </p:spPr>
        <p:txBody>
          <a:bodyPr/>
          <a:lstStyle>
            <a:lvl1pPr marL="0" indent="0">
              <a:buNone/>
              <a:defRPr sz="8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2273DE-A8FD-43F9-A3D9-68970B4AF5D1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B9CCEE76-ADAC-4C09-B6FF-B7180031AC22}" type="datetime3">
              <a:rPr lang="en-US" smtClean="0"/>
              <a:t>2 July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2AE062-2E23-4013-8660-9CF8B9A843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5D2FDE-84B3-4A82-878F-6285E65B16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790004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2" y="1137926"/>
            <a:ext cx="4954924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154" y="3813288"/>
            <a:ext cx="3087667" cy="180000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154" y="4055931"/>
            <a:ext cx="3087667" cy="180000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19" y="3578084"/>
            <a:ext cx="10368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506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3" y="1137926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3" y="1635009"/>
            <a:ext cx="5462580" cy="1611554"/>
          </a:xfrm>
        </p:spPr>
        <p:txBody>
          <a:bodyPr/>
          <a:lstStyle>
            <a:lvl1pPr marL="0" indent="0">
              <a:buNone/>
              <a:defRPr sz="8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16" name="Line 10">
            <a:extLst>
              <a:ext uri="{FF2B5EF4-FFF2-40B4-BE49-F238E27FC236}">
                <a16:creationId xmlns:a16="http://schemas.microsoft.com/office/drawing/2014/main" id="{C37BF1DE-E4E1-40C4-B510-30A0AC8ABD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3" y="907750"/>
            <a:ext cx="11011709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1D44C6-2A68-4AD7-9CC8-54BCF100271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9664C035-6A58-4B86-A7B1-540D1C3A5C34}" type="datetime3">
              <a:rPr lang="en-US" smtClean="0"/>
              <a:t>2 July 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2191FF-C540-403B-944B-8EC413F39BA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10440-F38E-4BBB-A6D3-3297528ECAC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6747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952" y="6327648"/>
            <a:ext cx="536672" cy="41148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A3025C-3438-4F2B-8F2C-C1B75E958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CAE98AB9-6E37-47C1-9D85-4203001C89FC}" type="datetime3">
              <a:rPr lang="en-US" smtClean="0"/>
              <a:t>2 July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4889EE-A272-4972-94F8-C2BB452273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97A7D4-D39D-42B7-9480-78FE2F6F9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87190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952" y="6327648"/>
            <a:ext cx="536672" cy="41148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68001" y="2060235"/>
            <a:ext cx="7056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28" lvl="0" indent="-26732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68001" y="5516838"/>
            <a:ext cx="7056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267328" lvl="0" indent="-267328" algn="ctr">
              <a:spcBef>
                <a:spcPts val="0"/>
              </a:spcBef>
              <a:spcAft>
                <a:spcPts val="45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68001" y="5828877"/>
            <a:ext cx="7056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199" dirty="0" smtClean="0">
                <a:latin typeface="+mn-lt"/>
              </a:defRPr>
            </a:lvl1pPr>
          </a:lstStyle>
          <a:p>
            <a:pPr marL="267328" lvl="0" indent="-267328" algn="ctr">
              <a:spcBef>
                <a:spcPts val="0"/>
              </a:spcBef>
              <a:spcAft>
                <a:spcPts val="450"/>
              </a:spcAft>
            </a:pPr>
            <a:r>
              <a:rPr lang="en-US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4537077" y="979792"/>
            <a:ext cx="311785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8396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615373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104670"/>
              </p:ext>
            </p:extLst>
          </p:nvPr>
        </p:nvGraphicFramePr>
        <p:xfrm>
          <a:off x="2121" y="1594"/>
          <a:ext cx="211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CB083FE1-E99D-44D7-999D-47CFE928C923}"/>
              </a:ext>
            </a:extLst>
          </p:cNvPr>
          <p:cNvSpPr/>
          <p:nvPr userDrawn="1"/>
        </p:nvSpPr>
        <p:spPr>
          <a:xfrm>
            <a:off x="-792287" y="600412"/>
            <a:ext cx="1181100" cy="0"/>
          </a:xfrm>
          <a:custGeom>
            <a:avLst/>
            <a:gdLst>
              <a:gd name="connsiteX0" fmla="*/ 0 w 1181100"/>
              <a:gd name="connsiteY0" fmla="*/ 0 h 0"/>
              <a:gd name="connsiteX1" fmla="*/ 1181100 w 1181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81100">
                <a:moveTo>
                  <a:pt x="0" y="0"/>
                </a:moveTo>
                <a:lnTo>
                  <a:pt x="1181100" y="0"/>
                </a:lnTo>
              </a:path>
            </a:pathLst>
          </a:cu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ED65D4E-691A-4FBD-BE99-95B51924333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47932" y="455519"/>
            <a:ext cx="11175818" cy="476462"/>
          </a:xfrm>
        </p:spPr>
        <p:txBody>
          <a:bodyPr numCol="1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lang="en-US" sz="1600" b="0" kern="1200" cap="none" baseline="0" noProof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marL="169790" indent="0">
              <a:buNone/>
              <a:defRPr/>
            </a:lvl2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0" name="Rectangle 36">
            <a:extLst>
              <a:ext uri="{FF2B5EF4-FFF2-40B4-BE49-F238E27FC236}">
                <a16:creationId xmlns:a16="http://schemas.microsoft.com/office/drawing/2014/main" id="{B7B7CC29-EB94-49A6-83FA-332151D992B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99441" y="6544316"/>
            <a:ext cx="284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EY Consult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55758A-1B29-4B10-A0DF-E36C6CB0C26A}"/>
              </a:ext>
            </a:extLst>
          </p:cNvPr>
          <p:cNvGrpSpPr/>
          <p:nvPr userDrawn="1"/>
        </p:nvGrpSpPr>
        <p:grpSpPr>
          <a:xfrm>
            <a:off x="0" y="-2662"/>
            <a:ext cx="12212298" cy="362728"/>
            <a:chOff x="0" y="-12187"/>
            <a:chExt cx="12212298" cy="362728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B22FEE63-9AC1-460E-A154-2C73B1B7C6E1}"/>
                </a:ext>
              </a:extLst>
            </p:cNvPr>
            <p:cNvGrpSpPr/>
            <p:nvPr userDrawn="1"/>
          </p:nvGrpSpPr>
          <p:grpSpPr>
            <a:xfrm>
              <a:off x="0" y="1"/>
              <a:ext cx="12192000" cy="350540"/>
              <a:chOff x="0" y="1"/>
              <a:chExt cx="12192000" cy="350540"/>
            </a:xfrm>
          </p:grpSpPr>
          <p:sp>
            <p:nvSpPr>
              <p:cNvPr id="128" name="AutoShape 4">
                <a:extLst>
                  <a:ext uri="{FF2B5EF4-FFF2-40B4-BE49-F238E27FC236}">
                    <a16:creationId xmlns:a16="http://schemas.microsoft.com/office/drawing/2014/main" id="{247D23B3-6478-4374-B8FC-6CDA4C60EFD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4680" y="68072"/>
                <a:ext cx="167539" cy="200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grpSp>
            <p:nvGrpSpPr>
              <p:cNvPr id="129" name="Group 128">
                <a:extLst>
                  <a:ext uri="{FF2B5EF4-FFF2-40B4-BE49-F238E27FC236}">
                    <a16:creationId xmlns:a16="http://schemas.microsoft.com/office/drawing/2014/main" id="{641DB52E-0EFD-4DD8-879A-2EB9B9278BA9}"/>
                  </a:ext>
                </a:extLst>
              </p:cNvPr>
              <p:cNvGrpSpPr/>
              <p:nvPr userDrawn="1"/>
            </p:nvGrpSpPr>
            <p:grpSpPr>
              <a:xfrm>
                <a:off x="0" y="1"/>
                <a:ext cx="12192000" cy="350540"/>
                <a:chOff x="0" y="1"/>
                <a:chExt cx="12192000" cy="350540"/>
              </a:xfrm>
            </p:grpSpPr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E89FD463-AB74-44B4-B159-4D7E03A53C5B}"/>
                    </a:ext>
                  </a:extLst>
                </p:cNvPr>
                <p:cNvSpPr/>
                <p:nvPr userDrawn="1"/>
              </p:nvSpPr>
              <p:spPr>
                <a:xfrm>
                  <a:off x="0" y="1"/>
                  <a:ext cx="12192000" cy="350540"/>
                </a:xfrm>
                <a:prstGeom prst="rect">
                  <a:avLst/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32" name="Group 131">
                  <a:extLst>
                    <a:ext uri="{FF2B5EF4-FFF2-40B4-BE49-F238E27FC236}">
                      <a16:creationId xmlns:a16="http://schemas.microsoft.com/office/drawing/2014/main" id="{832F7458-14DA-4F75-B33B-B7576058B473}"/>
                    </a:ext>
                  </a:extLst>
                </p:cNvPr>
                <p:cNvGrpSpPr/>
                <p:nvPr userDrawn="1"/>
              </p:nvGrpSpPr>
              <p:grpSpPr>
                <a:xfrm>
                  <a:off x="81557" y="51130"/>
                  <a:ext cx="11861822" cy="211888"/>
                  <a:chOff x="81557" y="51130"/>
                  <a:chExt cx="11861822" cy="211888"/>
                </a:xfrm>
              </p:grpSpPr>
              <p:grpSp>
                <p:nvGrpSpPr>
                  <p:cNvPr id="133" name="Group 132">
                    <a:extLst>
                      <a:ext uri="{FF2B5EF4-FFF2-40B4-BE49-F238E27FC236}">
                        <a16:creationId xmlns:a16="http://schemas.microsoft.com/office/drawing/2014/main" id="{263ABE42-9FA0-46C5-8316-86D15CCDB1C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81557" y="62687"/>
                    <a:ext cx="167539" cy="200331"/>
                    <a:chOff x="784680" y="68072"/>
                    <a:chExt cx="167539" cy="200331"/>
                  </a:xfrm>
                </p:grpSpPr>
                <p:sp>
                  <p:nvSpPr>
                    <p:cNvPr id="142" name="Freeform 6">
                      <a:extLst>
                        <a:ext uri="{FF2B5EF4-FFF2-40B4-BE49-F238E27FC236}">
                          <a16:creationId xmlns:a16="http://schemas.microsoft.com/office/drawing/2014/main" id="{F5183ED4-8014-41C4-9B8B-D94F06D2626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84680" y="68072"/>
                      <a:ext cx="134278" cy="50020"/>
                    </a:xfrm>
                    <a:custGeom>
                      <a:avLst/>
                      <a:gdLst>
                        <a:gd name="T0" fmla="*/ 2723 w 2723"/>
                        <a:gd name="T1" fmla="*/ 0 h 994"/>
                        <a:gd name="T2" fmla="*/ 0 w 2723"/>
                        <a:gd name="T3" fmla="*/ 994 h 994"/>
                        <a:gd name="T4" fmla="*/ 2723 w 2723"/>
                        <a:gd name="T5" fmla="*/ 513 h 994"/>
                        <a:gd name="T6" fmla="*/ 2723 w 2723"/>
                        <a:gd name="T7" fmla="*/ 0 h 9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723" h="994">
                          <a:moveTo>
                            <a:pt x="2723" y="0"/>
                          </a:moveTo>
                          <a:lnTo>
                            <a:pt x="0" y="994"/>
                          </a:lnTo>
                          <a:lnTo>
                            <a:pt x="2723" y="513"/>
                          </a:lnTo>
                          <a:lnTo>
                            <a:pt x="2723" y="0"/>
                          </a:lnTo>
                          <a:close/>
                        </a:path>
                      </a:pathLst>
                    </a:custGeom>
                    <a:solidFill>
                      <a:srgbClr val="F7DF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  <p:sp>
                  <p:nvSpPr>
                    <p:cNvPr id="143" name="Freeform 7">
                      <a:extLst>
                        <a:ext uri="{FF2B5EF4-FFF2-40B4-BE49-F238E27FC236}">
                          <a16:creationId xmlns:a16="http://schemas.microsoft.com/office/drawing/2014/main" id="{92565523-C826-4D06-A589-551275E5A06F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84680" y="138954"/>
                      <a:ext cx="167539" cy="129449"/>
                    </a:xfrm>
                    <a:custGeom>
                      <a:avLst/>
                      <a:gdLst>
                        <a:gd name="T0" fmla="*/ 256 w 3400"/>
                        <a:gd name="T1" fmla="*/ 1749 h 2577"/>
                        <a:gd name="T2" fmla="*/ 278 w 3400"/>
                        <a:gd name="T3" fmla="*/ 1978 h 2577"/>
                        <a:gd name="T4" fmla="*/ 166 w 3400"/>
                        <a:gd name="T5" fmla="*/ 1993 h 2577"/>
                        <a:gd name="T6" fmla="*/ 386 w 3400"/>
                        <a:gd name="T7" fmla="*/ 1940 h 2577"/>
                        <a:gd name="T8" fmla="*/ 458 w 3400"/>
                        <a:gd name="T9" fmla="*/ 2046 h 2577"/>
                        <a:gd name="T10" fmla="*/ 1255 w 3400"/>
                        <a:gd name="T11" fmla="*/ 1820 h 2577"/>
                        <a:gd name="T12" fmla="*/ 1339 w 3400"/>
                        <a:gd name="T13" fmla="*/ 1914 h 2577"/>
                        <a:gd name="T14" fmla="*/ 767 w 3400"/>
                        <a:gd name="T15" fmla="*/ 1703 h 2577"/>
                        <a:gd name="T16" fmla="*/ 813 w 3400"/>
                        <a:gd name="T17" fmla="*/ 1884 h 2577"/>
                        <a:gd name="T18" fmla="*/ 947 w 3400"/>
                        <a:gd name="T19" fmla="*/ 2042 h 2577"/>
                        <a:gd name="T20" fmla="*/ 916 w 3400"/>
                        <a:gd name="T21" fmla="*/ 1855 h 2577"/>
                        <a:gd name="T22" fmla="*/ 2225 w 3400"/>
                        <a:gd name="T23" fmla="*/ 2049 h 2577"/>
                        <a:gd name="T24" fmla="*/ 2376 w 3400"/>
                        <a:gd name="T25" fmla="*/ 1924 h 2577"/>
                        <a:gd name="T26" fmla="*/ 2312 w 3400"/>
                        <a:gd name="T27" fmla="*/ 1906 h 2577"/>
                        <a:gd name="T28" fmla="*/ 2267 w 3400"/>
                        <a:gd name="T29" fmla="*/ 1855 h 2577"/>
                        <a:gd name="T30" fmla="*/ 1441 w 3400"/>
                        <a:gd name="T31" fmla="*/ 1911 h 2577"/>
                        <a:gd name="T32" fmla="*/ 1591 w 3400"/>
                        <a:gd name="T33" fmla="*/ 2031 h 2577"/>
                        <a:gd name="T34" fmla="*/ 1622 w 3400"/>
                        <a:gd name="T35" fmla="*/ 2119 h 2577"/>
                        <a:gd name="T36" fmla="*/ 1507 w 3400"/>
                        <a:gd name="T37" fmla="*/ 1962 h 2577"/>
                        <a:gd name="T38" fmla="*/ 1902 w 3400"/>
                        <a:gd name="T39" fmla="*/ 1848 h 2577"/>
                        <a:gd name="T40" fmla="*/ 1797 w 3400"/>
                        <a:gd name="T41" fmla="*/ 1958 h 2577"/>
                        <a:gd name="T42" fmla="*/ 2006 w 3400"/>
                        <a:gd name="T43" fmla="*/ 1884 h 2577"/>
                        <a:gd name="T44" fmla="*/ 1857 w 3400"/>
                        <a:gd name="T45" fmla="*/ 1968 h 2577"/>
                        <a:gd name="T46" fmla="*/ 1881 w 3400"/>
                        <a:gd name="T47" fmla="*/ 2002 h 2577"/>
                        <a:gd name="T48" fmla="*/ 2467 w 3400"/>
                        <a:gd name="T49" fmla="*/ 1946 h 2577"/>
                        <a:gd name="T50" fmla="*/ 2452 w 3400"/>
                        <a:gd name="T51" fmla="*/ 1821 h 2577"/>
                        <a:gd name="T52" fmla="*/ 2521 w 3400"/>
                        <a:gd name="T53" fmla="*/ 2055 h 2577"/>
                        <a:gd name="T54" fmla="*/ 2555 w 3400"/>
                        <a:gd name="T55" fmla="*/ 1883 h 2577"/>
                        <a:gd name="T56" fmla="*/ 3202 w 3400"/>
                        <a:gd name="T57" fmla="*/ 1928 h 2577"/>
                        <a:gd name="T58" fmla="*/ 3006 w 3400"/>
                        <a:gd name="T59" fmla="*/ 1854 h 2577"/>
                        <a:gd name="T60" fmla="*/ 3140 w 3400"/>
                        <a:gd name="T61" fmla="*/ 2049 h 2577"/>
                        <a:gd name="T62" fmla="*/ 2905 w 3400"/>
                        <a:gd name="T63" fmla="*/ 1964 h 2577"/>
                        <a:gd name="T64" fmla="*/ 2868 w 3400"/>
                        <a:gd name="T65" fmla="*/ 2041 h 2577"/>
                        <a:gd name="T66" fmla="*/ 2713 w 3400"/>
                        <a:gd name="T67" fmla="*/ 2051 h 2577"/>
                        <a:gd name="T68" fmla="*/ 2747 w 3400"/>
                        <a:gd name="T69" fmla="*/ 1996 h 2577"/>
                        <a:gd name="T70" fmla="*/ 3300 w 3400"/>
                        <a:gd name="T71" fmla="*/ 1805 h 2577"/>
                        <a:gd name="T72" fmla="*/ 1073 w 3400"/>
                        <a:gd name="T73" fmla="*/ 2049 h 2577"/>
                        <a:gd name="T74" fmla="*/ 2660 w 3400"/>
                        <a:gd name="T75" fmla="*/ 2279 h 2577"/>
                        <a:gd name="T76" fmla="*/ 2763 w 3400"/>
                        <a:gd name="T77" fmla="*/ 2480 h 2577"/>
                        <a:gd name="T78" fmla="*/ 2737 w 3400"/>
                        <a:gd name="T79" fmla="*/ 2285 h 2577"/>
                        <a:gd name="T80" fmla="*/ 690 w 3400"/>
                        <a:gd name="T81" fmla="*/ 2289 h 2577"/>
                        <a:gd name="T82" fmla="*/ 740 w 3400"/>
                        <a:gd name="T83" fmla="*/ 2301 h 2577"/>
                        <a:gd name="T84" fmla="*/ 222 w 3400"/>
                        <a:gd name="T85" fmla="*/ 2352 h 2577"/>
                        <a:gd name="T86" fmla="*/ 341 w 3400"/>
                        <a:gd name="T87" fmla="*/ 2395 h 2577"/>
                        <a:gd name="T88" fmla="*/ 554 w 3400"/>
                        <a:gd name="T89" fmla="*/ 2395 h 2577"/>
                        <a:gd name="T90" fmla="*/ 412 w 3400"/>
                        <a:gd name="T91" fmla="*/ 2407 h 2577"/>
                        <a:gd name="T92" fmla="*/ 484 w 3400"/>
                        <a:gd name="T93" fmla="*/ 2407 h 2577"/>
                        <a:gd name="T94" fmla="*/ 2419 w 3400"/>
                        <a:gd name="T95" fmla="*/ 2248 h 2577"/>
                        <a:gd name="T96" fmla="*/ 1758 w 3400"/>
                        <a:gd name="T97" fmla="*/ 2233 h 2577"/>
                        <a:gd name="T98" fmla="*/ 2133 w 3400"/>
                        <a:gd name="T99" fmla="*/ 2255 h 2577"/>
                        <a:gd name="T100" fmla="*/ 2204 w 3400"/>
                        <a:gd name="T101" fmla="*/ 2483 h 2577"/>
                        <a:gd name="T102" fmla="*/ 2269 w 3400"/>
                        <a:gd name="T103" fmla="*/ 2249 h 2577"/>
                        <a:gd name="T104" fmla="*/ 2204 w 3400"/>
                        <a:gd name="T105" fmla="*/ 2284 h 2577"/>
                        <a:gd name="T106" fmla="*/ 845 w 3400"/>
                        <a:gd name="T107" fmla="*/ 2131 h 2577"/>
                        <a:gd name="T108" fmla="*/ 1323 w 3400"/>
                        <a:gd name="T109" fmla="*/ 2244 h 2577"/>
                        <a:gd name="T110" fmla="*/ 1220 w 3400"/>
                        <a:gd name="T111" fmla="*/ 2299 h 2577"/>
                        <a:gd name="T112" fmla="*/ 1410 w 3400"/>
                        <a:gd name="T113" fmla="*/ 2289 h 2577"/>
                        <a:gd name="T114" fmla="*/ 1525 w 3400"/>
                        <a:gd name="T115" fmla="*/ 2477 h 2577"/>
                        <a:gd name="T116" fmla="*/ 1544 w 3400"/>
                        <a:gd name="T117" fmla="*/ 2570 h 2577"/>
                        <a:gd name="T118" fmla="*/ 1491 w 3400"/>
                        <a:gd name="T119" fmla="*/ 2424 h 2577"/>
                        <a:gd name="T120" fmla="*/ 1094 w 3400"/>
                        <a:gd name="T121" fmla="*/ 2341 h 2577"/>
                        <a:gd name="T122" fmla="*/ 437 w 3400"/>
                        <a:gd name="T123" fmla="*/ 1061 h 25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3400" h="2577">
                          <a:moveTo>
                            <a:pt x="283" y="1942"/>
                          </a:moveTo>
                          <a:lnTo>
                            <a:pt x="283" y="1942"/>
                          </a:lnTo>
                          <a:lnTo>
                            <a:pt x="283" y="1934"/>
                          </a:lnTo>
                          <a:lnTo>
                            <a:pt x="282" y="1927"/>
                          </a:lnTo>
                          <a:lnTo>
                            <a:pt x="278" y="1912"/>
                          </a:lnTo>
                          <a:lnTo>
                            <a:pt x="272" y="1900"/>
                          </a:lnTo>
                          <a:lnTo>
                            <a:pt x="265" y="1890"/>
                          </a:lnTo>
                          <a:lnTo>
                            <a:pt x="256" y="1883"/>
                          </a:lnTo>
                          <a:lnTo>
                            <a:pt x="248" y="1877"/>
                          </a:lnTo>
                          <a:lnTo>
                            <a:pt x="241" y="1872"/>
                          </a:lnTo>
                          <a:lnTo>
                            <a:pt x="233" y="1868"/>
                          </a:lnTo>
                          <a:lnTo>
                            <a:pt x="233" y="1868"/>
                          </a:lnTo>
                          <a:lnTo>
                            <a:pt x="242" y="1862"/>
                          </a:lnTo>
                          <a:lnTo>
                            <a:pt x="249" y="1856"/>
                          </a:lnTo>
                          <a:lnTo>
                            <a:pt x="255" y="1849"/>
                          </a:lnTo>
                          <a:lnTo>
                            <a:pt x="261" y="1840"/>
                          </a:lnTo>
                          <a:lnTo>
                            <a:pt x="266" y="1832"/>
                          </a:lnTo>
                          <a:lnTo>
                            <a:pt x="269" y="1822"/>
                          </a:lnTo>
                          <a:lnTo>
                            <a:pt x="271" y="1812"/>
                          </a:lnTo>
                          <a:lnTo>
                            <a:pt x="271" y="1801"/>
                          </a:lnTo>
                          <a:lnTo>
                            <a:pt x="271" y="1801"/>
                          </a:lnTo>
                          <a:lnTo>
                            <a:pt x="271" y="1792"/>
                          </a:lnTo>
                          <a:lnTo>
                            <a:pt x="270" y="1782"/>
                          </a:lnTo>
                          <a:lnTo>
                            <a:pt x="267" y="1773"/>
                          </a:lnTo>
                          <a:lnTo>
                            <a:pt x="265" y="1765"/>
                          </a:lnTo>
                          <a:lnTo>
                            <a:pt x="261" y="1756"/>
                          </a:lnTo>
                          <a:lnTo>
                            <a:pt x="256" y="1749"/>
                          </a:lnTo>
                          <a:lnTo>
                            <a:pt x="250" y="1743"/>
                          </a:lnTo>
                          <a:lnTo>
                            <a:pt x="244" y="1737"/>
                          </a:lnTo>
                          <a:lnTo>
                            <a:pt x="237" y="1732"/>
                          </a:lnTo>
                          <a:lnTo>
                            <a:pt x="230" y="1727"/>
                          </a:lnTo>
                          <a:lnTo>
                            <a:pt x="221" y="1724"/>
                          </a:lnTo>
                          <a:lnTo>
                            <a:pt x="211" y="1720"/>
                          </a:lnTo>
                          <a:lnTo>
                            <a:pt x="202" y="1718"/>
                          </a:lnTo>
                          <a:lnTo>
                            <a:pt x="191" y="1715"/>
                          </a:lnTo>
                          <a:lnTo>
                            <a:pt x="180" y="1715"/>
                          </a:lnTo>
                          <a:lnTo>
                            <a:pt x="168" y="1714"/>
                          </a:lnTo>
                          <a:lnTo>
                            <a:pt x="24" y="1714"/>
                          </a:lnTo>
                          <a:lnTo>
                            <a:pt x="24" y="2049"/>
                          </a:lnTo>
                          <a:lnTo>
                            <a:pt x="166" y="2049"/>
                          </a:lnTo>
                          <a:lnTo>
                            <a:pt x="166" y="2049"/>
                          </a:lnTo>
                          <a:lnTo>
                            <a:pt x="180" y="2049"/>
                          </a:lnTo>
                          <a:lnTo>
                            <a:pt x="192" y="2048"/>
                          </a:lnTo>
                          <a:lnTo>
                            <a:pt x="204" y="2046"/>
                          </a:lnTo>
                          <a:lnTo>
                            <a:pt x="215" y="2042"/>
                          </a:lnTo>
                          <a:lnTo>
                            <a:pt x="226" y="2038"/>
                          </a:lnTo>
                          <a:lnTo>
                            <a:pt x="236" y="2034"/>
                          </a:lnTo>
                          <a:lnTo>
                            <a:pt x="244" y="2028"/>
                          </a:lnTo>
                          <a:lnTo>
                            <a:pt x="252" y="2021"/>
                          </a:lnTo>
                          <a:lnTo>
                            <a:pt x="259" y="2014"/>
                          </a:lnTo>
                          <a:lnTo>
                            <a:pt x="265" y="2006"/>
                          </a:lnTo>
                          <a:lnTo>
                            <a:pt x="271" y="1997"/>
                          </a:lnTo>
                          <a:lnTo>
                            <a:pt x="275" y="1987"/>
                          </a:lnTo>
                          <a:lnTo>
                            <a:pt x="278" y="1978"/>
                          </a:lnTo>
                          <a:lnTo>
                            <a:pt x="281" y="1967"/>
                          </a:lnTo>
                          <a:lnTo>
                            <a:pt x="282" y="1955"/>
                          </a:lnTo>
                          <a:lnTo>
                            <a:pt x="283" y="1942"/>
                          </a:lnTo>
                          <a:lnTo>
                            <a:pt x="283" y="1942"/>
                          </a:lnTo>
                          <a:close/>
                          <a:moveTo>
                            <a:pt x="166" y="1993"/>
                          </a:moveTo>
                          <a:lnTo>
                            <a:pt x="86" y="1993"/>
                          </a:lnTo>
                          <a:lnTo>
                            <a:pt x="86" y="1897"/>
                          </a:lnTo>
                          <a:lnTo>
                            <a:pt x="166" y="1897"/>
                          </a:lnTo>
                          <a:lnTo>
                            <a:pt x="166" y="1897"/>
                          </a:lnTo>
                          <a:lnTo>
                            <a:pt x="179" y="1899"/>
                          </a:lnTo>
                          <a:lnTo>
                            <a:pt x="188" y="1900"/>
                          </a:lnTo>
                          <a:lnTo>
                            <a:pt x="197" y="1904"/>
                          </a:lnTo>
                          <a:lnTo>
                            <a:pt x="204" y="1910"/>
                          </a:lnTo>
                          <a:lnTo>
                            <a:pt x="210" y="1916"/>
                          </a:lnTo>
                          <a:lnTo>
                            <a:pt x="214" y="1924"/>
                          </a:lnTo>
                          <a:lnTo>
                            <a:pt x="216" y="1934"/>
                          </a:lnTo>
                          <a:lnTo>
                            <a:pt x="218" y="1945"/>
                          </a:lnTo>
                          <a:lnTo>
                            <a:pt x="218" y="1945"/>
                          </a:lnTo>
                          <a:lnTo>
                            <a:pt x="216" y="1956"/>
                          </a:lnTo>
                          <a:lnTo>
                            <a:pt x="214" y="1966"/>
                          </a:lnTo>
                          <a:lnTo>
                            <a:pt x="209" y="1974"/>
                          </a:lnTo>
                          <a:lnTo>
                            <a:pt x="204" y="1980"/>
                          </a:lnTo>
                          <a:lnTo>
                            <a:pt x="197" y="1986"/>
                          </a:lnTo>
                          <a:lnTo>
                            <a:pt x="188" y="1990"/>
                          </a:lnTo>
                          <a:lnTo>
                            <a:pt x="177" y="1992"/>
                          </a:lnTo>
                          <a:lnTo>
                            <a:pt x="166" y="1993"/>
                          </a:lnTo>
                          <a:lnTo>
                            <a:pt x="166" y="1993"/>
                          </a:lnTo>
                          <a:close/>
                          <a:moveTo>
                            <a:pt x="165" y="1843"/>
                          </a:moveTo>
                          <a:lnTo>
                            <a:pt x="86" y="1843"/>
                          </a:lnTo>
                          <a:lnTo>
                            <a:pt x="86" y="1771"/>
                          </a:lnTo>
                          <a:lnTo>
                            <a:pt x="163" y="1771"/>
                          </a:lnTo>
                          <a:lnTo>
                            <a:pt x="163" y="1771"/>
                          </a:lnTo>
                          <a:lnTo>
                            <a:pt x="173" y="1772"/>
                          </a:lnTo>
                          <a:lnTo>
                            <a:pt x="182" y="1773"/>
                          </a:lnTo>
                          <a:lnTo>
                            <a:pt x="190" y="1776"/>
                          </a:lnTo>
                          <a:lnTo>
                            <a:pt x="196" y="1780"/>
                          </a:lnTo>
                          <a:lnTo>
                            <a:pt x="201" y="1786"/>
                          </a:lnTo>
                          <a:lnTo>
                            <a:pt x="204" y="1792"/>
                          </a:lnTo>
                          <a:lnTo>
                            <a:pt x="205" y="1799"/>
                          </a:lnTo>
                          <a:lnTo>
                            <a:pt x="207" y="1807"/>
                          </a:lnTo>
                          <a:lnTo>
                            <a:pt x="207" y="1807"/>
                          </a:lnTo>
                          <a:lnTo>
                            <a:pt x="207" y="1814"/>
                          </a:lnTo>
                          <a:lnTo>
                            <a:pt x="205" y="1820"/>
                          </a:lnTo>
                          <a:lnTo>
                            <a:pt x="203" y="1826"/>
                          </a:lnTo>
                          <a:lnTo>
                            <a:pt x="199" y="1831"/>
                          </a:lnTo>
                          <a:lnTo>
                            <a:pt x="193" y="1835"/>
                          </a:lnTo>
                          <a:lnTo>
                            <a:pt x="186" y="1839"/>
                          </a:lnTo>
                          <a:lnTo>
                            <a:pt x="177" y="1842"/>
                          </a:lnTo>
                          <a:lnTo>
                            <a:pt x="165" y="1843"/>
                          </a:lnTo>
                          <a:lnTo>
                            <a:pt x="165" y="1843"/>
                          </a:lnTo>
                          <a:close/>
                          <a:moveTo>
                            <a:pt x="326" y="1944"/>
                          </a:moveTo>
                          <a:lnTo>
                            <a:pt x="326" y="1805"/>
                          </a:lnTo>
                          <a:lnTo>
                            <a:pt x="386" y="1805"/>
                          </a:lnTo>
                          <a:lnTo>
                            <a:pt x="386" y="1940"/>
                          </a:lnTo>
                          <a:lnTo>
                            <a:pt x="386" y="1940"/>
                          </a:lnTo>
                          <a:lnTo>
                            <a:pt x="386" y="1953"/>
                          </a:lnTo>
                          <a:lnTo>
                            <a:pt x="389" y="1967"/>
                          </a:lnTo>
                          <a:lnTo>
                            <a:pt x="392" y="1976"/>
                          </a:lnTo>
                          <a:lnTo>
                            <a:pt x="397" y="1985"/>
                          </a:lnTo>
                          <a:lnTo>
                            <a:pt x="403" y="1991"/>
                          </a:lnTo>
                          <a:lnTo>
                            <a:pt x="411" y="1996"/>
                          </a:lnTo>
                          <a:lnTo>
                            <a:pt x="420" y="1998"/>
                          </a:lnTo>
                          <a:lnTo>
                            <a:pt x="431" y="2000"/>
                          </a:lnTo>
                          <a:lnTo>
                            <a:pt x="431" y="2000"/>
                          </a:lnTo>
                          <a:lnTo>
                            <a:pt x="442" y="1998"/>
                          </a:lnTo>
                          <a:lnTo>
                            <a:pt x="451" y="1996"/>
                          </a:lnTo>
                          <a:lnTo>
                            <a:pt x="459" y="1991"/>
                          </a:lnTo>
                          <a:lnTo>
                            <a:pt x="465" y="1985"/>
                          </a:lnTo>
                          <a:lnTo>
                            <a:pt x="470" y="1976"/>
                          </a:lnTo>
                          <a:lnTo>
                            <a:pt x="474" y="1966"/>
                          </a:lnTo>
                          <a:lnTo>
                            <a:pt x="476" y="1953"/>
                          </a:lnTo>
                          <a:lnTo>
                            <a:pt x="476" y="1940"/>
                          </a:lnTo>
                          <a:lnTo>
                            <a:pt x="476" y="1805"/>
                          </a:lnTo>
                          <a:lnTo>
                            <a:pt x="537" y="1805"/>
                          </a:lnTo>
                          <a:lnTo>
                            <a:pt x="537" y="2049"/>
                          </a:lnTo>
                          <a:lnTo>
                            <a:pt x="476" y="2049"/>
                          </a:lnTo>
                          <a:lnTo>
                            <a:pt x="476" y="2030"/>
                          </a:lnTo>
                          <a:lnTo>
                            <a:pt x="476" y="2030"/>
                          </a:lnTo>
                          <a:lnTo>
                            <a:pt x="471" y="2036"/>
                          </a:lnTo>
                          <a:lnTo>
                            <a:pt x="464" y="2041"/>
                          </a:lnTo>
                          <a:lnTo>
                            <a:pt x="458" y="2046"/>
                          </a:lnTo>
                          <a:lnTo>
                            <a:pt x="451" y="2048"/>
                          </a:lnTo>
                          <a:lnTo>
                            <a:pt x="444" y="2052"/>
                          </a:lnTo>
                          <a:lnTo>
                            <a:pt x="435" y="2053"/>
                          </a:lnTo>
                          <a:lnTo>
                            <a:pt x="427" y="2054"/>
                          </a:lnTo>
                          <a:lnTo>
                            <a:pt x="418" y="2055"/>
                          </a:lnTo>
                          <a:lnTo>
                            <a:pt x="418" y="2055"/>
                          </a:lnTo>
                          <a:lnTo>
                            <a:pt x="403" y="2054"/>
                          </a:lnTo>
                          <a:lnTo>
                            <a:pt x="391" y="2052"/>
                          </a:lnTo>
                          <a:lnTo>
                            <a:pt x="380" y="2048"/>
                          </a:lnTo>
                          <a:lnTo>
                            <a:pt x="369" y="2043"/>
                          </a:lnTo>
                          <a:lnTo>
                            <a:pt x="361" y="2037"/>
                          </a:lnTo>
                          <a:lnTo>
                            <a:pt x="354" y="2031"/>
                          </a:lnTo>
                          <a:lnTo>
                            <a:pt x="348" y="2023"/>
                          </a:lnTo>
                          <a:lnTo>
                            <a:pt x="341" y="2014"/>
                          </a:lnTo>
                          <a:lnTo>
                            <a:pt x="338" y="2006"/>
                          </a:lnTo>
                          <a:lnTo>
                            <a:pt x="334" y="1997"/>
                          </a:lnTo>
                          <a:lnTo>
                            <a:pt x="329" y="1978"/>
                          </a:lnTo>
                          <a:lnTo>
                            <a:pt x="327" y="1959"/>
                          </a:lnTo>
                          <a:lnTo>
                            <a:pt x="326" y="1944"/>
                          </a:lnTo>
                          <a:lnTo>
                            <a:pt x="326" y="1944"/>
                          </a:lnTo>
                          <a:close/>
                          <a:moveTo>
                            <a:pt x="1249" y="2049"/>
                          </a:moveTo>
                          <a:lnTo>
                            <a:pt x="1188" y="2049"/>
                          </a:lnTo>
                          <a:lnTo>
                            <a:pt x="1188" y="1805"/>
                          </a:lnTo>
                          <a:lnTo>
                            <a:pt x="1249" y="1805"/>
                          </a:lnTo>
                          <a:lnTo>
                            <a:pt x="1249" y="1826"/>
                          </a:lnTo>
                          <a:lnTo>
                            <a:pt x="1249" y="1826"/>
                          </a:lnTo>
                          <a:lnTo>
                            <a:pt x="1255" y="1820"/>
                          </a:lnTo>
                          <a:lnTo>
                            <a:pt x="1261" y="1814"/>
                          </a:lnTo>
                          <a:lnTo>
                            <a:pt x="1269" y="1810"/>
                          </a:lnTo>
                          <a:lnTo>
                            <a:pt x="1276" y="1806"/>
                          </a:lnTo>
                          <a:lnTo>
                            <a:pt x="1284" y="1803"/>
                          </a:lnTo>
                          <a:lnTo>
                            <a:pt x="1292" y="1801"/>
                          </a:lnTo>
                          <a:lnTo>
                            <a:pt x="1301" y="1800"/>
                          </a:lnTo>
                          <a:lnTo>
                            <a:pt x="1310" y="1799"/>
                          </a:lnTo>
                          <a:lnTo>
                            <a:pt x="1310" y="1799"/>
                          </a:lnTo>
                          <a:lnTo>
                            <a:pt x="1321" y="1800"/>
                          </a:lnTo>
                          <a:lnTo>
                            <a:pt x="1331" y="1801"/>
                          </a:lnTo>
                          <a:lnTo>
                            <a:pt x="1340" y="1804"/>
                          </a:lnTo>
                          <a:lnTo>
                            <a:pt x="1349" y="1806"/>
                          </a:lnTo>
                          <a:lnTo>
                            <a:pt x="1357" y="1810"/>
                          </a:lnTo>
                          <a:lnTo>
                            <a:pt x="1365" y="1816"/>
                          </a:lnTo>
                          <a:lnTo>
                            <a:pt x="1371" y="1821"/>
                          </a:lnTo>
                          <a:lnTo>
                            <a:pt x="1377" y="1828"/>
                          </a:lnTo>
                          <a:lnTo>
                            <a:pt x="1383" y="1835"/>
                          </a:lnTo>
                          <a:lnTo>
                            <a:pt x="1386" y="1844"/>
                          </a:lnTo>
                          <a:lnTo>
                            <a:pt x="1391" y="1852"/>
                          </a:lnTo>
                          <a:lnTo>
                            <a:pt x="1394" y="1862"/>
                          </a:lnTo>
                          <a:lnTo>
                            <a:pt x="1396" y="1873"/>
                          </a:lnTo>
                          <a:lnTo>
                            <a:pt x="1399" y="1885"/>
                          </a:lnTo>
                          <a:lnTo>
                            <a:pt x="1400" y="1897"/>
                          </a:lnTo>
                          <a:lnTo>
                            <a:pt x="1400" y="1911"/>
                          </a:lnTo>
                          <a:lnTo>
                            <a:pt x="1400" y="2049"/>
                          </a:lnTo>
                          <a:lnTo>
                            <a:pt x="1339" y="2049"/>
                          </a:lnTo>
                          <a:lnTo>
                            <a:pt x="1339" y="1914"/>
                          </a:lnTo>
                          <a:lnTo>
                            <a:pt x="1339" y="1914"/>
                          </a:lnTo>
                          <a:lnTo>
                            <a:pt x="1339" y="1900"/>
                          </a:lnTo>
                          <a:lnTo>
                            <a:pt x="1337" y="1888"/>
                          </a:lnTo>
                          <a:lnTo>
                            <a:pt x="1333" y="1878"/>
                          </a:lnTo>
                          <a:lnTo>
                            <a:pt x="1328" y="1869"/>
                          </a:lnTo>
                          <a:lnTo>
                            <a:pt x="1322" y="1863"/>
                          </a:lnTo>
                          <a:lnTo>
                            <a:pt x="1315" y="1859"/>
                          </a:lnTo>
                          <a:lnTo>
                            <a:pt x="1306" y="1856"/>
                          </a:lnTo>
                          <a:lnTo>
                            <a:pt x="1295" y="1855"/>
                          </a:lnTo>
                          <a:lnTo>
                            <a:pt x="1295" y="1855"/>
                          </a:lnTo>
                          <a:lnTo>
                            <a:pt x="1284" y="1856"/>
                          </a:lnTo>
                          <a:lnTo>
                            <a:pt x="1275" y="1859"/>
                          </a:lnTo>
                          <a:lnTo>
                            <a:pt x="1267" y="1863"/>
                          </a:lnTo>
                          <a:lnTo>
                            <a:pt x="1261" y="1869"/>
                          </a:lnTo>
                          <a:lnTo>
                            <a:pt x="1255" y="1878"/>
                          </a:lnTo>
                          <a:lnTo>
                            <a:pt x="1252" y="1889"/>
                          </a:lnTo>
                          <a:lnTo>
                            <a:pt x="1249" y="1901"/>
                          </a:lnTo>
                          <a:lnTo>
                            <a:pt x="1249" y="1914"/>
                          </a:lnTo>
                          <a:lnTo>
                            <a:pt x="1249" y="2049"/>
                          </a:lnTo>
                          <a:close/>
                          <a:moveTo>
                            <a:pt x="653" y="1927"/>
                          </a:moveTo>
                          <a:lnTo>
                            <a:pt x="653" y="2049"/>
                          </a:lnTo>
                          <a:lnTo>
                            <a:pt x="592" y="2049"/>
                          </a:lnTo>
                          <a:lnTo>
                            <a:pt x="592" y="1805"/>
                          </a:lnTo>
                          <a:lnTo>
                            <a:pt x="653" y="1805"/>
                          </a:lnTo>
                          <a:lnTo>
                            <a:pt x="653" y="1927"/>
                          </a:lnTo>
                          <a:close/>
                          <a:moveTo>
                            <a:pt x="706" y="1733"/>
                          </a:moveTo>
                          <a:lnTo>
                            <a:pt x="767" y="1703"/>
                          </a:lnTo>
                          <a:lnTo>
                            <a:pt x="767" y="1924"/>
                          </a:lnTo>
                          <a:lnTo>
                            <a:pt x="767" y="2049"/>
                          </a:lnTo>
                          <a:lnTo>
                            <a:pt x="706" y="2049"/>
                          </a:lnTo>
                          <a:lnTo>
                            <a:pt x="706" y="1733"/>
                          </a:lnTo>
                          <a:close/>
                          <a:moveTo>
                            <a:pt x="959" y="1822"/>
                          </a:moveTo>
                          <a:lnTo>
                            <a:pt x="959" y="1822"/>
                          </a:lnTo>
                          <a:lnTo>
                            <a:pt x="954" y="1816"/>
                          </a:lnTo>
                          <a:lnTo>
                            <a:pt x="948" y="1812"/>
                          </a:lnTo>
                          <a:lnTo>
                            <a:pt x="941" y="1807"/>
                          </a:lnTo>
                          <a:lnTo>
                            <a:pt x="934" y="1805"/>
                          </a:lnTo>
                          <a:lnTo>
                            <a:pt x="927" y="1803"/>
                          </a:lnTo>
                          <a:lnTo>
                            <a:pt x="920" y="1800"/>
                          </a:lnTo>
                          <a:lnTo>
                            <a:pt x="905" y="1799"/>
                          </a:lnTo>
                          <a:lnTo>
                            <a:pt x="905" y="1799"/>
                          </a:lnTo>
                          <a:lnTo>
                            <a:pt x="894" y="1800"/>
                          </a:lnTo>
                          <a:lnTo>
                            <a:pt x="883" y="1801"/>
                          </a:lnTo>
                          <a:lnTo>
                            <a:pt x="874" y="1804"/>
                          </a:lnTo>
                          <a:lnTo>
                            <a:pt x="865" y="1807"/>
                          </a:lnTo>
                          <a:lnTo>
                            <a:pt x="857" y="1812"/>
                          </a:lnTo>
                          <a:lnTo>
                            <a:pt x="848" y="1818"/>
                          </a:lnTo>
                          <a:lnTo>
                            <a:pt x="841" y="1826"/>
                          </a:lnTo>
                          <a:lnTo>
                            <a:pt x="835" y="1833"/>
                          </a:lnTo>
                          <a:lnTo>
                            <a:pt x="829" y="1842"/>
                          </a:lnTo>
                          <a:lnTo>
                            <a:pt x="824" y="1851"/>
                          </a:lnTo>
                          <a:lnTo>
                            <a:pt x="819" y="1861"/>
                          </a:lnTo>
                          <a:lnTo>
                            <a:pt x="815" y="1872"/>
                          </a:lnTo>
                          <a:lnTo>
                            <a:pt x="813" y="1884"/>
                          </a:lnTo>
                          <a:lnTo>
                            <a:pt x="811" y="1897"/>
                          </a:lnTo>
                          <a:lnTo>
                            <a:pt x="809" y="1911"/>
                          </a:lnTo>
                          <a:lnTo>
                            <a:pt x="809" y="1924"/>
                          </a:lnTo>
                          <a:lnTo>
                            <a:pt x="809" y="1924"/>
                          </a:lnTo>
                          <a:lnTo>
                            <a:pt x="809" y="1940"/>
                          </a:lnTo>
                          <a:lnTo>
                            <a:pt x="811" y="1953"/>
                          </a:lnTo>
                          <a:lnTo>
                            <a:pt x="813" y="1967"/>
                          </a:lnTo>
                          <a:lnTo>
                            <a:pt x="815" y="1979"/>
                          </a:lnTo>
                          <a:lnTo>
                            <a:pt x="819" y="1991"/>
                          </a:lnTo>
                          <a:lnTo>
                            <a:pt x="823" y="2002"/>
                          </a:lnTo>
                          <a:lnTo>
                            <a:pt x="828" y="2012"/>
                          </a:lnTo>
                          <a:lnTo>
                            <a:pt x="834" y="2020"/>
                          </a:lnTo>
                          <a:lnTo>
                            <a:pt x="841" y="2029"/>
                          </a:lnTo>
                          <a:lnTo>
                            <a:pt x="847" y="2035"/>
                          </a:lnTo>
                          <a:lnTo>
                            <a:pt x="855" y="2041"/>
                          </a:lnTo>
                          <a:lnTo>
                            <a:pt x="864" y="2046"/>
                          </a:lnTo>
                          <a:lnTo>
                            <a:pt x="872" y="2049"/>
                          </a:lnTo>
                          <a:lnTo>
                            <a:pt x="882" y="2053"/>
                          </a:lnTo>
                          <a:lnTo>
                            <a:pt x="893" y="2054"/>
                          </a:lnTo>
                          <a:lnTo>
                            <a:pt x="904" y="2055"/>
                          </a:lnTo>
                          <a:lnTo>
                            <a:pt x="904" y="2055"/>
                          </a:lnTo>
                          <a:lnTo>
                            <a:pt x="911" y="2054"/>
                          </a:lnTo>
                          <a:lnTo>
                            <a:pt x="919" y="2053"/>
                          </a:lnTo>
                          <a:lnTo>
                            <a:pt x="926" y="2052"/>
                          </a:lnTo>
                          <a:lnTo>
                            <a:pt x="933" y="2049"/>
                          </a:lnTo>
                          <a:lnTo>
                            <a:pt x="939" y="2046"/>
                          </a:lnTo>
                          <a:lnTo>
                            <a:pt x="947" y="2042"/>
                          </a:lnTo>
                          <a:lnTo>
                            <a:pt x="953" y="2037"/>
                          </a:lnTo>
                          <a:lnTo>
                            <a:pt x="959" y="2031"/>
                          </a:lnTo>
                          <a:lnTo>
                            <a:pt x="959" y="2049"/>
                          </a:lnTo>
                          <a:lnTo>
                            <a:pt x="1020" y="2049"/>
                          </a:lnTo>
                          <a:lnTo>
                            <a:pt x="1020" y="1703"/>
                          </a:lnTo>
                          <a:lnTo>
                            <a:pt x="959" y="1733"/>
                          </a:lnTo>
                          <a:lnTo>
                            <a:pt x="959" y="1822"/>
                          </a:lnTo>
                          <a:close/>
                          <a:moveTo>
                            <a:pt x="916" y="2000"/>
                          </a:moveTo>
                          <a:lnTo>
                            <a:pt x="916" y="2000"/>
                          </a:lnTo>
                          <a:lnTo>
                            <a:pt x="909" y="1998"/>
                          </a:lnTo>
                          <a:lnTo>
                            <a:pt x="900" y="1996"/>
                          </a:lnTo>
                          <a:lnTo>
                            <a:pt x="893" y="1992"/>
                          </a:lnTo>
                          <a:lnTo>
                            <a:pt x="886" y="1985"/>
                          </a:lnTo>
                          <a:lnTo>
                            <a:pt x="880" y="1975"/>
                          </a:lnTo>
                          <a:lnTo>
                            <a:pt x="875" y="1962"/>
                          </a:lnTo>
                          <a:lnTo>
                            <a:pt x="871" y="1945"/>
                          </a:lnTo>
                          <a:lnTo>
                            <a:pt x="870" y="1923"/>
                          </a:lnTo>
                          <a:lnTo>
                            <a:pt x="870" y="1923"/>
                          </a:lnTo>
                          <a:lnTo>
                            <a:pt x="871" y="1904"/>
                          </a:lnTo>
                          <a:lnTo>
                            <a:pt x="875" y="1889"/>
                          </a:lnTo>
                          <a:lnTo>
                            <a:pt x="880" y="1877"/>
                          </a:lnTo>
                          <a:lnTo>
                            <a:pt x="886" y="1868"/>
                          </a:lnTo>
                          <a:lnTo>
                            <a:pt x="892" y="1861"/>
                          </a:lnTo>
                          <a:lnTo>
                            <a:pt x="900" y="1857"/>
                          </a:lnTo>
                          <a:lnTo>
                            <a:pt x="908" y="1855"/>
                          </a:lnTo>
                          <a:lnTo>
                            <a:pt x="916" y="1855"/>
                          </a:lnTo>
                          <a:lnTo>
                            <a:pt x="916" y="1855"/>
                          </a:lnTo>
                          <a:lnTo>
                            <a:pt x="924" y="1855"/>
                          </a:lnTo>
                          <a:lnTo>
                            <a:pt x="931" y="1857"/>
                          </a:lnTo>
                          <a:lnTo>
                            <a:pt x="938" y="1860"/>
                          </a:lnTo>
                          <a:lnTo>
                            <a:pt x="943" y="1863"/>
                          </a:lnTo>
                          <a:lnTo>
                            <a:pt x="948" y="1867"/>
                          </a:lnTo>
                          <a:lnTo>
                            <a:pt x="953" y="1871"/>
                          </a:lnTo>
                          <a:lnTo>
                            <a:pt x="959" y="1879"/>
                          </a:lnTo>
                          <a:lnTo>
                            <a:pt x="959" y="1975"/>
                          </a:lnTo>
                          <a:lnTo>
                            <a:pt x="959" y="1975"/>
                          </a:lnTo>
                          <a:lnTo>
                            <a:pt x="951" y="1984"/>
                          </a:lnTo>
                          <a:lnTo>
                            <a:pt x="943" y="1991"/>
                          </a:lnTo>
                          <a:lnTo>
                            <a:pt x="938" y="1995"/>
                          </a:lnTo>
                          <a:lnTo>
                            <a:pt x="931" y="1997"/>
                          </a:lnTo>
                          <a:lnTo>
                            <a:pt x="925" y="1998"/>
                          </a:lnTo>
                          <a:lnTo>
                            <a:pt x="916" y="2000"/>
                          </a:lnTo>
                          <a:lnTo>
                            <a:pt x="916" y="2000"/>
                          </a:lnTo>
                          <a:close/>
                          <a:moveTo>
                            <a:pt x="2278" y="1799"/>
                          </a:moveTo>
                          <a:lnTo>
                            <a:pt x="2278" y="1799"/>
                          </a:lnTo>
                          <a:lnTo>
                            <a:pt x="2272" y="1800"/>
                          </a:lnTo>
                          <a:lnTo>
                            <a:pt x="2265" y="1801"/>
                          </a:lnTo>
                          <a:lnTo>
                            <a:pt x="2250" y="1805"/>
                          </a:lnTo>
                          <a:lnTo>
                            <a:pt x="2237" y="1812"/>
                          </a:lnTo>
                          <a:lnTo>
                            <a:pt x="2225" y="1822"/>
                          </a:lnTo>
                          <a:lnTo>
                            <a:pt x="2225" y="1709"/>
                          </a:lnTo>
                          <a:lnTo>
                            <a:pt x="2164" y="1739"/>
                          </a:lnTo>
                          <a:lnTo>
                            <a:pt x="2164" y="2049"/>
                          </a:lnTo>
                          <a:lnTo>
                            <a:pt x="2225" y="2049"/>
                          </a:lnTo>
                          <a:lnTo>
                            <a:pt x="2225" y="2031"/>
                          </a:lnTo>
                          <a:lnTo>
                            <a:pt x="2225" y="2031"/>
                          </a:lnTo>
                          <a:lnTo>
                            <a:pt x="2230" y="2037"/>
                          </a:lnTo>
                          <a:lnTo>
                            <a:pt x="2237" y="2042"/>
                          </a:lnTo>
                          <a:lnTo>
                            <a:pt x="2243" y="2046"/>
                          </a:lnTo>
                          <a:lnTo>
                            <a:pt x="2250" y="2049"/>
                          </a:lnTo>
                          <a:lnTo>
                            <a:pt x="2257" y="2052"/>
                          </a:lnTo>
                          <a:lnTo>
                            <a:pt x="2265" y="2053"/>
                          </a:lnTo>
                          <a:lnTo>
                            <a:pt x="2272" y="2054"/>
                          </a:lnTo>
                          <a:lnTo>
                            <a:pt x="2280" y="2055"/>
                          </a:lnTo>
                          <a:lnTo>
                            <a:pt x="2280" y="2055"/>
                          </a:lnTo>
                          <a:lnTo>
                            <a:pt x="2291" y="2054"/>
                          </a:lnTo>
                          <a:lnTo>
                            <a:pt x="2302" y="2053"/>
                          </a:lnTo>
                          <a:lnTo>
                            <a:pt x="2311" y="2051"/>
                          </a:lnTo>
                          <a:lnTo>
                            <a:pt x="2321" y="2046"/>
                          </a:lnTo>
                          <a:lnTo>
                            <a:pt x="2329" y="2041"/>
                          </a:lnTo>
                          <a:lnTo>
                            <a:pt x="2337" y="2036"/>
                          </a:lnTo>
                          <a:lnTo>
                            <a:pt x="2344" y="2029"/>
                          </a:lnTo>
                          <a:lnTo>
                            <a:pt x="2350" y="2021"/>
                          </a:lnTo>
                          <a:lnTo>
                            <a:pt x="2356" y="2012"/>
                          </a:lnTo>
                          <a:lnTo>
                            <a:pt x="2361" y="2002"/>
                          </a:lnTo>
                          <a:lnTo>
                            <a:pt x="2365" y="1991"/>
                          </a:lnTo>
                          <a:lnTo>
                            <a:pt x="2368" y="1980"/>
                          </a:lnTo>
                          <a:lnTo>
                            <a:pt x="2372" y="1968"/>
                          </a:lnTo>
                          <a:lnTo>
                            <a:pt x="2373" y="1955"/>
                          </a:lnTo>
                          <a:lnTo>
                            <a:pt x="2374" y="1940"/>
                          </a:lnTo>
                          <a:lnTo>
                            <a:pt x="2376" y="1924"/>
                          </a:lnTo>
                          <a:lnTo>
                            <a:pt x="2376" y="1924"/>
                          </a:lnTo>
                          <a:lnTo>
                            <a:pt x="2374" y="1911"/>
                          </a:lnTo>
                          <a:lnTo>
                            <a:pt x="2373" y="1897"/>
                          </a:lnTo>
                          <a:lnTo>
                            <a:pt x="2371" y="1884"/>
                          </a:lnTo>
                          <a:lnTo>
                            <a:pt x="2368" y="1872"/>
                          </a:lnTo>
                          <a:lnTo>
                            <a:pt x="2365" y="1861"/>
                          </a:lnTo>
                          <a:lnTo>
                            <a:pt x="2360" y="1851"/>
                          </a:lnTo>
                          <a:lnTo>
                            <a:pt x="2355" y="1842"/>
                          </a:lnTo>
                          <a:lnTo>
                            <a:pt x="2349" y="1833"/>
                          </a:lnTo>
                          <a:lnTo>
                            <a:pt x="2343" y="1826"/>
                          </a:lnTo>
                          <a:lnTo>
                            <a:pt x="2336" y="1818"/>
                          </a:lnTo>
                          <a:lnTo>
                            <a:pt x="2327" y="1812"/>
                          </a:lnTo>
                          <a:lnTo>
                            <a:pt x="2319" y="1807"/>
                          </a:lnTo>
                          <a:lnTo>
                            <a:pt x="2310" y="1804"/>
                          </a:lnTo>
                          <a:lnTo>
                            <a:pt x="2300" y="1801"/>
                          </a:lnTo>
                          <a:lnTo>
                            <a:pt x="2289" y="1800"/>
                          </a:lnTo>
                          <a:lnTo>
                            <a:pt x="2278" y="1799"/>
                          </a:lnTo>
                          <a:lnTo>
                            <a:pt x="2278" y="1799"/>
                          </a:lnTo>
                          <a:close/>
                          <a:moveTo>
                            <a:pt x="2267" y="1855"/>
                          </a:moveTo>
                          <a:lnTo>
                            <a:pt x="2267" y="1855"/>
                          </a:lnTo>
                          <a:lnTo>
                            <a:pt x="2276" y="1856"/>
                          </a:lnTo>
                          <a:lnTo>
                            <a:pt x="2284" y="1859"/>
                          </a:lnTo>
                          <a:lnTo>
                            <a:pt x="2292" y="1863"/>
                          </a:lnTo>
                          <a:lnTo>
                            <a:pt x="2299" y="1871"/>
                          </a:lnTo>
                          <a:lnTo>
                            <a:pt x="2305" y="1879"/>
                          </a:lnTo>
                          <a:lnTo>
                            <a:pt x="2309" y="1891"/>
                          </a:lnTo>
                          <a:lnTo>
                            <a:pt x="2312" y="1906"/>
                          </a:lnTo>
                          <a:lnTo>
                            <a:pt x="2314" y="1923"/>
                          </a:lnTo>
                          <a:lnTo>
                            <a:pt x="2314" y="1923"/>
                          </a:lnTo>
                          <a:lnTo>
                            <a:pt x="2312" y="1941"/>
                          </a:lnTo>
                          <a:lnTo>
                            <a:pt x="2310" y="1957"/>
                          </a:lnTo>
                          <a:lnTo>
                            <a:pt x="2308" y="1969"/>
                          </a:lnTo>
                          <a:lnTo>
                            <a:pt x="2303" y="1980"/>
                          </a:lnTo>
                          <a:lnTo>
                            <a:pt x="2295" y="1989"/>
                          </a:lnTo>
                          <a:lnTo>
                            <a:pt x="2288" y="1995"/>
                          </a:lnTo>
                          <a:lnTo>
                            <a:pt x="2280" y="1998"/>
                          </a:lnTo>
                          <a:lnTo>
                            <a:pt x="2269" y="2000"/>
                          </a:lnTo>
                          <a:lnTo>
                            <a:pt x="2269" y="2000"/>
                          </a:lnTo>
                          <a:lnTo>
                            <a:pt x="2260" y="1998"/>
                          </a:lnTo>
                          <a:lnTo>
                            <a:pt x="2253" y="1997"/>
                          </a:lnTo>
                          <a:lnTo>
                            <a:pt x="2247" y="1993"/>
                          </a:lnTo>
                          <a:lnTo>
                            <a:pt x="2241" y="1991"/>
                          </a:lnTo>
                          <a:lnTo>
                            <a:pt x="2231" y="1983"/>
                          </a:lnTo>
                          <a:lnTo>
                            <a:pt x="2225" y="1976"/>
                          </a:lnTo>
                          <a:lnTo>
                            <a:pt x="2225" y="1879"/>
                          </a:lnTo>
                          <a:lnTo>
                            <a:pt x="2225" y="1879"/>
                          </a:lnTo>
                          <a:lnTo>
                            <a:pt x="2229" y="1874"/>
                          </a:lnTo>
                          <a:lnTo>
                            <a:pt x="2233" y="1869"/>
                          </a:lnTo>
                          <a:lnTo>
                            <a:pt x="2238" y="1865"/>
                          </a:lnTo>
                          <a:lnTo>
                            <a:pt x="2243" y="1861"/>
                          </a:lnTo>
                          <a:lnTo>
                            <a:pt x="2249" y="1859"/>
                          </a:lnTo>
                          <a:lnTo>
                            <a:pt x="2255" y="1856"/>
                          </a:lnTo>
                          <a:lnTo>
                            <a:pt x="2261" y="1855"/>
                          </a:lnTo>
                          <a:lnTo>
                            <a:pt x="2267" y="1855"/>
                          </a:lnTo>
                          <a:lnTo>
                            <a:pt x="2267" y="1855"/>
                          </a:lnTo>
                          <a:close/>
                          <a:moveTo>
                            <a:pt x="1591" y="1822"/>
                          </a:moveTo>
                          <a:lnTo>
                            <a:pt x="1591" y="1822"/>
                          </a:lnTo>
                          <a:lnTo>
                            <a:pt x="1586" y="1817"/>
                          </a:lnTo>
                          <a:lnTo>
                            <a:pt x="1580" y="1812"/>
                          </a:lnTo>
                          <a:lnTo>
                            <a:pt x="1572" y="1809"/>
                          </a:lnTo>
                          <a:lnTo>
                            <a:pt x="1566" y="1805"/>
                          </a:lnTo>
                          <a:lnTo>
                            <a:pt x="1559" y="1803"/>
                          </a:lnTo>
                          <a:lnTo>
                            <a:pt x="1552" y="1800"/>
                          </a:lnTo>
                          <a:lnTo>
                            <a:pt x="1544" y="1800"/>
                          </a:lnTo>
                          <a:lnTo>
                            <a:pt x="1537" y="1799"/>
                          </a:lnTo>
                          <a:lnTo>
                            <a:pt x="1537" y="1799"/>
                          </a:lnTo>
                          <a:lnTo>
                            <a:pt x="1526" y="1800"/>
                          </a:lnTo>
                          <a:lnTo>
                            <a:pt x="1515" y="1801"/>
                          </a:lnTo>
                          <a:lnTo>
                            <a:pt x="1506" y="1804"/>
                          </a:lnTo>
                          <a:lnTo>
                            <a:pt x="1497" y="1807"/>
                          </a:lnTo>
                          <a:lnTo>
                            <a:pt x="1489" y="1812"/>
                          </a:lnTo>
                          <a:lnTo>
                            <a:pt x="1480" y="1818"/>
                          </a:lnTo>
                          <a:lnTo>
                            <a:pt x="1473" y="1826"/>
                          </a:lnTo>
                          <a:lnTo>
                            <a:pt x="1467" y="1833"/>
                          </a:lnTo>
                          <a:lnTo>
                            <a:pt x="1461" y="1842"/>
                          </a:lnTo>
                          <a:lnTo>
                            <a:pt x="1456" y="1851"/>
                          </a:lnTo>
                          <a:lnTo>
                            <a:pt x="1451" y="1861"/>
                          </a:lnTo>
                          <a:lnTo>
                            <a:pt x="1447" y="1872"/>
                          </a:lnTo>
                          <a:lnTo>
                            <a:pt x="1445" y="1884"/>
                          </a:lnTo>
                          <a:lnTo>
                            <a:pt x="1442" y="1897"/>
                          </a:lnTo>
                          <a:lnTo>
                            <a:pt x="1441" y="1911"/>
                          </a:lnTo>
                          <a:lnTo>
                            <a:pt x="1441" y="1924"/>
                          </a:lnTo>
                          <a:lnTo>
                            <a:pt x="1441" y="1924"/>
                          </a:lnTo>
                          <a:lnTo>
                            <a:pt x="1441" y="1940"/>
                          </a:lnTo>
                          <a:lnTo>
                            <a:pt x="1442" y="1953"/>
                          </a:lnTo>
                          <a:lnTo>
                            <a:pt x="1445" y="1967"/>
                          </a:lnTo>
                          <a:lnTo>
                            <a:pt x="1447" y="1979"/>
                          </a:lnTo>
                          <a:lnTo>
                            <a:pt x="1451" y="1991"/>
                          </a:lnTo>
                          <a:lnTo>
                            <a:pt x="1455" y="2002"/>
                          </a:lnTo>
                          <a:lnTo>
                            <a:pt x="1461" y="2012"/>
                          </a:lnTo>
                          <a:lnTo>
                            <a:pt x="1465" y="2020"/>
                          </a:lnTo>
                          <a:lnTo>
                            <a:pt x="1473" y="2029"/>
                          </a:lnTo>
                          <a:lnTo>
                            <a:pt x="1479" y="2035"/>
                          </a:lnTo>
                          <a:lnTo>
                            <a:pt x="1487" y="2041"/>
                          </a:lnTo>
                          <a:lnTo>
                            <a:pt x="1496" y="2046"/>
                          </a:lnTo>
                          <a:lnTo>
                            <a:pt x="1504" y="2049"/>
                          </a:lnTo>
                          <a:lnTo>
                            <a:pt x="1514" y="2053"/>
                          </a:lnTo>
                          <a:lnTo>
                            <a:pt x="1525" y="2054"/>
                          </a:lnTo>
                          <a:lnTo>
                            <a:pt x="1536" y="2054"/>
                          </a:lnTo>
                          <a:lnTo>
                            <a:pt x="1536" y="2054"/>
                          </a:lnTo>
                          <a:lnTo>
                            <a:pt x="1543" y="2054"/>
                          </a:lnTo>
                          <a:lnTo>
                            <a:pt x="1551" y="2053"/>
                          </a:lnTo>
                          <a:lnTo>
                            <a:pt x="1558" y="2052"/>
                          </a:lnTo>
                          <a:lnTo>
                            <a:pt x="1565" y="2049"/>
                          </a:lnTo>
                          <a:lnTo>
                            <a:pt x="1572" y="2046"/>
                          </a:lnTo>
                          <a:lnTo>
                            <a:pt x="1578" y="2041"/>
                          </a:lnTo>
                          <a:lnTo>
                            <a:pt x="1585" y="2037"/>
                          </a:lnTo>
                          <a:lnTo>
                            <a:pt x="1591" y="2031"/>
                          </a:lnTo>
                          <a:lnTo>
                            <a:pt x="1591" y="2037"/>
                          </a:lnTo>
                          <a:lnTo>
                            <a:pt x="1591" y="2037"/>
                          </a:lnTo>
                          <a:lnTo>
                            <a:pt x="1591" y="2047"/>
                          </a:lnTo>
                          <a:lnTo>
                            <a:pt x="1589" y="2058"/>
                          </a:lnTo>
                          <a:lnTo>
                            <a:pt x="1587" y="2069"/>
                          </a:lnTo>
                          <a:lnTo>
                            <a:pt x="1585" y="2074"/>
                          </a:lnTo>
                          <a:lnTo>
                            <a:pt x="1581" y="2079"/>
                          </a:lnTo>
                          <a:lnTo>
                            <a:pt x="1577" y="2083"/>
                          </a:lnTo>
                          <a:lnTo>
                            <a:pt x="1572" y="2088"/>
                          </a:lnTo>
                          <a:lnTo>
                            <a:pt x="1565" y="2092"/>
                          </a:lnTo>
                          <a:lnTo>
                            <a:pt x="1558" y="2094"/>
                          </a:lnTo>
                          <a:lnTo>
                            <a:pt x="1549" y="2098"/>
                          </a:lnTo>
                          <a:lnTo>
                            <a:pt x="1538" y="2099"/>
                          </a:lnTo>
                          <a:lnTo>
                            <a:pt x="1526" y="2102"/>
                          </a:lnTo>
                          <a:lnTo>
                            <a:pt x="1513" y="2102"/>
                          </a:lnTo>
                          <a:lnTo>
                            <a:pt x="1510" y="2102"/>
                          </a:lnTo>
                          <a:lnTo>
                            <a:pt x="1531" y="2149"/>
                          </a:lnTo>
                          <a:lnTo>
                            <a:pt x="1532" y="2149"/>
                          </a:lnTo>
                          <a:lnTo>
                            <a:pt x="1532" y="2149"/>
                          </a:lnTo>
                          <a:lnTo>
                            <a:pt x="1547" y="2149"/>
                          </a:lnTo>
                          <a:lnTo>
                            <a:pt x="1560" y="2147"/>
                          </a:lnTo>
                          <a:lnTo>
                            <a:pt x="1574" y="2144"/>
                          </a:lnTo>
                          <a:lnTo>
                            <a:pt x="1585" y="2141"/>
                          </a:lnTo>
                          <a:lnTo>
                            <a:pt x="1595" y="2137"/>
                          </a:lnTo>
                          <a:lnTo>
                            <a:pt x="1605" y="2132"/>
                          </a:lnTo>
                          <a:lnTo>
                            <a:pt x="1614" y="2125"/>
                          </a:lnTo>
                          <a:lnTo>
                            <a:pt x="1622" y="2119"/>
                          </a:lnTo>
                          <a:lnTo>
                            <a:pt x="1630" y="2110"/>
                          </a:lnTo>
                          <a:lnTo>
                            <a:pt x="1634" y="2100"/>
                          </a:lnTo>
                          <a:lnTo>
                            <a:pt x="1640" y="2091"/>
                          </a:lnTo>
                          <a:lnTo>
                            <a:pt x="1644" y="2080"/>
                          </a:lnTo>
                          <a:lnTo>
                            <a:pt x="1648" y="2068"/>
                          </a:lnTo>
                          <a:lnTo>
                            <a:pt x="1650" y="2055"/>
                          </a:lnTo>
                          <a:lnTo>
                            <a:pt x="1651" y="2042"/>
                          </a:lnTo>
                          <a:lnTo>
                            <a:pt x="1651" y="2026"/>
                          </a:lnTo>
                          <a:lnTo>
                            <a:pt x="1651" y="1805"/>
                          </a:lnTo>
                          <a:lnTo>
                            <a:pt x="1591" y="1805"/>
                          </a:lnTo>
                          <a:lnTo>
                            <a:pt x="1591" y="1822"/>
                          </a:lnTo>
                          <a:close/>
                          <a:moveTo>
                            <a:pt x="1591" y="1879"/>
                          </a:moveTo>
                          <a:lnTo>
                            <a:pt x="1591" y="1975"/>
                          </a:lnTo>
                          <a:lnTo>
                            <a:pt x="1591" y="1975"/>
                          </a:lnTo>
                          <a:lnTo>
                            <a:pt x="1583" y="1984"/>
                          </a:lnTo>
                          <a:lnTo>
                            <a:pt x="1574" y="1992"/>
                          </a:lnTo>
                          <a:lnTo>
                            <a:pt x="1569" y="1995"/>
                          </a:lnTo>
                          <a:lnTo>
                            <a:pt x="1563" y="1997"/>
                          </a:lnTo>
                          <a:lnTo>
                            <a:pt x="1555" y="1998"/>
                          </a:lnTo>
                          <a:lnTo>
                            <a:pt x="1548" y="2000"/>
                          </a:lnTo>
                          <a:lnTo>
                            <a:pt x="1548" y="2000"/>
                          </a:lnTo>
                          <a:lnTo>
                            <a:pt x="1540" y="1998"/>
                          </a:lnTo>
                          <a:lnTo>
                            <a:pt x="1532" y="1996"/>
                          </a:lnTo>
                          <a:lnTo>
                            <a:pt x="1524" y="1991"/>
                          </a:lnTo>
                          <a:lnTo>
                            <a:pt x="1518" y="1985"/>
                          </a:lnTo>
                          <a:lnTo>
                            <a:pt x="1512" y="1975"/>
                          </a:lnTo>
                          <a:lnTo>
                            <a:pt x="1507" y="1962"/>
                          </a:lnTo>
                          <a:lnTo>
                            <a:pt x="1503" y="1945"/>
                          </a:lnTo>
                          <a:lnTo>
                            <a:pt x="1502" y="1923"/>
                          </a:lnTo>
                          <a:lnTo>
                            <a:pt x="1502" y="1923"/>
                          </a:lnTo>
                          <a:lnTo>
                            <a:pt x="1503" y="1904"/>
                          </a:lnTo>
                          <a:lnTo>
                            <a:pt x="1507" y="1889"/>
                          </a:lnTo>
                          <a:lnTo>
                            <a:pt x="1512" y="1877"/>
                          </a:lnTo>
                          <a:lnTo>
                            <a:pt x="1518" y="1868"/>
                          </a:lnTo>
                          <a:lnTo>
                            <a:pt x="1524" y="1861"/>
                          </a:lnTo>
                          <a:lnTo>
                            <a:pt x="1532" y="1857"/>
                          </a:lnTo>
                          <a:lnTo>
                            <a:pt x="1540" y="1855"/>
                          </a:lnTo>
                          <a:lnTo>
                            <a:pt x="1548" y="1855"/>
                          </a:lnTo>
                          <a:lnTo>
                            <a:pt x="1548" y="1855"/>
                          </a:lnTo>
                          <a:lnTo>
                            <a:pt x="1555" y="1855"/>
                          </a:lnTo>
                          <a:lnTo>
                            <a:pt x="1563" y="1857"/>
                          </a:lnTo>
                          <a:lnTo>
                            <a:pt x="1570" y="1860"/>
                          </a:lnTo>
                          <a:lnTo>
                            <a:pt x="1575" y="1862"/>
                          </a:lnTo>
                          <a:lnTo>
                            <a:pt x="1580" y="1867"/>
                          </a:lnTo>
                          <a:lnTo>
                            <a:pt x="1585" y="1871"/>
                          </a:lnTo>
                          <a:lnTo>
                            <a:pt x="1591" y="1879"/>
                          </a:lnTo>
                          <a:lnTo>
                            <a:pt x="1591" y="1879"/>
                          </a:lnTo>
                          <a:close/>
                          <a:moveTo>
                            <a:pt x="1840" y="1865"/>
                          </a:moveTo>
                          <a:lnTo>
                            <a:pt x="1840" y="1865"/>
                          </a:lnTo>
                          <a:lnTo>
                            <a:pt x="1854" y="1857"/>
                          </a:lnTo>
                          <a:lnTo>
                            <a:pt x="1869" y="1852"/>
                          </a:lnTo>
                          <a:lnTo>
                            <a:pt x="1885" y="1849"/>
                          </a:lnTo>
                          <a:lnTo>
                            <a:pt x="1902" y="1848"/>
                          </a:lnTo>
                          <a:lnTo>
                            <a:pt x="1902" y="1848"/>
                          </a:lnTo>
                          <a:lnTo>
                            <a:pt x="1913" y="1849"/>
                          </a:lnTo>
                          <a:lnTo>
                            <a:pt x="1921" y="1850"/>
                          </a:lnTo>
                          <a:lnTo>
                            <a:pt x="1928" y="1852"/>
                          </a:lnTo>
                          <a:lnTo>
                            <a:pt x="1935" y="1857"/>
                          </a:lnTo>
                          <a:lnTo>
                            <a:pt x="1939" y="1862"/>
                          </a:lnTo>
                          <a:lnTo>
                            <a:pt x="1943" y="1868"/>
                          </a:lnTo>
                          <a:lnTo>
                            <a:pt x="1945" y="1874"/>
                          </a:lnTo>
                          <a:lnTo>
                            <a:pt x="1945" y="1883"/>
                          </a:lnTo>
                          <a:lnTo>
                            <a:pt x="1945" y="1900"/>
                          </a:lnTo>
                          <a:lnTo>
                            <a:pt x="1945" y="1900"/>
                          </a:lnTo>
                          <a:lnTo>
                            <a:pt x="1935" y="1895"/>
                          </a:lnTo>
                          <a:lnTo>
                            <a:pt x="1921" y="1891"/>
                          </a:lnTo>
                          <a:lnTo>
                            <a:pt x="1908" y="1889"/>
                          </a:lnTo>
                          <a:lnTo>
                            <a:pt x="1893" y="1888"/>
                          </a:lnTo>
                          <a:lnTo>
                            <a:pt x="1893" y="1888"/>
                          </a:lnTo>
                          <a:lnTo>
                            <a:pt x="1876" y="1889"/>
                          </a:lnTo>
                          <a:lnTo>
                            <a:pt x="1859" y="1893"/>
                          </a:lnTo>
                          <a:lnTo>
                            <a:pt x="1843" y="1897"/>
                          </a:lnTo>
                          <a:lnTo>
                            <a:pt x="1835" y="1901"/>
                          </a:lnTo>
                          <a:lnTo>
                            <a:pt x="1828" y="1906"/>
                          </a:lnTo>
                          <a:lnTo>
                            <a:pt x="1822" y="1911"/>
                          </a:lnTo>
                          <a:lnTo>
                            <a:pt x="1815" y="1917"/>
                          </a:lnTo>
                          <a:lnTo>
                            <a:pt x="1809" y="1923"/>
                          </a:lnTo>
                          <a:lnTo>
                            <a:pt x="1805" y="1930"/>
                          </a:lnTo>
                          <a:lnTo>
                            <a:pt x="1801" y="1939"/>
                          </a:lnTo>
                          <a:lnTo>
                            <a:pt x="1798" y="1948"/>
                          </a:lnTo>
                          <a:lnTo>
                            <a:pt x="1797" y="1958"/>
                          </a:lnTo>
                          <a:lnTo>
                            <a:pt x="1796" y="1968"/>
                          </a:lnTo>
                          <a:lnTo>
                            <a:pt x="1796" y="1968"/>
                          </a:lnTo>
                          <a:lnTo>
                            <a:pt x="1797" y="1980"/>
                          </a:lnTo>
                          <a:lnTo>
                            <a:pt x="1798" y="1991"/>
                          </a:lnTo>
                          <a:lnTo>
                            <a:pt x="1801" y="2000"/>
                          </a:lnTo>
                          <a:lnTo>
                            <a:pt x="1805" y="2009"/>
                          </a:lnTo>
                          <a:lnTo>
                            <a:pt x="1808" y="2017"/>
                          </a:lnTo>
                          <a:lnTo>
                            <a:pt x="1814" y="2024"/>
                          </a:lnTo>
                          <a:lnTo>
                            <a:pt x="1819" y="2030"/>
                          </a:lnTo>
                          <a:lnTo>
                            <a:pt x="1826" y="2036"/>
                          </a:lnTo>
                          <a:lnTo>
                            <a:pt x="1832" y="2041"/>
                          </a:lnTo>
                          <a:lnTo>
                            <a:pt x="1840" y="2045"/>
                          </a:lnTo>
                          <a:lnTo>
                            <a:pt x="1856" y="2051"/>
                          </a:lnTo>
                          <a:lnTo>
                            <a:pt x="1871" y="2054"/>
                          </a:lnTo>
                          <a:lnTo>
                            <a:pt x="1887" y="2055"/>
                          </a:lnTo>
                          <a:lnTo>
                            <a:pt x="1887" y="2055"/>
                          </a:lnTo>
                          <a:lnTo>
                            <a:pt x="1901" y="2053"/>
                          </a:lnTo>
                          <a:lnTo>
                            <a:pt x="1909" y="2052"/>
                          </a:lnTo>
                          <a:lnTo>
                            <a:pt x="1916" y="2049"/>
                          </a:lnTo>
                          <a:lnTo>
                            <a:pt x="1925" y="2046"/>
                          </a:lnTo>
                          <a:lnTo>
                            <a:pt x="1932" y="2041"/>
                          </a:lnTo>
                          <a:lnTo>
                            <a:pt x="1939" y="2036"/>
                          </a:lnTo>
                          <a:lnTo>
                            <a:pt x="1945" y="2030"/>
                          </a:lnTo>
                          <a:lnTo>
                            <a:pt x="1945" y="2049"/>
                          </a:lnTo>
                          <a:lnTo>
                            <a:pt x="2006" y="2049"/>
                          </a:lnTo>
                          <a:lnTo>
                            <a:pt x="2006" y="1884"/>
                          </a:lnTo>
                          <a:lnTo>
                            <a:pt x="2006" y="1884"/>
                          </a:lnTo>
                          <a:lnTo>
                            <a:pt x="2006" y="1874"/>
                          </a:lnTo>
                          <a:lnTo>
                            <a:pt x="2005" y="1866"/>
                          </a:lnTo>
                          <a:lnTo>
                            <a:pt x="2003" y="1857"/>
                          </a:lnTo>
                          <a:lnTo>
                            <a:pt x="2000" y="1849"/>
                          </a:lnTo>
                          <a:lnTo>
                            <a:pt x="1995" y="1842"/>
                          </a:lnTo>
                          <a:lnTo>
                            <a:pt x="1992" y="1834"/>
                          </a:lnTo>
                          <a:lnTo>
                            <a:pt x="1986" y="1828"/>
                          </a:lnTo>
                          <a:lnTo>
                            <a:pt x="1979" y="1822"/>
                          </a:lnTo>
                          <a:lnTo>
                            <a:pt x="1973" y="1817"/>
                          </a:lnTo>
                          <a:lnTo>
                            <a:pt x="1966" y="1812"/>
                          </a:lnTo>
                          <a:lnTo>
                            <a:pt x="1958" y="1809"/>
                          </a:lnTo>
                          <a:lnTo>
                            <a:pt x="1949" y="1805"/>
                          </a:lnTo>
                          <a:lnTo>
                            <a:pt x="1939" y="1803"/>
                          </a:lnTo>
                          <a:lnTo>
                            <a:pt x="1930" y="1801"/>
                          </a:lnTo>
                          <a:lnTo>
                            <a:pt x="1919" y="1800"/>
                          </a:lnTo>
                          <a:lnTo>
                            <a:pt x="1908" y="1799"/>
                          </a:lnTo>
                          <a:lnTo>
                            <a:pt x="1908" y="1799"/>
                          </a:lnTo>
                          <a:lnTo>
                            <a:pt x="1894" y="1800"/>
                          </a:lnTo>
                          <a:lnTo>
                            <a:pt x="1883" y="1800"/>
                          </a:lnTo>
                          <a:lnTo>
                            <a:pt x="1871" y="1803"/>
                          </a:lnTo>
                          <a:lnTo>
                            <a:pt x="1859" y="1805"/>
                          </a:lnTo>
                          <a:lnTo>
                            <a:pt x="1848" y="1809"/>
                          </a:lnTo>
                          <a:lnTo>
                            <a:pt x="1837" y="1812"/>
                          </a:lnTo>
                          <a:lnTo>
                            <a:pt x="1826" y="1817"/>
                          </a:lnTo>
                          <a:lnTo>
                            <a:pt x="1815" y="1823"/>
                          </a:lnTo>
                          <a:lnTo>
                            <a:pt x="1840" y="1865"/>
                          </a:lnTo>
                          <a:close/>
                          <a:moveTo>
                            <a:pt x="1857" y="1968"/>
                          </a:moveTo>
                          <a:lnTo>
                            <a:pt x="1857" y="1968"/>
                          </a:lnTo>
                          <a:lnTo>
                            <a:pt x="1857" y="1961"/>
                          </a:lnTo>
                          <a:lnTo>
                            <a:pt x="1859" y="1953"/>
                          </a:lnTo>
                          <a:lnTo>
                            <a:pt x="1863" y="1947"/>
                          </a:lnTo>
                          <a:lnTo>
                            <a:pt x="1868" y="1942"/>
                          </a:lnTo>
                          <a:lnTo>
                            <a:pt x="1874" y="1939"/>
                          </a:lnTo>
                          <a:lnTo>
                            <a:pt x="1881" y="1936"/>
                          </a:lnTo>
                          <a:lnTo>
                            <a:pt x="1890" y="1934"/>
                          </a:lnTo>
                          <a:lnTo>
                            <a:pt x="1898" y="1934"/>
                          </a:lnTo>
                          <a:lnTo>
                            <a:pt x="1898" y="1934"/>
                          </a:lnTo>
                          <a:lnTo>
                            <a:pt x="1911" y="1934"/>
                          </a:lnTo>
                          <a:lnTo>
                            <a:pt x="1924" y="1936"/>
                          </a:lnTo>
                          <a:lnTo>
                            <a:pt x="1935" y="1940"/>
                          </a:lnTo>
                          <a:lnTo>
                            <a:pt x="1945" y="1946"/>
                          </a:lnTo>
                          <a:lnTo>
                            <a:pt x="1945" y="1979"/>
                          </a:lnTo>
                          <a:lnTo>
                            <a:pt x="1945" y="1979"/>
                          </a:lnTo>
                          <a:lnTo>
                            <a:pt x="1943" y="1984"/>
                          </a:lnTo>
                          <a:lnTo>
                            <a:pt x="1938" y="1989"/>
                          </a:lnTo>
                          <a:lnTo>
                            <a:pt x="1933" y="1993"/>
                          </a:lnTo>
                          <a:lnTo>
                            <a:pt x="1927" y="1997"/>
                          </a:lnTo>
                          <a:lnTo>
                            <a:pt x="1921" y="2001"/>
                          </a:lnTo>
                          <a:lnTo>
                            <a:pt x="1914" y="2003"/>
                          </a:lnTo>
                          <a:lnTo>
                            <a:pt x="1907" y="2004"/>
                          </a:lnTo>
                          <a:lnTo>
                            <a:pt x="1898" y="2006"/>
                          </a:lnTo>
                          <a:lnTo>
                            <a:pt x="1898" y="2006"/>
                          </a:lnTo>
                          <a:lnTo>
                            <a:pt x="1890" y="2004"/>
                          </a:lnTo>
                          <a:lnTo>
                            <a:pt x="1881" y="2002"/>
                          </a:lnTo>
                          <a:lnTo>
                            <a:pt x="1874" y="2000"/>
                          </a:lnTo>
                          <a:lnTo>
                            <a:pt x="1868" y="1995"/>
                          </a:lnTo>
                          <a:lnTo>
                            <a:pt x="1863" y="1990"/>
                          </a:lnTo>
                          <a:lnTo>
                            <a:pt x="1859" y="1984"/>
                          </a:lnTo>
                          <a:lnTo>
                            <a:pt x="1858" y="1976"/>
                          </a:lnTo>
                          <a:lnTo>
                            <a:pt x="1857" y="1968"/>
                          </a:lnTo>
                          <a:lnTo>
                            <a:pt x="1857" y="1968"/>
                          </a:lnTo>
                          <a:close/>
                          <a:moveTo>
                            <a:pt x="2569" y="1979"/>
                          </a:moveTo>
                          <a:lnTo>
                            <a:pt x="2569" y="1979"/>
                          </a:lnTo>
                          <a:lnTo>
                            <a:pt x="2560" y="1986"/>
                          </a:lnTo>
                          <a:lnTo>
                            <a:pt x="2549" y="1992"/>
                          </a:lnTo>
                          <a:lnTo>
                            <a:pt x="2543" y="1995"/>
                          </a:lnTo>
                          <a:lnTo>
                            <a:pt x="2536" y="1997"/>
                          </a:lnTo>
                          <a:lnTo>
                            <a:pt x="2529" y="1998"/>
                          </a:lnTo>
                          <a:lnTo>
                            <a:pt x="2521" y="2000"/>
                          </a:lnTo>
                          <a:lnTo>
                            <a:pt x="2521" y="2000"/>
                          </a:lnTo>
                          <a:lnTo>
                            <a:pt x="2515" y="1998"/>
                          </a:lnTo>
                          <a:lnTo>
                            <a:pt x="2508" y="1998"/>
                          </a:lnTo>
                          <a:lnTo>
                            <a:pt x="2500" y="1996"/>
                          </a:lnTo>
                          <a:lnTo>
                            <a:pt x="2490" y="1991"/>
                          </a:lnTo>
                          <a:lnTo>
                            <a:pt x="2481" y="1985"/>
                          </a:lnTo>
                          <a:lnTo>
                            <a:pt x="2478" y="1980"/>
                          </a:lnTo>
                          <a:lnTo>
                            <a:pt x="2474" y="1975"/>
                          </a:lnTo>
                          <a:lnTo>
                            <a:pt x="2472" y="1969"/>
                          </a:lnTo>
                          <a:lnTo>
                            <a:pt x="2469" y="1962"/>
                          </a:lnTo>
                          <a:lnTo>
                            <a:pt x="2468" y="1955"/>
                          </a:lnTo>
                          <a:lnTo>
                            <a:pt x="2467" y="1946"/>
                          </a:lnTo>
                          <a:lnTo>
                            <a:pt x="2616" y="1946"/>
                          </a:lnTo>
                          <a:lnTo>
                            <a:pt x="2616" y="1946"/>
                          </a:lnTo>
                          <a:lnTo>
                            <a:pt x="2617" y="1928"/>
                          </a:lnTo>
                          <a:lnTo>
                            <a:pt x="2617" y="1928"/>
                          </a:lnTo>
                          <a:lnTo>
                            <a:pt x="2617" y="1913"/>
                          </a:lnTo>
                          <a:lnTo>
                            <a:pt x="2615" y="1900"/>
                          </a:lnTo>
                          <a:lnTo>
                            <a:pt x="2614" y="1886"/>
                          </a:lnTo>
                          <a:lnTo>
                            <a:pt x="2610" y="1874"/>
                          </a:lnTo>
                          <a:lnTo>
                            <a:pt x="2607" y="1863"/>
                          </a:lnTo>
                          <a:lnTo>
                            <a:pt x="2602" y="1852"/>
                          </a:lnTo>
                          <a:lnTo>
                            <a:pt x="2596" y="1843"/>
                          </a:lnTo>
                          <a:lnTo>
                            <a:pt x="2589" y="1834"/>
                          </a:lnTo>
                          <a:lnTo>
                            <a:pt x="2582" y="1826"/>
                          </a:lnTo>
                          <a:lnTo>
                            <a:pt x="2575" y="1820"/>
                          </a:lnTo>
                          <a:lnTo>
                            <a:pt x="2566" y="1814"/>
                          </a:lnTo>
                          <a:lnTo>
                            <a:pt x="2557" y="1809"/>
                          </a:lnTo>
                          <a:lnTo>
                            <a:pt x="2547" y="1805"/>
                          </a:lnTo>
                          <a:lnTo>
                            <a:pt x="2537" y="1801"/>
                          </a:lnTo>
                          <a:lnTo>
                            <a:pt x="2526" y="1800"/>
                          </a:lnTo>
                          <a:lnTo>
                            <a:pt x="2514" y="1799"/>
                          </a:lnTo>
                          <a:lnTo>
                            <a:pt x="2514" y="1799"/>
                          </a:lnTo>
                          <a:lnTo>
                            <a:pt x="2503" y="1800"/>
                          </a:lnTo>
                          <a:lnTo>
                            <a:pt x="2492" y="1801"/>
                          </a:lnTo>
                          <a:lnTo>
                            <a:pt x="2481" y="1805"/>
                          </a:lnTo>
                          <a:lnTo>
                            <a:pt x="2470" y="1809"/>
                          </a:lnTo>
                          <a:lnTo>
                            <a:pt x="2461" y="1814"/>
                          </a:lnTo>
                          <a:lnTo>
                            <a:pt x="2452" y="1821"/>
                          </a:lnTo>
                          <a:lnTo>
                            <a:pt x="2444" y="1827"/>
                          </a:lnTo>
                          <a:lnTo>
                            <a:pt x="2436" y="1835"/>
                          </a:lnTo>
                          <a:lnTo>
                            <a:pt x="2429" y="1844"/>
                          </a:lnTo>
                          <a:lnTo>
                            <a:pt x="2423" y="1854"/>
                          </a:lnTo>
                          <a:lnTo>
                            <a:pt x="2418" y="1865"/>
                          </a:lnTo>
                          <a:lnTo>
                            <a:pt x="2413" y="1876"/>
                          </a:lnTo>
                          <a:lnTo>
                            <a:pt x="2410" y="1888"/>
                          </a:lnTo>
                          <a:lnTo>
                            <a:pt x="2407" y="1901"/>
                          </a:lnTo>
                          <a:lnTo>
                            <a:pt x="2406" y="1913"/>
                          </a:lnTo>
                          <a:lnTo>
                            <a:pt x="2405" y="1928"/>
                          </a:lnTo>
                          <a:lnTo>
                            <a:pt x="2405" y="1928"/>
                          </a:lnTo>
                          <a:lnTo>
                            <a:pt x="2406" y="1941"/>
                          </a:lnTo>
                          <a:lnTo>
                            <a:pt x="2407" y="1955"/>
                          </a:lnTo>
                          <a:lnTo>
                            <a:pt x="2410" y="1968"/>
                          </a:lnTo>
                          <a:lnTo>
                            <a:pt x="2413" y="1980"/>
                          </a:lnTo>
                          <a:lnTo>
                            <a:pt x="2418" y="1991"/>
                          </a:lnTo>
                          <a:lnTo>
                            <a:pt x="2423" y="2002"/>
                          </a:lnTo>
                          <a:lnTo>
                            <a:pt x="2429" y="2012"/>
                          </a:lnTo>
                          <a:lnTo>
                            <a:pt x="2436" y="2020"/>
                          </a:lnTo>
                          <a:lnTo>
                            <a:pt x="2445" y="2028"/>
                          </a:lnTo>
                          <a:lnTo>
                            <a:pt x="2453" y="2035"/>
                          </a:lnTo>
                          <a:lnTo>
                            <a:pt x="2463" y="2041"/>
                          </a:lnTo>
                          <a:lnTo>
                            <a:pt x="2473" y="2046"/>
                          </a:lnTo>
                          <a:lnTo>
                            <a:pt x="2484" y="2049"/>
                          </a:lnTo>
                          <a:lnTo>
                            <a:pt x="2496" y="2053"/>
                          </a:lnTo>
                          <a:lnTo>
                            <a:pt x="2508" y="2054"/>
                          </a:lnTo>
                          <a:lnTo>
                            <a:pt x="2521" y="2055"/>
                          </a:lnTo>
                          <a:lnTo>
                            <a:pt x="2521" y="2055"/>
                          </a:lnTo>
                          <a:lnTo>
                            <a:pt x="2534" y="2054"/>
                          </a:lnTo>
                          <a:lnTo>
                            <a:pt x="2545" y="2053"/>
                          </a:lnTo>
                          <a:lnTo>
                            <a:pt x="2557" y="2049"/>
                          </a:lnTo>
                          <a:lnTo>
                            <a:pt x="2568" y="2046"/>
                          </a:lnTo>
                          <a:lnTo>
                            <a:pt x="2579" y="2040"/>
                          </a:lnTo>
                          <a:lnTo>
                            <a:pt x="2588" y="2034"/>
                          </a:lnTo>
                          <a:lnTo>
                            <a:pt x="2598" y="2025"/>
                          </a:lnTo>
                          <a:lnTo>
                            <a:pt x="2608" y="2017"/>
                          </a:lnTo>
                          <a:lnTo>
                            <a:pt x="2569" y="1979"/>
                          </a:lnTo>
                          <a:close/>
                          <a:moveTo>
                            <a:pt x="2468" y="1901"/>
                          </a:moveTo>
                          <a:lnTo>
                            <a:pt x="2468" y="1901"/>
                          </a:lnTo>
                          <a:lnTo>
                            <a:pt x="2469" y="1890"/>
                          </a:lnTo>
                          <a:lnTo>
                            <a:pt x="2472" y="1880"/>
                          </a:lnTo>
                          <a:lnTo>
                            <a:pt x="2475" y="1872"/>
                          </a:lnTo>
                          <a:lnTo>
                            <a:pt x="2481" y="1865"/>
                          </a:lnTo>
                          <a:lnTo>
                            <a:pt x="2487" y="1859"/>
                          </a:lnTo>
                          <a:lnTo>
                            <a:pt x="2495" y="1855"/>
                          </a:lnTo>
                          <a:lnTo>
                            <a:pt x="2503" y="1851"/>
                          </a:lnTo>
                          <a:lnTo>
                            <a:pt x="2513" y="1851"/>
                          </a:lnTo>
                          <a:lnTo>
                            <a:pt x="2513" y="1851"/>
                          </a:lnTo>
                          <a:lnTo>
                            <a:pt x="2524" y="1852"/>
                          </a:lnTo>
                          <a:lnTo>
                            <a:pt x="2534" y="1855"/>
                          </a:lnTo>
                          <a:lnTo>
                            <a:pt x="2541" y="1860"/>
                          </a:lnTo>
                          <a:lnTo>
                            <a:pt x="2547" y="1867"/>
                          </a:lnTo>
                          <a:lnTo>
                            <a:pt x="2552" y="1874"/>
                          </a:lnTo>
                          <a:lnTo>
                            <a:pt x="2555" y="1883"/>
                          </a:lnTo>
                          <a:lnTo>
                            <a:pt x="2558" y="1893"/>
                          </a:lnTo>
                          <a:lnTo>
                            <a:pt x="2559" y="1901"/>
                          </a:lnTo>
                          <a:lnTo>
                            <a:pt x="2468" y="1901"/>
                          </a:lnTo>
                          <a:close/>
                          <a:moveTo>
                            <a:pt x="3153" y="1979"/>
                          </a:moveTo>
                          <a:lnTo>
                            <a:pt x="3153" y="1979"/>
                          </a:lnTo>
                          <a:lnTo>
                            <a:pt x="3144" y="1986"/>
                          </a:lnTo>
                          <a:lnTo>
                            <a:pt x="3134" y="1992"/>
                          </a:lnTo>
                          <a:lnTo>
                            <a:pt x="3127" y="1995"/>
                          </a:lnTo>
                          <a:lnTo>
                            <a:pt x="3121" y="1997"/>
                          </a:lnTo>
                          <a:lnTo>
                            <a:pt x="3113" y="1998"/>
                          </a:lnTo>
                          <a:lnTo>
                            <a:pt x="3105" y="2000"/>
                          </a:lnTo>
                          <a:lnTo>
                            <a:pt x="3105" y="2000"/>
                          </a:lnTo>
                          <a:lnTo>
                            <a:pt x="3099" y="1998"/>
                          </a:lnTo>
                          <a:lnTo>
                            <a:pt x="3091" y="1998"/>
                          </a:lnTo>
                          <a:lnTo>
                            <a:pt x="3083" y="1996"/>
                          </a:lnTo>
                          <a:lnTo>
                            <a:pt x="3074" y="1991"/>
                          </a:lnTo>
                          <a:lnTo>
                            <a:pt x="3066" y="1985"/>
                          </a:lnTo>
                          <a:lnTo>
                            <a:pt x="3062" y="1980"/>
                          </a:lnTo>
                          <a:lnTo>
                            <a:pt x="3059" y="1975"/>
                          </a:lnTo>
                          <a:lnTo>
                            <a:pt x="3056" y="1969"/>
                          </a:lnTo>
                          <a:lnTo>
                            <a:pt x="3054" y="1962"/>
                          </a:lnTo>
                          <a:lnTo>
                            <a:pt x="3051" y="1955"/>
                          </a:lnTo>
                          <a:lnTo>
                            <a:pt x="3050" y="1946"/>
                          </a:lnTo>
                          <a:lnTo>
                            <a:pt x="3201" y="1946"/>
                          </a:lnTo>
                          <a:lnTo>
                            <a:pt x="3201" y="1946"/>
                          </a:lnTo>
                          <a:lnTo>
                            <a:pt x="3202" y="1928"/>
                          </a:lnTo>
                          <a:lnTo>
                            <a:pt x="3202" y="1928"/>
                          </a:lnTo>
                          <a:lnTo>
                            <a:pt x="3201" y="1913"/>
                          </a:lnTo>
                          <a:lnTo>
                            <a:pt x="3199" y="1900"/>
                          </a:lnTo>
                          <a:lnTo>
                            <a:pt x="3197" y="1886"/>
                          </a:lnTo>
                          <a:lnTo>
                            <a:pt x="3195" y="1874"/>
                          </a:lnTo>
                          <a:lnTo>
                            <a:pt x="3190" y="1863"/>
                          </a:lnTo>
                          <a:lnTo>
                            <a:pt x="3185" y="1852"/>
                          </a:lnTo>
                          <a:lnTo>
                            <a:pt x="3180" y="1843"/>
                          </a:lnTo>
                          <a:lnTo>
                            <a:pt x="3174" y="1834"/>
                          </a:lnTo>
                          <a:lnTo>
                            <a:pt x="3167" y="1826"/>
                          </a:lnTo>
                          <a:lnTo>
                            <a:pt x="3158" y="1820"/>
                          </a:lnTo>
                          <a:lnTo>
                            <a:pt x="3150" y="1814"/>
                          </a:lnTo>
                          <a:lnTo>
                            <a:pt x="3141" y="1809"/>
                          </a:lnTo>
                          <a:lnTo>
                            <a:pt x="3131" y="1805"/>
                          </a:lnTo>
                          <a:lnTo>
                            <a:pt x="3121" y="1801"/>
                          </a:lnTo>
                          <a:lnTo>
                            <a:pt x="3110" y="1800"/>
                          </a:lnTo>
                          <a:lnTo>
                            <a:pt x="3099" y="1799"/>
                          </a:lnTo>
                          <a:lnTo>
                            <a:pt x="3099" y="1799"/>
                          </a:lnTo>
                          <a:lnTo>
                            <a:pt x="3086" y="1800"/>
                          </a:lnTo>
                          <a:lnTo>
                            <a:pt x="3076" y="1801"/>
                          </a:lnTo>
                          <a:lnTo>
                            <a:pt x="3065" y="1805"/>
                          </a:lnTo>
                          <a:lnTo>
                            <a:pt x="3055" y="1809"/>
                          </a:lnTo>
                          <a:lnTo>
                            <a:pt x="3045" y="1814"/>
                          </a:lnTo>
                          <a:lnTo>
                            <a:pt x="3035" y="1821"/>
                          </a:lnTo>
                          <a:lnTo>
                            <a:pt x="3028" y="1827"/>
                          </a:lnTo>
                          <a:lnTo>
                            <a:pt x="3020" y="1835"/>
                          </a:lnTo>
                          <a:lnTo>
                            <a:pt x="3012" y="1844"/>
                          </a:lnTo>
                          <a:lnTo>
                            <a:pt x="3006" y="1854"/>
                          </a:lnTo>
                          <a:lnTo>
                            <a:pt x="3001" y="1865"/>
                          </a:lnTo>
                          <a:lnTo>
                            <a:pt x="2997" y="1876"/>
                          </a:lnTo>
                          <a:lnTo>
                            <a:pt x="2994" y="1888"/>
                          </a:lnTo>
                          <a:lnTo>
                            <a:pt x="2990" y="1901"/>
                          </a:lnTo>
                          <a:lnTo>
                            <a:pt x="2989" y="1913"/>
                          </a:lnTo>
                          <a:lnTo>
                            <a:pt x="2989" y="1928"/>
                          </a:lnTo>
                          <a:lnTo>
                            <a:pt x="2989" y="1928"/>
                          </a:lnTo>
                          <a:lnTo>
                            <a:pt x="2989" y="1941"/>
                          </a:lnTo>
                          <a:lnTo>
                            <a:pt x="2990" y="1955"/>
                          </a:lnTo>
                          <a:lnTo>
                            <a:pt x="2993" y="1968"/>
                          </a:lnTo>
                          <a:lnTo>
                            <a:pt x="2997" y="1980"/>
                          </a:lnTo>
                          <a:lnTo>
                            <a:pt x="3001" y="1991"/>
                          </a:lnTo>
                          <a:lnTo>
                            <a:pt x="3008" y="2002"/>
                          </a:lnTo>
                          <a:lnTo>
                            <a:pt x="3014" y="2012"/>
                          </a:lnTo>
                          <a:lnTo>
                            <a:pt x="3021" y="2020"/>
                          </a:lnTo>
                          <a:lnTo>
                            <a:pt x="3028" y="2028"/>
                          </a:lnTo>
                          <a:lnTo>
                            <a:pt x="3037" y="2035"/>
                          </a:lnTo>
                          <a:lnTo>
                            <a:pt x="3046" y="2041"/>
                          </a:lnTo>
                          <a:lnTo>
                            <a:pt x="3057" y="2046"/>
                          </a:lnTo>
                          <a:lnTo>
                            <a:pt x="3068" y="2049"/>
                          </a:lnTo>
                          <a:lnTo>
                            <a:pt x="3079" y="2053"/>
                          </a:lnTo>
                          <a:lnTo>
                            <a:pt x="3093" y="2054"/>
                          </a:lnTo>
                          <a:lnTo>
                            <a:pt x="3105" y="2055"/>
                          </a:lnTo>
                          <a:lnTo>
                            <a:pt x="3105" y="2055"/>
                          </a:lnTo>
                          <a:lnTo>
                            <a:pt x="3117" y="2054"/>
                          </a:lnTo>
                          <a:lnTo>
                            <a:pt x="3129" y="2053"/>
                          </a:lnTo>
                          <a:lnTo>
                            <a:pt x="3140" y="2049"/>
                          </a:lnTo>
                          <a:lnTo>
                            <a:pt x="3151" y="2046"/>
                          </a:lnTo>
                          <a:lnTo>
                            <a:pt x="3162" y="2040"/>
                          </a:lnTo>
                          <a:lnTo>
                            <a:pt x="3173" y="2034"/>
                          </a:lnTo>
                          <a:lnTo>
                            <a:pt x="3182" y="2025"/>
                          </a:lnTo>
                          <a:lnTo>
                            <a:pt x="3191" y="2017"/>
                          </a:lnTo>
                          <a:lnTo>
                            <a:pt x="3153" y="1979"/>
                          </a:lnTo>
                          <a:close/>
                          <a:moveTo>
                            <a:pt x="3051" y="1901"/>
                          </a:moveTo>
                          <a:lnTo>
                            <a:pt x="3051" y="1901"/>
                          </a:lnTo>
                          <a:lnTo>
                            <a:pt x="3052" y="1890"/>
                          </a:lnTo>
                          <a:lnTo>
                            <a:pt x="3056" y="1880"/>
                          </a:lnTo>
                          <a:lnTo>
                            <a:pt x="3060" y="1872"/>
                          </a:lnTo>
                          <a:lnTo>
                            <a:pt x="3065" y="1865"/>
                          </a:lnTo>
                          <a:lnTo>
                            <a:pt x="3072" y="1859"/>
                          </a:lnTo>
                          <a:lnTo>
                            <a:pt x="3079" y="1855"/>
                          </a:lnTo>
                          <a:lnTo>
                            <a:pt x="3088" y="1851"/>
                          </a:lnTo>
                          <a:lnTo>
                            <a:pt x="3097" y="1851"/>
                          </a:lnTo>
                          <a:lnTo>
                            <a:pt x="3097" y="1851"/>
                          </a:lnTo>
                          <a:lnTo>
                            <a:pt x="3108" y="1852"/>
                          </a:lnTo>
                          <a:lnTo>
                            <a:pt x="3117" y="1855"/>
                          </a:lnTo>
                          <a:lnTo>
                            <a:pt x="3125" y="1860"/>
                          </a:lnTo>
                          <a:lnTo>
                            <a:pt x="3131" y="1867"/>
                          </a:lnTo>
                          <a:lnTo>
                            <a:pt x="3136" y="1874"/>
                          </a:lnTo>
                          <a:lnTo>
                            <a:pt x="3140" y="1883"/>
                          </a:lnTo>
                          <a:lnTo>
                            <a:pt x="3142" y="1893"/>
                          </a:lnTo>
                          <a:lnTo>
                            <a:pt x="3144" y="1901"/>
                          </a:lnTo>
                          <a:lnTo>
                            <a:pt x="3051" y="1901"/>
                          </a:lnTo>
                          <a:close/>
                          <a:moveTo>
                            <a:pt x="2905" y="1964"/>
                          </a:moveTo>
                          <a:lnTo>
                            <a:pt x="2905" y="1964"/>
                          </a:lnTo>
                          <a:lnTo>
                            <a:pt x="2905" y="1973"/>
                          </a:lnTo>
                          <a:lnTo>
                            <a:pt x="2907" y="1979"/>
                          </a:lnTo>
                          <a:lnTo>
                            <a:pt x="2909" y="1985"/>
                          </a:lnTo>
                          <a:lnTo>
                            <a:pt x="2912" y="1990"/>
                          </a:lnTo>
                          <a:lnTo>
                            <a:pt x="2915" y="1993"/>
                          </a:lnTo>
                          <a:lnTo>
                            <a:pt x="2920" y="1996"/>
                          </a:lnTo>
                          <a:lnTo>
                            <a:pt x="2925" y="1997"/>
                          </a:lnTo>
                          <a:lnTo>
                            <a:pt x="2932" y="1997"/>
                          </a:lnTo>
                          <a:lnTo>
                            <a:pt x="2932" y="1997"/>
                          </a:lnTo>
                          <a:lnTo>
                            <a:pt x="2941" y="1997"/>
                          </a:lnTo>
                          <a:lnTo>
                            <a:pt x="2950" y="1995"/>
                          </a:lnTo>
                          <a:lnTo>
                            <a:pt x="2960" y="1991"/>
                          </a:lnTo>
                          <a:lnTo>
                            <a:pt x="2969" y="1986"/>
                          </a:lnTo>
                          <a:lnTo>
                            <a:pt x="2961" y="2043"/>
                          </a:lnTo>
                          <a:lnTo>
                            <a:pt x="2961" y="2043"/>
                          </a:lnTo>
                          <a:lnTo>
                            <a:pt x="2950" y="2048"/>
                          </a:lnTo>
                          <a:lnTo>
                            <a:pt x="2937" y="2052"/>
                          </a:lnTo>
                          <a:lnTo>
                            <a:pt x="2924" y="2054"/>
                          </a:lnTo>
                          <a:lnTo>
                            <a:pt x="2910" y="2055"/>
                          </a:lnTo>
                          <a:lnTo>
                            <a:pt x="2910" y="2055"/>
                          </a:lnTo>
                          <a:lnTo>
                            <a:pt x="2902" y="2054"/>
                          </a:lnTo>
                          <a:lnTo>
                            <a:pt x="2893" y="2053"/>
                          </a:lnTo>
                          <a:lnTo>
                            <a:pt x="2886" y="2051"/>
                          </a:lnTo>
                          <a:lnTo>
                            <a:pt x="2880" y="2048"/>
                          </a:lnTo>
                          <a:lnTo>
                            <a:pt x="2874" y="2045"/>
                          </a:lnTo>
                          <a:lnTo>
                            <a:pt x="2868" y="2041"/>
                          </a:lnTo>
                          <a:lnTo>
                            <a:pt x="2864" y="2036"/>
                          </a:lnTo>
                          <a:lnTo>
                            <a:pt x="2859" y="2030"/>
                          </a:lnTo>
                          <a:lnTo>
                            <a:pt x="2853" y="2019"/>
                          </a:lnTo>
                          <a:lnTo>
                            <a:pt x="2848" y="2006"/>
                          </a:lnTo>
                          <a:lnTo>
                            <a:pt x="2846" y="1993"/>
                          </a:lnTo>
                          <a:lnTo>
                            <a:pt x="2845" y="1980"/>
                          </a:lnTo>
                          <a:lnTo>
                            <a:pt x="2845" y="1861"/>
                          </a:lnTo>
                          <a:lnTo>
                            <a:pt x="2807" y="1861"/>
                          </a:lnTo>
                          <a:lnTo>
                            <a:pt x="2807" y="1805"/>
                          </a:lnTo>
                          <a:lnTo>
                            <a:pt x="2845" y="1805"/>
                          </a:lnTo>
                          <a:lnTo>
                            <a:pt x="2845" y="1742"/>
                          </a:lnTo>
                          <a:lnTo>
                            <a:pt x="2905" y="1711"/>
                          </a:lnTo>
                          <a:lnTo>
                            <a:pt x="2905" y="1805"/>
                          </a:lnTo>
                          <a:lnTo>
                            <a:pt x="2960" y="1805"/>
                          </a:lnTo>
                          <a:lnTo>
                            <a:pt x="2960" y="1861"/>
                          </a:lnTo>
                          <a:lnTo>
                            <a:pt x="2905" y="1861"/>
                          </a:lnTo>
                          <a:lnTo>
                            <a:pt x="2905" y="1964"/>
                          </a:lnTo>
                          <a:close/>
                          <a:moveTo>
                            <a:pt x="2788" y="2043"/>
                          </a:moveTo>
                          <a:lnTo>
                            <a:pt x="2788" y="2043"/>
                          </a:lnTo>
                          <a:lnTo>
                            <a:pt x="2777" y="2048"/>
                          </a:lnTo>
                          <a:lnTo>
                            <a:pt x="2764" y="2052"/>
                          </a:lnTo>
                          <a:lnTo>
                            <a:pt x="2751" y="2054"/>
                          </a:lnTo>
                          <a:lnTo>
                            <a:pt x="2738" y="2055"/>
                          </a:lnTo>
                          <a:lnTo>
                            <a:pt x="2738" y="2055"/>
                          </a:lnTo>
                          <a:lnTo>
                            <a:pt x="2728" y="2054"/>
                          </a:lnTo>
                          <a:lnTo>
                            <a:pt x="2721" y="2053"/>
                          </a:lnTo>
                          <a:lnTo>
                            <a:pt x="2713" y="2051"/>
                          </a:lnTo>
                          <a:lnTo>
                            <a:pt x="2706" y="2048"/>
                          </a:lnTo>
                          <a:lnTo>
                            <a:pt x="2701" y="2045"/>
                          </a:lnTo>
                          <a:lnTo>
                            <a:pt x="2695" y="2041"/>
                          </a:lnTo>
                          <a:lnTo>
                            <a:pt x="2690" y="2036"/>
                          </a:lnTo>
                          <a:lnTo>
                            <a:pt x="2687" y="2030"/>
                          </a:lnTo>
                          <a:lnTo>
                            <a:pt x="2679" y="2019"/>
                          </a:lnTo>
                          <a:lnTo>
                            <a:pt x="2676" y="2006"/>
                          </a:lnTo>
                          <a:lnTo>
                            <a:pt x="2672" y="1993"/>
                          </a:lnTo>
                          <a:lnTo>
                            <a:pt x="2672" y="1980"/>
                          </a:lnTo>
                          <a:lnTo>
                            <a:pt x="2672" y="1861"/>
                          </a:lnTo>
                          <a:lnTo>
                            <a:pt x="2634" y="1861"/>
                          </a:lnTo>
                          <a:lnTo>
                            <a:pt x="2634" y="1805"/>
                          </a:lnTo>
                          <a:lnTo>
                            <a:pt x="2672" y="1805"/>
                          </a:lnTo>
                          <a:lnTo>
                            <a:pt x="2672" y="1742"/>
                          </a:lnTo>
                          <a:lnTo>
                            <a:pt x="2733" y="1711"/>
                          </a:lnTo>
                          <a:lnTo>
                            <a:pt x="2733" y="1805"/>
                          </a:lnTo>
                          <a:lnTo>
                            <a:pt x="2784" y="1805"/>
                          </a:lnTo>
                          <a:lnTo>
                            <a:pt x="2784" y="1861"/>
                          </a:lnTo>
                          <a:lnTo>
                            <a:pt x="2733" y="1861"/>
                          </a:lnTo>
                          <a:lnTo>
                            <a:pt x="2733" y="1964"/>
                          </a:lnTo>
                          <a:lnTo>
                            <a:pt x="2733" y="1964"/>
                          </a:lnTo>
                          <a:lnTo>
                            <a:pt x="2733" y="1973"/>
                          </a:lnTo>
                          <a:lnTo>
                            <a:pt x="2734" y="1979"/>
                          </a:lnTo>
                          <a:lnTo>
                            <a:pt x="2737" y="1985"/>
                          </a:lnTo>
                          <a:lnTo>
                            <a:pt x="2739" y="1990"/>
                          </a:lnTo>
                          <a:lnTo>
                            <a:pt x="2743" y="1993"/>
                          </a:lnTo>
                          <a:lnTo>
                            <a:pt x="2747" y="1996"/>
                          </a:lnTo>
                          <a:lnTo>
                            <a:pt x="2752" y="1997"/>
                          </a:lnTo>
                          <a:lnTo>
                            <a:pt x="2758" y="1997"/>
                          </a:lnTo>
                          <a:lnTo>
                            <a:pt x="2758" y="1997"/>
                          </a:lnTo>
                          <a:lnTo>
                            <a:pt x="2768" y="1997"/>
                          </a:lnTo>
                          <a:lnTo>
                            <a:pt x="2778" y="1995"/>
                          </a:lnTo>
                          <a:lnTo>
                            <a:pt x="2786" y="1991"/>
                          </a:lnTo>
                          <a:lnTo>
                            <a:pt x="2795" y="1986"/>
                          </a:lnTo>
                          <a:lnTo>
                            <a:pt x="2788" y="2043"/>
                          </a:lnTo>
                          <a:close/>
                          <a:moveTo>
                            <a:pt x="3384" y="1873"/>
                          </a:moveTo>
                          <a:lnTo>
                            <a:pt x="3384" y="1873"/>
                          </a:lnTo>
                          <a:lnTo>
                            <a:pt x="3376" y="1867"/>
                          </a:lnTo>
                          <a:lnTo>
                            <a:pt x="3366" y="1863"/>
                          </a:lnTo>
                          <a:lnTo>
                            <a:pt x="3355" y="1861"/>
                          </a:lnTo>
                          <a:lnTo>
                            <a:pt x="3344" y="1860"/>
                          </a:lnTo>
                          <a:lnTo>
                            <a:pt x="3344" y="1860"/>
                          </a:lnTo>
                          <a:lnTo>
                            <a:pt x="3334" y="1861"/>
                          </a:lnTo>
                          <a:lnTo>
                            <a:pt x="3325" y="1863"/>
                          </a:lnTo>
                          <a:lnTo>
                            <a:pt x="3317" y="1868"/>
                          </a:lnTo>
                          <a:lnTo>
                            <a:pt x="3311" y="1874"/>
                          </a:lnTo>
                          <a:lnTo>
                            <a:pt x="3306" y="1882"/>
                          </a:lnTo>
                          <a:lnTo>
                            <a:pt x="3304" y="1891"/>
                          </a:lnTo>
                          <a:lnTo>
                            <a:pt x="3302" y="1904"/>
                          </a:lnTo>
                          <a:lnTo>
                            <a:pt x="3300" y="1917"/>
                          </a:lnTo>
                          <a:lnTo>
                            <a:pt x="3300" y="2049"/>
                          </a:lnTo>
                          <a:lnTo>
                            <a:pt x="3241" y="2049"/>
                          </a:lnTo>
                          <a:lnTo>
                            <a:pt x="3241" y="1805"/>
                          </a:lnTo>
                          <a:lnTo>
                            <a:pt x="3300" y="1805"/>
                          </a:lnTo>
                          <a:lnTo>
                            <a:pt x="3300" y="1826"/>
                          </a:lnTo>
                          <a:lnTo>
                            <a:pt x="3300" y="1826"/>
                          </a:lnTo>
                          <a:lnTo>
                            <a:pt x="3306" y="1820"/>
                          </a:lnTo>
                          <a:lnTo>
                            <a:pt x="3313" y="1814"/>
                          </a:lnTo>
                          <a:lnTo>
                            <a:pt x="3319" y="1810"/>
                          </a:lnTo>
                          <a:lnTo>
                            <a:pt x="3326" y="1806"/>
                          </a:lnTo>
                          <a:lnTo>
                            <a:pt x="3332" y="1803"/>
                          </a:lnTo>
                          <a:lnTo>
                            <a:pt x="3339" y="1801"/>
                          </a:lnTo>
                          <a:lnTo>
                            <a:pt x="3347" y="1800"/>
                          </a:lnTo>
                          <a:lnTo>
                            <a:pt x="3355" y="1799"/>
                          </a:lnTo>
                          <a:lnTo>
                            <a:pt x="3355" y="1799"/>
                          </a:lnTo>
                          <a:lnTo>
                            <a:pt x="3367" y="1800"/>
                          </a:lnTo>
                          <a:lnTo>
                            <a:pt x="3379" y="1804"/>
                          </a:lnTo>
                          <a:lnTo>
                            <a:pt x="3390" y="1807"/>
                          </a:lnTo>
                          <a:lnTo>
                            <a:pt x="3400" y="1814"/>
                          </a:lnTo>
                          <a:lnTo>
                            <a:pt x="3384" y="1873"/>
                          </a:lnTo>
                          <a:close/>
                          <a:moveTo>
                            <a:pt x="653" y="1747"/>
                          </a:moveTo>
                          <a:lnTo>
                            <a:pt x="653" y="1770"/>
                          </a:lnTo>
                          <a:lnTo>
                            <a:pt x="592" y="1770"/>
                          </a:lnTo>
                          <a:lnTo>
                            <a:pt x="592" y="1709"/>
                          </a:lnTo>
                          <a:lnTo>
                            <a:pt x="653" y="1709"/>
                          </a:lnTo>
                          <a:lnTo>
                            <a:pt x="653" y="1747"/>
                          </a:lnTo>
                          <a:close/>
                          <a:moveTo>
                            <a:pt x="1073" y="1805"/>
                          </a:moveTo>
                          <a:lnTo>
                            <a:pt x="1134" y="1805"/>
                          </a:lnTo>
                          <a:lnTo>
                            <a:pt x="1134" y="1930"/>
                          </a:lnTo>
                          <a:lnTo>
                            <a:pt x="1134" y="2049"/>
                          </a:lnTo>
                          <a:lnTo>
                            <a:pt x="1073" y="2049"/>
                          </a:lnTo>
                          <a:lnTo>
                            <a:pt x="1073" y="1805"/>
                          </a:lnTo>
                          <a:close/>
                          <a:moveTo>
                            <a:pt x="1134" y="1739"/>
                          </a:moveTo>
                          <a:lnTo>
                            <a:pt x="1134" y="1770"/>
                          </a:lnTo>
                          <a:lnTo>
                            <a:pt x="1073" y="1770"/>
                          </a:lnTo>
                          <a:lnTo>
                            <a:pt x="1073" y="1709"/>
                          </a:lnTo>
                          <a:lnTo>
                            <a:pt x="1134" y="1709"/>
                          </a:lnTo>
                          <a:lnTo>
                            <a:pt x="1134" y="1739"/>
                          </a:lnTo>
                          <a:close/>
                          <a:moveTo>
                            <a:pt x="2796" y="2250"/>
                          </a:moveTo>
                          <a:lnTo>
                            <a:pt x="2796" y="2250"/>
                          </a:lnTo>
                          <a:lnTo>
                            <a:pt x="2790" y="2245"/>
                          </a:lnTo>
                          <a:lnTo>
                            <a:pt x="2784" y="2240"/>
                          </a:lnTo>
                          <a:lnTo>
                            <a:pt x="2778" y="2237"/>
                          </a:lnTo>
                          <a:lnTo>
                            <a:pt x="2771" y="2233"/>
                          </a:lnTo>
                          <a:lnTo>
                            <a:pt x="2764" y="2231"/>
                          </a:lnTo>
                          <a:lnTo>
                            <a:pt x="2757" y="2229"/>
                          </a:lnTo>
                          <a:lnTo>
                            <a:pt x="2741" y="2227"/>
                          </a:lnTo>
                          <a:lnTo>
                            <a:pt x="2741" y="2227"/>
                          </a:lnTo>
                          <a:lnTo>
                            <a:pt x="2730" y="2228"/>
                          </a:lnTo>
                          <a:lnTo>
                            <a:pt x="2721" y="2229"/>
                          </a:lnTo>
                          <a:lnTo>
                            <a:pt x="2711" y="2233"/>
                          </a:lnTo>
                          <a:lnTo>
                            <a:pt x="2701" y="2237"/>
                          </a:lnTo>
                          <a:lnTo>
                            <a:pt x="2693" y="2241"/>
                          </a:lnTo>
                          <a:lnTo>
                            <a:pt x="2685" y="2246"/>
                          </a:lnTo>
                          <a:lnTo>
                            <a:pt x="2678" y="2254"/>
                          </a:lnTo>
                          <a:lnTo>
                            <a:pt x="2671" y="2261"/>
                          </a:lnTo>
                          <a:lnTo>
                            <a:pt x="2666" y="2269"/>
                          </a:lnTo>
                          <a:lnTo>
                            <a:pt x="2660" y="2279"/>
                          </a:lnTo>
                          <a:lnTo>
                            <a:pt x="2656" y="2289"/>
                          </a:lnTo>
                          <a:lnTo>
                            <a:pt x="2653" y="2301"/>
                          </a:lnTo>
                          <a:lnTo>
                            <a:pt x="2649" y="2312"/>
                          </a:lnTo>
                          <a:lnTo>
                            <a:pt x="2648" y="2325"/>
                          </a:lnTo>
                          <a:lnTo>
                            <a:pt x="2647" y="2339"/>
                          </a:lnTo>
                          <a:lnTo>
                            <a:pt x="2645" y="2353"/>
                          </a:lnTo>
                          <a:lnTo>
                            <a:pt x="2645" y="2353"/>
                          </a:lnTo>
                          <a:lnTo>
                            <a:pt x="2647" y="2368"/>
                          </a:lnTo>
                          <a:lnTo>
                            <a:pt x="2648" y="2381"/>
                          </a:lnTo>
                          <a:lnTo>
                            <a:pt x="2649" y="2395"/>
                          </a:lnTo>
                          <a:lnTo>
                            <a:pt x="2653" y="2408"/>
                          </a:lnTo>
                          <a:lnTo>
                            <a:pt x="2655" y="2419"/>
                          </a:lnTo>
                          <a:lnTo>
                            <a:pt x="2660" y="2430"/>
                          </a:lnTo>
                          <a:lnTo>
                            <a:pt x="2665" y="2440"/>
                          </a:lnTo>
                          <a:lnTo>
                            <a:pt x="2671" y="2448"/>
                          </a:lnTo>
                          <a:lnTo>
                            <a:pt x="2677" y="2457"/>
                          </a:lnTo>
                          <a:lnTo>
                            <a:pt x="2684" y="2463"/>
                          </a:lnTo>
                          <a:lnTo>
                            <a:pt x="2692" y="2469"/>
                          </a:lnTo>
                          <a:lnTo>
                            <a:pt x="2700" y="2474"/>
                          </a:lnTo>
                          <a:lnTo>
                            <a:pt x="2710" y="2479"/>
                          </a:lnTo>
                          <a:lnTo>
                            <a:pt x="2720" y="2481"/>
                          </a:lnTo>
                          <a:lnTo>
                            <a:pt x="2729" y="2482"/>
                          </a:lnTo>
                          <a:lnTo>
                            <a:pt x="2740" y="2483"/>
                          </a:lnTo>
                          <a:lnTo>
                            <a:pt x="2740" y="2483"/>
                          </a:lnTo>
                          <a:lnTo>
                            <a:pt x="2747" y="2482"/>
                          </a:lnTo>
                          <a:lnTo>
                            <a:pt x="2756" y="2481"/>
                          </a:lnTo>
                          <a:lnTo>
                            <a:pt x="2763" y="2480"/>
                          </a:lnTo>
                          <a:lnTo>
                            <a:pt x="2769" y="2477"/>
                          </a:lnTo>
                          <a:lnTo>
                            <a:pt x="2777" y="2474"/>
                          </a:lnTo>
                          <a:lnTo>
                            <a:pt x="2784" y="2470"/>
                          </a:lnTo>
                          <a:lnTo>
                            <a:pt x="2790" y="2465"/>
                          </a:lnTo>
                          <a:lnTo>
                            <a:pt x="2796" y="2459"/>
                          </a:lnTo>
                          <a:lnTo>
                            <a:pt x="2796" y="2477"/>
                          </a:lnTo>
                          <a:lnTo>
                            <a:pt x="2857" y="2477"/>
                          </a:lnTo>
                          <a:lnTo>
                            <a:pt x="2857" y="2131"/>
                          </a:lnTo>
                          <a:lnTo>
                            <a:pt x="2796" y="2161"/>
                          </a:lnTo>
                          <a:lnTo>
                            <a:pt x="2796" y="2250"/>
                          </a:lnTo>
                          <a:close/>
                          <a:moveTo>
                            <a:pt x="2754" y="2427"/>
                          </a:moveTo>
                          <a:lnTo>
                            <a:pt x="2754" y="2427"/>
                          </a:lnTo>
                          <a:lnTo>
                            <a:pt x="2745" y="2426"/>
                          </a:lnTo>
                          <a:lnTo>
                            <a:pt x="2738" y="2424"/>
                          </a:lnTo>
                          <a:lnTo>
                            <a:pt x="2729" y="2420"/>
                          </a:lnTo>
                          <a:lnTo>
                            <a:pt x="2722" y="2413"/>
                          </a:lnTo>
                          <a:lnTo>
                            <a:pt x="2716" y="2403"/>
                          </a:lnTo>
                          <a:lnTo>
                            <a:pt x="2711" y="2390"/>
                          </a:lnTo>
                          <a:lnTo>
                            <a:pt x="2709" y="2373"/>
                          </a:lnTo>
                          <a:lnTo>
                            <a:pt x="2707" y="2351"/>
                          </a:lnTo>
                          <a:lnTo>
                            <a:pt x="2707" y="2351"/>
                          </a:lnTo>
                          <a:lnTo>
                            <a:pt x="2709" y="2333"/>
                          </a:lnTo>
                          <a:lnTo>
                            <a:pt x="2711" y="2317"/>
                          </a:lnTo>
                          <a:lnTo>
                            <a:pt x="2716" y="2305"/>
                          </a:lnTo>
                          <a:lnTo>
                            <a:pt x="2722" y="2296"/>
                          </a:lnTo>
                          <a:lnTo>
                            <a:pt x="2729" y="2290"/>
                          </a:lnTo>
                          <a:lnTo>
                            <a:pt x="2737" y="2285"/>
                          </a:lnTo>
                          <a:lnTo>
                            <a:pt x="2745" y="2284"/>
                          </a:lnTo>
                          <a:lnTo>
                            <a:pt x="2752" y="2283"/>
                          </a:lnTo>
                          <a:lnTo>
                            <a:pt x="2752" y="2283"/>
                          </a:lnTo>
                          <a:lnTo>
                            <a:pt x="2761" y="2284"/>
                          </a:lnTo>
                          <a:lnTo>
                            <a:pt x="2768" y="2285"/>
                          </a:lnTo>
                          <a:lnTo>
                            <a:pt x="2774" y="2288"/>
                          </a:lnTo>
                          <a:lnTo>
                            <a:pt x="2780" y="2291"/>
                          </a:lnTo>
                          <a:lnTo>
                            <a:pt x="2785" y="2295"/>
                          </a:lnTo>
                          <a:lnTo>
                            <a:pt x="2790" y="2299"/>
                          </a:lnTo>
                          <a:lnTo>
                            <a:pt x="2796" y="2307"/>
                          </a:lnTo>
                          <a:lnTo>
                            <a:pt x="2796" y="2403"/>
                          </a:lnTo>
                          <a:lnTo>
                            <a:pt x="2796" y="2403"/>
                          </a:lnTo>
                          <a:lnTo>
                            <a:pt x="2789" y="2412"/>
                          </a:lnTo>
                          <a:lnTo>
                            <a:pt x="2780" y="2419"/>
                          </a:lnTo>
                          <a:lnTo>
                            <a:pt x="2774" y="2423"/>
                          </a:lnTo>
                          <a:lnTo>
                            <a:pt x="2768" y="2425"/>
                          </a:lnTo>
                          <a:lnTo>
                            <a:pt x="2761" y="2426"/>
                          </a:lnTo>
                          <a:lnTo>
                            <a:pt x="2754" y="2427"/>
                          </a:lnTo>
                          <a:lnTo>
                            <a:pt x="2754" y="2427"/>
                          </a:lnTo>
                          <a:close/>
                          <a:moveTo>
                            <a:pt x="740" y="2301"/>
                          </a:moveTo>
                          <a:lnTo>
                            <a:pt x="740" y="2301"/>
                          </a:lnTo>
                          <a:lnTo>
                            <a:pt x="732" y="2296"/>
                          </a:lnTo>
                          <a:lnTo>
                            <a:pt x="722" y="2291"/>
                          </a:lnTo>
                          <a:lnTo>
                            <a:pt x="711" y="2289"/>
                          </a:lnTo>
                          <a:lnTo>
                            <a:pt x="700" y="2288"/>
                          </a:lnTo>
                          <a:lnTo>
                            <a:pt x="700" y="2288"/>
                          </a:lnTo>
                          <a:lnTo>
                            <a:pt x="690" y="2289"/>
                          </a:lnTo>
                          <a:lnTo>
                            <a:pt x="680" y="2291"/>
                          </a:lnTo>
                          <a:lnTo>
                            <a:pt x="673" y="2296"/>
                          </a:lnTo>
                          <a:lnTo>
                            <a:pt x="667" y="2302"/>
                          </a:lnTo>
                          <a:lnTo>
                            <a:pt x="662" y="2310"/>
                          </a:lnTo>
                          <a:lnTo>
                            <a:pt x="660" y="2319"/>
                          </a:lnTo>
                          <a:lnTo>
                            <a:pt x="657" y="2331"/>
                          </a:lnTo>
                          <a:lnTo>
                            <a:pt x="656" y="2345"/>
                          </a:lnTo>
                          <a:lnTo>
                            <a:pt x="656" y="2477"/>
                          </a:lnTo>
                          <a:lnTo>
                            <a:pt x="597" y="2477"/>
                          </a:lnTo>
                          <a:lnTo>
                            <a:pt x="597" y="2233"/>
                          </a:lnTo>
                          <a:lnTo>
                            <a:pt x="656" y="2233"/>
                          </a:lnTo>
                          <a:lnTo>
                            <a:pt x="656" y="2254"/>
                          </a:lnTo>
                          <a:lnTo>
                            <a:pt x="656" y="2254"/>
                          </a:lnTo>
                          <a:lnTo>
                            <a:pt x="662" y="2248"/>
                          </a:lnTo>
                          <a:lnTo>
                            <a:pt x="668" y="2241"/>
                          </a:lnTo>
                          <a:lnTo>
                            <a:pt x="674" y="2238"/>
                          </a:lnTo>
                          <a:lnTo>
                            <a:pt x="682" y="2234"/>
                          </a:lnTo>
                          <a:lnTo>
                            <a:pt x="688" y="2231"/>
                          </a:lnTo>
                          <a:lnTo>
                            <a:pt x="695" y="2229"/>
                          </a:lnTo>
                          <a:lnTo>
                            <a:pt x="704" y="2228"/>
                          </a:lnTo>
                          <a:lnTo>
                            <a:pt x="711" y="2227"/>
                          </a:lnTo>
                          <a:lnTo>
                            <a:pt x="711" y="2227"/>
                          </a:lnTo>
                          <a:lnTo>
                            <a:pt x="723" y="2228"/>
                          </a:lnTo>
                          <a:lnTo>
                            <a:pt x="735" y="2232"/>
                          </a:lnTo>
                          <a:lnTo>
                            <a:pt x="747" y="2237"/>
                          </a:lnTo>
                          <a:lnTo>
                            <a:pt x="757" y="2243"/>
                          </a:lnTo>
                          <a:lnTo>
                            <a:pt x="740" y="2301"/>
                          </a:lnTo>
                          <a:close/>
                          <a:moveTo>
                            <a:pt x="265" y="2233"/>
                          </a:moveTo>
                          <a:lnTo>
                            <a:pt x="324" y="2233"/>
                          </a:lnTo>
                          <a:lnTo>
                            <a:pt x="255" y="2477"/>
                          </a:lnTo>
                          <a:lnTo>
                            <a:pt x="203" y="2477"/>
                          </a:lnTo>
                          <a:lnTo>
                            <a:pt x="176" y="2376"/>
                          </a:lnTo>
                          <a:lnTo>
                            <a:pt x="176" y="2376"/>
                          </a:lnTo>
                          <a:lnTo>
                            <a:pt x="163" y="2323"/>
                          </a:lnTo>
                          <a:lnTo>
                            <a:pt x="163" y="2323"/>
                          </a:lnTo>
                          <a:lnTo>
                            <a:pt x="157" y="2348"/>
                          </a:lnTo>
                          <a:lnTo>
                            <a:pt x="149" y="2378"/>
                          </a:lnTo>
                          <a:lnTo>
                            <a:pt x="122" y="2477"/>
                          </a:lnTo>
                          <a:lnTo>
                            <a:pt x="69" y="2477"/>
                          </a:lnTo>
                          <a:lnTo>
                            <a:pt x="69" y="2476"/>
                          </a:lnTo>
                          <a:lnTo>
                            <a:pt x="0" y="2233"/>
                          </a:lnTo>
                          <a:lnTo>
                            <a:pt x="63" y="2233"/>
                          </a:lnTo>
                          <a:lnTo>
                            <a:pt x="85" y="2324"/>
                          </a:lnTo>
                          <a:lnTo>
                            <a:pt x="85" y="2324"/>
                          </a:lnTo>
                          <a:lnTo>
                            <a:pt x="91" y="2353"/>
                          </a:lnTo>
                          <a:lnTo>
                            <a:pt x="97" y="2384"/>
                          </a:lnTo>
                          <a:lnTo>
                            <a:pt x="97" y="2384"/>
                          </a:lnTo>
                          <a:lnTo>
                            <a:pt x="105" y="2353"/>
                          </a:lnTo>
                          <a:lnTo>
                            <a:pt x="112" y="2323"/>
                          </a:lnTo>
                          <a:lnTo>
                            <a:pt x="137" y="2233"/>
                          </a:lnTo>
                          <a:lnTo>
                            <a:pt x="190" y="2233"/>
                          </a:lnTo>
                          <a:lnTo>
                            <a:pt x="215" y="2323"/>
                          </a:lnTo>
                          <a:lnTo>
                            <a:pt x="215" y="2323"/>
                          </a:lnTo>
                          <a:lnTo>
                            <a:pt x="222" y="2352"/>
                          </a:lnTo>
                          <a:lnTo>
                            <a:pt x="230" y="2385"/>
                          </a:lnTo>
                          <a:lnTo>
                            <a:pt x="230" y="2385"/>
                          </a:lnTo>
                          <a:lnTo>
                            <a:pt x="235" y="2357"/>
                          </a:lnTo>
                          <a:lnTo>
                            <a:pt x="242" y="2323"/>
                          </a:lnTo>
                          <a:lnTo>
                            <a:pt x="265" y="2233"/>
                          </a:lnTo>
                          <a:close/>
                          <a:moveTo>
                            <a:pt x="447" y="2227"/>
                          </a:moveTo>
                          <a:lnTo>
                            <a:pt x="447" y="2227"/>
                          </a:lnTo>
                          <a:lnTo>
                            <a:pt x="436" y="2228"/>
                          </a:lnTo>
                          <a:lnTo>
                            <a:pt x="424" y="2229"/>
                          </a:lnTo>
                          <a:lnTo>
                            <a:pt x="413" y="2233"/>
                          </a:lnTo>
                          <a:lnTo>
                            <a:pt x="403" y="2237"/>
                          </a:lnTo>
                          <a:lnTo>
                            <a:pt x="394" y="2241"/>
                          </a:lnTo>
                          <a:lnTo>
                            <a:pt x="384" y="2248"/>
                          </a:lnTo>
                          <a:lnTo>
                            <a:pt x="375" y="2255"/>
                          </a:lnTo>
                          <a:lnTo>
                            <a:pt x="368" y="2263"/>
                          </a:lnTo>
                          <a:lnTo>
                            <a:pt x="361" y="2272"/>
                          </a:lnTo>
                          <a:lnTo>
                            <a:pt x="355" y="2282"/>
                          </a:lnTo>
                          <a:lnTo>
                            <a:pt x="349" y="2293"/>
                          </a:lnTo>
                          <a:lnTo>
                            <a:pt x="345" y="2303"/>
                          </a:lnTo>
                          <a:lnTo>
                            <a:pt x="341" y="2316"/>
                          </a:lnTo>
                          <a:lnTo>
                            <a:pt x="339" y="2328"/>
                          </a:lnTo>
                          <a:lnTo>
                            <a:pt x="337" y="2341"/>
                          </a:lnTo>
                          <a:lnTo>
                            <a:pt x="337" y="2356"/>
                          </a:lnTo>
                          <a:lnTo>
                            <a:pt x="337" y="2356"/>
                          </a:lnTo>
                          <a:lnTo>
                            <a:pt x="337" y="2369"/>
                          </a:lnTo>
                          <a:lnTo>
                            <a:pt x="339" y="2382"/>
                          </a:lnTo>
                          <a:lnTo>
                            <a:pt x="341" y="2395"/>
                          </a:lnTo>
                          <a:lnTo>
                            <a:pt x="345" y="2407"/>
                          </a:lnTo>
                          <a:lnTo>
                            <a:pt x="349" y="2418"/>
                          </a:lnTo>
                          <a:lnTo>
                            <a:pt x="355" y="2429"/>
                          </a:lnTo>
                          <a:lnTo>
                            <a:pt x="361" y="2438"/>
                          </a:lnTo>
                          <a:lnTo>
                            <a:pt x="368" y="2447"/>
                          </a:lnTo>
                          <a:lnTo>
                            <a:pt x="375" y="2455"/>
                          </a:lnTo>
                          <a:lnTo>
                            <a:pt x="384" y="2463"/>
                          </a:lnTo>
                          <a:lnTo>
                            <a:pt x="394" y="2469"/>
                          </a:lnTo>
                          <a:lnTo>
                            <a:pt x="403" y="2474"/>
                          </a:lnTo>
                          <a:lnTo>
                            <a:pt x="413" y="2477"/>
                          </a:lnTo>
                          <a:lnTo>
                            <a:pt x="424" y="2481"/>
                          </a:lnTo>
                          <a:lnTo>
                            <a:pt x="436" y="2482"/>
                          </a:lnTo>
                          <a:lnTo>
                            <a:pt x="447" y="2483"/>
                          </a:lnTo>
                          <a:lnTo>
                            <a:pt x="447" y="2483"/>
                          </a:lnTo>
                          <a:lnTo>
                            <a:pt x="459" y="2482"/>
                          </a:lnTo>
                          <a:lnTo>
                            <a:pt x="471" y="2481"/>
                          </a:lnTo>
                          <a:lnTo>
                            <a:pt x="482" y="2477"/>
                          </a:lnTo>
                          <a:lnTo>
                            <a:pt x="492" y="2474"/>
                          </a:lnTo>
                          <a:lnTo>
                            <a:pt x="502" y="2469"/>
                          </a:lnTo>
                          <a:lnTo>
                            <a:pt x="512" y="2463"/>
                          </a:lnTo>
                          <a:lnTo>
                            <a:pt x="520" y="2455"/>
                          </a:lnTo>
                          <a:lnTo>
                            <a:pt x="527" y="2447"/>
                          </a:lnTo>
                          <a:lnTo>
                            <a:pt x="535" y="2438"/>
                          </a:lnTo>
                          <a:lnTo>
                            <a:pt x="541" y="2429"/>
                          </a:lnTo>
                          <a:lnTo>
                            <a:pt x="546" y="2418"/>
                          </a:lnTo>
                          <a:lnTo>
                            <a:pt x="550" y="2407"/>
                          </a:lnTo>
                          <a:lnTo>
                            <a:pt x="554" y="2395"/>
                          </a:lnTo>
                          <a:lnTo>
                            <a:pt x="557" y="2382"/>
                          </a:lnTo>
                          <a:lnTo>
                            <a:pt x="559" y="2369"/>
                          </a:lnTo>
                          <a:lnTo>
                            <a:pt x="559" y="2356"/>
                          </a:lnTo>
                          <a:lnTo>
                            <a:pt x="559" y="2356"/>
                          </a:lnTo>
                          <a:lnTo>
                            <a:pt x="559" y="2341"/>
                          </a:lnTo>
                          <a:lnTo>
                            <a:pt x="557" y="2328"/>
                          </a:lnTo>
                          <a:lnTo>
                            <a:pt x="554" y="2316"/>
                          </a:lnTo>
                          <a:lnTo>
                            <a:pt x="550" y="2303"/>
                          </a:lnTo>
                          <a:lnTo>
                            <a:pt x="546" y="2293"/>
                          </a:lnTo>
                          <a:lnTo>
                            <a:pt x="541" y="2282"/>
                          </a:lnTo>
                          <a:lnTo>
                            <a:pt x="535" y="2272"/>
                          </a:lnTo>
                          <a:lnTo>
                            <a:pt x="527" y="2263"/>
                          </a:lnTo>
                          <a:lnTo>
                            <a:pt x="520" y="2255"/>
                          </a:lnTo>
                          <a:lnTo>
                            <a:pt x="512" y="2248"/>
                          </a:lnTo>
                          <a:lnTo>
                            <a:pt x="502" y="2241"/>
                          </a:lnTo>
                          <a:lnTo>
                            <a:pt x="492" y="2237"/>
                          </a:lnTo>
                          <a:lnTo>
                            <a:pt x="482" y="2233"/>
                          </a:lnTo>
                          <a:lnTo>
                            <a:pt x="471" y="2229"/>
                          </a:lnTo>
                          <a:lnTo>
                            <a:pt x="459" y="2228"/>
                          </a:lnTo>
                          <a:lnTo>
                            <a:pt x="447" y="2227"/>
                          </a:lnTo>
                          <a:lnTo>
                            <a:pt x="447" y="2227"/>
                          </a:lnTo>
                          <a:close/>
                          <a:moveTo>
                            <a:pt x="447" y="2426"/>
                          </a:moveTo>
                          <a:lnTo>
                            <a:pt x="447" y="2426"/>
                          </a:lnTo>
                          <a:lnTo>
                            <a:pt x="436" y="2425"/>
                          </a:lnTo>
                          <a:lnTo>
                            <a:pt x="427" y="2421"/>
                          </a:lnTo>
                          <a:lnTo>
                            <a:pt x="419" y="2415"/>
                          </a:lnTo>
                          <a:lnTo>
                            <a:pt x="412" y="2407"/>
                          </a:lnTo>
                          <a:lnTo>
                            <a:pt x="406" y="2397"/>
                          </a:lnTo>
                          <a:lnTo>
                            <a:pt x="401" y="2385"/>
                          </a:lnTo>
                          <a:lnTo>
                            <a:pt x="399" y="2370"/>
                          </a:lnTo>
                          <a:lnTo>
                            <a:pt x="399" y="2356"/>
                          </a:lnTo>
                          <a:lnTo>
                            <a:pt x="399" y="2356"/>
                          </a:lnTo>
                          <a:lnTo>
                            <a:pt x="399" y="2340"/>
                          </a:lnTo>
                          <a:lnTo>
                            <a:pt x="401" y="2325"/>
                          </a:lnTo>
                          <a:lnTo>
                            <a:pt x="406" y="2314"/>
                          </a:lnTo>
                          <a:lnTo>
                            <a:pt x="412" y="2303"/>
                          </a:lnTo>
                          <a:lnTo>
                            <a:pt x="419" y="2295"/>
                          </a:lnTo>
                          <a:lnTo>
                            <a:pt x="427" y="2289"/>
                          </a:lnTo>
                          <a:lnTo>
                            <a:pt x="436" y="2285"/>
                          </a:lnTo>
                          <a:lnTo>
                            <a:pt x="447" y="2284"/>
                          </a:lnTo>
                          <a:lnTo>
                            <a:pt x="447" y="2284"/>
                          </a:lnTo>
                          <a:lnTo>
                            <a:pt x="458" y="2285"/>
                          </a:lnTo>
                          <a:lnTo>
                            <a:pt x="468" y="2289"/>
                          </a:lnTo>
                          <a:lnTo>
                            <a:pt x="476" y="2295"/>
                          </a:lnTo>
                          <a:lnTo>
                            <a:pt x="484" y="2303"/>
                          </a:lnTo>
                          <a:lnTo>
                            <a:pt x="490" y="2314"/>
                          </a:lnTo>
                          <a:lnTo>
                            <a:pt x="493" y="2325"/>
                          </a:lnTo>
                          <a:lnTo>
                            <a:pt x="496" y="2340"/>
                          </a:lnTo>
                          <a:lnTo>
                            <a:pt x="497" y="2356"/>
                          </a:lnTo>
                          <a:lnTo>
                            <a:pt x="497" y="2356"/>
                          </a:lnTo>
                          <a:lnTo>
                            <a:pt x="496" y="2370"/>
                          </a:lnTo>
                          <a:lnTo>
                            <a:pt x="493" y="2385"/>
                          </a:lnTo>
                          <a:lnTo>
                            <a:pt x="490" y="2397"/>
                          </a:lnTo>
                          <a:lnTo>
                            <a:pt x="484" y="2407"/>
                          </a:lnTo>
                          <a:lnTo>
                            <a:pt x="476" y="2415"/>
                          </a:lnTo>
                          <a:lnTo>
                            <a:pt x="468" y="2421"/>
                          </a:lnTo>
                          <a:lnTo>
                            <a:pt x="458" y="2425"/>
                          </a:lnTo>
                          <a:lnTo>
                            <a:pt x="447" y="2426"/>
                          </a:lnTo>
                          <a:lnTo>
                            <a:pt x="447" y="2426"/>
                          </a:lnTo>
                          <a:close/>
                          <a:moveTo>
                            <a:pt x="2498" y="2301"/>
                          </a:moveTo>
                          <a:lnTo>
                            <a:pt x="2498" y="2301"/>
                          </a:lnTo>
                          <a:lnTo>
                            <a:pt x="2489" y="2296"/>
                          </a:lnTo>
                          <a:lnTo>
                            <a:pt x="2479" y="2291"/>
                          </a:lnTo>
                          <a:lnTo>
                            <a:pt x="2468" y="2289"/>
                          </a:lnTo>
                          <a:lnTo>
                            <a:pt x="2458" y="2288"/>
                          </a:lnTo>
                          <a:lnTo>
                            <a:pt x="2458" y="2288"/>
                          </a:lnTo>
                          <a:lnTo>
                            <a:pt x="2447" y="2289"/>
                          </a:lnTo>
                          <a:lnTo>
                            <a:pt x="2439" y="2291"/>
                          </a:lnTo>
                          <a:lnTo>
                            <a:pt x="2432" y="2296"/>
                          </a:lnTo>
                          <a:lnTo>
                            <a:pt x="2425" y="2302"/>
                          </a:lnTo>
                          <a:lnTo>
                            <a:pt x="2421" y="2310"/>
                          </a:lnTo>
                          <a:lnTo>
                            <a:pt x="2417" y="2319"/>
                          </a:lnTo>
                          <a:lnTo>
                            <a:pt x="2415" y="2331"/>
                          </a:lnTo>
                          <a:lnTo>
                            <a:pt x="2415" y="2345"/>
                          </a:lnTo>
                          <a:lnTo>
                            <a:pt x="2415" y="2477"/>
                          </a:lnTo>
                          <a:lnTo>
                            <a:pt x="2354" y="2477"/>
                          </a:lnTo>
                          <a:lnTo>
                            <a:pt x="2354" y="2233"/>
                          </a:lnTo>
                          <a:lnTo>
                            <a:pt x="2415" y="2233"/>
                          </a:lnTo>
                          <a:lnTo>
                            <a:pt x="2415" y="2254"/>
                          </a:lnTo>
                          <a:lnTo>
                            <a:pt x="2415" y="2254"/>
                          </a:lnTo>
                          <a:lnTo>
                            <a:pt x="2419" y="2248"/>
                          </a:lnTo>
                          <a:lnTo>
                            <a:pt x="2425" y="2241"/>
                          </a:lnTo>
                          <a:lnTo>
                            <a:pt x="2432" y="2238"/>
                          </a:lnTo>
                          <a:lnTo>
                            <a:pt x="2439" y="2234"/>
                          </a:lnTo>
                          <a:lnTo>
                            <a:pt x="2446" y="2231"/>
                          </a:lnTo>
                          <a:lnTo>
                            <a:pt x="2453" y="2229"/>
                          </a:lnTo>
                          <a:lnTo>
                            <a:pt x="2461" y="2228"/>
                          </a:lnTo>
                          <a:lnTo>
                            <a:pt x="2468" y="2227"/>
                          </a:lnTo>
                          <a:lnTo>
                            <a:pt x="2468" y="2227"/>
                          </a:lnTo>
                          <a:lnTo>
                            <a:pt x="2480" y="2228"/>
                          </a:lnTo>
                          <a:lnTo>
                            <a:pt x="2492" y="2232"/>
                          </a:lnTo>
                          <a:lnTo>
                            <a:pt x="2504" y="2237"/>
                          </a:lnTo>
                          <a:lnTo>
                            <a:pt x="2514" y="2243"/>
                          </a:lnTo>
                          <a:lnTo>
                            <a:pt x="2498" y="2301"/>
                          </a:lnTo>
                          <a:close/>
                          <a:moveTo>
                            <a:pt x="2022" y="2233"/>
                          </a:moveTo>
                          <a:lnTo>
                            <a:pt x="2082" y="2233"/>
                          </a:lnTo>
                          <a:lnTo>
                            <a:pt x="2012" y="2477"/>
                          </a:lnTo>
                          <a:lnTo>
                            <a:pt x="1960" y="2477"/>
                          </a:lnTo>
                          <a:lnTo>
                            <a:pt x="1933" y="2376"/>
                          </a:lnTo>
                          <a:lnTo>
                            <a:pt x="1933" y="2376"/>
                          </a:lnTo>
                          <a:lnTo>
                            <a:pt x="1920" y="2323"/>
                          </a:lnTo>
                          <a:lnTo>
                            <a:pt x="1920" y="2323"/>
                          </a:lnTo>
                          <a:lnTo>
                            <a:pt x="1914" y="2348"/>
                          </a:lnTo>
                          <a:lnTo>
                            <a:pt x="1907" y="2378"/>
                          </a:lnTo>
                          <a:lnTo>
                            <a:pt x="1880" y="2477"/>
                          </a:lnTo>
                          <a:lnTo>
                            <a:pt x="1828" y="2477"/>
                          </a:lnTo>
                          <a:lnTo>
                            <a:pt x="1826" y="2476"/>
                          </a:lnTo>
                          <a:lnTo>
                            <a:pt x="1758" y="2233"/>
                          </a:lnTo>
                          <a:lnTo>
                            <a:pt x="1820" y="2233"/>
                          </a:lnTo>
                          <a:lnTo>
                            <a:pt x="1843" y="2324"/>
                          </a:lnTo>
                          <a:lnTo>
                            <a:pt x="1843" y="2324"/>
                          </a:lnTo>
                          <a:lnTo>
                            <a:pt x="1849" y="2353"/>
                          </a:lnTo>
                          <a:lnTo>
                            <a:pt x="1856" y="2384"/>
                          </a:lnTo>
                          <a:lnTo>
                            <a:pt x="1856" y="2384"/>
                          </a:lnTo>
                          <a:lnTo>
                            <a:pt x="1862" y="2353"/>
                          </a:lnTo>
                          <a:lnTo>
                            <a:pt x="1870" y="2323"/>
                          </a:lnTo>
                          <a:lnTo>
                            <a:pt x="1896" y="2233"/>
                          </a:lnTo>
                          <a:lnTo>
                            <a:pt x="1947" y="2233"/>
                          </a:lnTo>
                          <a:lnTo>
                            <a:pt x="1972" y="2323"/>
                          </a:lnTo>
                          <a:lnTo>
                            <a:pt x="1972" y="2323"/>
                          </a:lnTo>
                          <a:lnTo>
                            <a:pt x="1979" y="2352"/>
                          </a:lnTo>
                          <a:lnTo>
                            <a:pt x="1987" y="2385"/>
                          </a:lnTo>
                          <a:lnTo>
                            <a:pt x="1987" y="2385"/>
                          </a:lnTo>
                          <a:lnTo>
                            <a:pt x="1993" y="2357"/>
                          </a:lnTo>
                          <a:lnTo>
                            <a:pt x="2000" y="2323"/>
                          </a:lnTo>
                          <a:lnTo>
                            <a:pt x="2022" y="2233"/>
                          </a:lnTo>
                          <a:close/>
                          <a:moveTo>
                            <a:pt x="2204" y="2227"/>
                          </a:moveTo>
                          <a:lnTo>
                            <a:pt x="2204" y="2227"/>
                          </a:lnTo>
                          <a:lnTo>
                            <a:pt x="2193" y="2228"/>
                          </a:lnTo>
                          <a:lnTo>
                            <a:pt x="2181" y="2229"/>
                          </a:lnTo>
                          <a:lnTo>
                            <a:pt x="2170" y="2233"/>
                          </a:lnTo>
                          <a:lnTo>
                            <a:pt x="2161" y="2237"/>
                          </a:lnTo>
                          <a:lnTo>
                            <a:pt x="2151" y="2241"/>
                          </a:lnTo>
                          <a:lnTo>
                            <a:pt x="2141" y="2249"/>
                          </a:lnTo>
                          <a:lnTo>
                            <a:pt x="2133" y="2255"/>
                          </a:lnTo>
                          <a:lnTo>
                            <a:pt x="2125" y="2263"/>
                          </a:lnTo>
                          <a:lnTo>
                            <a:pt x="2118" y="2272"/>
                          </a:lnTo>
                          <a:lnTo>
                            <a:pt x="2112" y="2282"/>
                          </a:lnTo>
                          <a:lnTo>
                            <a:pt x="2106" y="2293"/>
                          </a:lnTo>
                          <a:lnTo>
                            <a:pt x="2102" y="2303"/>
                          </a:lnTo>
                          <a:lnTo>
                            <a:pt x="2099" y="2316"/>
                          </a:lnTo>
                          <a:lnTo>
                            <a:pt x="2095" y="2329"/>
                          </a:lnTo>
                          <a:lnTo>
                            <a:pt x="2094" y="2341"/>
                          </a:lnTo>
                          <a:lnTo>
                            <a:pt x="2094" y="2356"/>
                          </a:lnTo>
                          <a:lnTo>
                            <a:pt x="2094" y="2356"/>
                          </a:lnTo>
                          <a:lnTo>
                            <a:pt x="2094" y="2369"/>
                          </a:lnTo>
                          <a:lnTo>
                            <a:pt x="2095" y="2382"/>
                          </a:lnTo>
                          <a:lnTo>
                            <a:pt x="2099" y="2395"/>
                          </a:lnTo>
                          <a:lnTo>
                            <a:pt x="2102" y="2407"/>
                          </a:lnTo>
                          <a:lnTo>
                            <a:pt x="2106" y="2418"/>
                          </a:lnTo>
                          <a:lnTo>
                            <a:pt x="2112" y="2429"/>
                          </a:lnTo>
                          <a:lnTo>
                            <a:pt x="2118" y="2438"/>
                          </a:lnTo>
                          <a:lnTo>
                            <a:pt x="2125" y="2447"/>
                          </a:lnTo>
                          <a:lnTo>
                            <a:pt x="2133" y="2455"/>
                          </a:lnTo>
                          <a:lnTo>
                            <a:pt x="2141" y="2463"/>
                          </a:lnTo>
                          <a:lnTo>
                            <a:pt x="2151" y="2469"/>
                          </a:lnTo>
                          <a:lnTo>
                            <a:pt x="2161" y="2474"/>
                          </a:lnTo>
                          <a:lnTo>
                            <a:pt x="2170" y="2477"/>
                          </a:lnTo>
                          <a:lnTo>
                            <a:pt x="2181" y="2481"/>
                          </a:lnTo>
                          <a:lnTo>
                            <a:pt x="2193" y="2482"/>
                          </a:lnTo>
                          <a:lnTo>
                            <a:pt x="2204" y="2483"/>
                          </a:lnTo>
                          <a:lnTo>
                            <a:pt x="2204" y="2483"/>
                          </a:lnTo>
                          <a:lnTo>
                            <a:pt x="2216" y="2482"/>
                          </a:lnTo>
                          <a:lnTo>
                            <a:pt x="2229" y="2481"/>
                          </a:lnTo>
                          <a:lnTo>
                            <a:pt x="2240" y="2477"/>
                          </a:lnTo>
                          <a:lnTo>
                            <a:pt x="2249" y="2474"/>
                          </a:lnTo>
                          <a:lnTo>
                            <a:pt x="2259" y="2469"/>
                          </a:lnTo>
                          <a:lnTo>
                            <a:pt x="2269" y="2463"/>
                          </a:lnTo>
                          <a:lnTo>
                            <a:pt x="2277" y="2455"/>
                          </a:lnTo>
                          <a:lnTo>
                            <a:pt x="2284" y="2447"/>
                          </a:lnTo>
                          <a:lnTo>
                            <a:pt x="2292" y="2438"/>
                          </a:lnTo>
                          <a:lnTo>
                            <a:pt x="2298" y="2429"/>
                          </a:lnTo>
                          <a:lnTo>
                            <a:pt x="2303" y="2418"/>
                          </a:lnTo>
                          <a:lnTo>
                            <a:pt x="2308" y="2407"/>
                          </a:lnTo>
                          <a:lnTo>
                            <a:pt x="2311" y="2395"/>
                          </a:lnTo>
                          <a:lnTo>
                            <a:pt x="2314" y="2382"/>
                          </a:lnTo>
                          <a:lnTo>
                            <a:pt x="2316" y="2369"/>
                          </a:lnTo>
                          <a:lnTo>
                            <a:pt x="2316" y="2356"/>
                          </a:lnTo>
                          <a:lnTo>
                            <a:pt x="2316" y="2356"/>
                          </a:lnTo>
                          <a:lnTo>
                            <a:pt x="2316" y="2341"/>
                          </a:lnTo>
                          <a:lnTo>
                            <a:pt x="2314" y="2329"/>
                          </a:lnTo>
                          <a:lnTo>
                            <a:pt x="2311" y="2316"/>
                          </a:lnTo>
                          <a:lnTo>
                            <a:pt x="2308" y="2303"/>
                          </a:lnTo>
                          <a:lnTo>
                            <a:pt x="2303" y="2293"/>
                          </a:lnTo>
                          <a:lnTo>
                            <a:pt x="2298" y="2282"/>
                          </a:lnTo>
                          <a:lnTo>
                            <a:pt x="2292" y="2272"/>
                          </a:lnTo>
                          <a:lnTo>
                            <a:pt x="2284" y="2263"/>
                          </a:lnTo>
                          <a:lnTo>
                            <a:pt x="2277" y="2255"/>
                          </a:lnTo>
                          <a:lnTo>
                            <a:pt x="2269" y="2249"/>
                          </a:lnTo>
                          <a:lnTo>
                            <a:pt x="2259" y="2241"/>
                          </a:lnTo>
                          <a:lnTo>
                            <a:pt x="2249" y="2237"/>
                          </a:lnTo>
                          <a:lnTo>
                            <a:pt x="2240" y="2233"/>
                          </a:lnTo>
                          <a:lnTo>
                            <a:pt x="2229" y="2229"/>
                          </a:lnTo>
                          <a:lnTo>
                            <a:pt x="2216" y="2228"/>
                          </a:lnTo>
                          <a:lnTo>
                            <a:pt x="2204" y="2227"/>
                          </a:lnTo>
                          <a:lnTo>
                            <a:pt x="2204" y="2227"/>
                          </a:lnTo>
                          <a:close/>
                          <a:moveTo>
                            <a:pt x="2204" y="2426"/>
                          </a:moveTo>
                          <a:lnTo>
                            <a:pt x="2204" y="2426"/>
                          </a:lnTo>
                          <a:lnTo>
                            <a:pt x="2193" y="2425"/>
                          </a:lnTo>
                          <a:lnTo>
                            <a:pt x="2185" y="2421"/>
                          </a:lnTo>
                          <a:lnTo>
                            <a:pt x="2176" y="2415"/>
                          </a:lnTo>
                          <a:lnTo>
                            <a:pt x="2169" y="2407"/>
                          </a:lnTo>
                          <a:lnTo>
                            <a:pt x="2163" y="2397"/>
                          </a:lnTo>
                          <a:lnTo>
                            <a:pt x="2158" y="2385"/>
                          </a:lnTo>
                          <a:lnTo>
                            <a:pt x="2156" y="2370"/>
                          </a:lnTo>
                          <a:lnTo>
                            <a:pt x="2156" y="2356"/>
                          </a:lnTo>
                          <a:lnTo>
                            <a:pt x="2156" y="2356"/>
                          </a:lnTo>
                          <a:lnTo>
                            <a:pt x="2156" y="2340"/>
                          </a:lnTo>
                          <a:lnTo>
                            <a:pt x="2158" y="2327"/>
                          </a:lnTo>
                          <a:lnTo>
                            <a:pt x="2163" y="2314"/>
                          </a:lnTo>
                          <a:lnTo>
                            <a:pt x="2169" y="2303"/>
                          </a:lnTo>
                          <a:lnTo>
                            <a:pt x="2176" y="2295"/>
                          </a:lnTo>
                          <a:lnTo>
                            <a:pt x="2185" y="2289"/>
                          </a:lnTo>
                          <a:lnTo>
                            <a:pt x="2193" y="2285"/>
                          </a:lnTo>
                          <a:lnTo>
                            <a:pt x="2204" y="2284"/>
                          </a:lnTo>
                          <a:lnTo>
                            <a:pt x="2204" y="2284"/>
                          </a:lnTo>
                          <a:lnTo>
                            <a:pt x="2215" y="2285"/>
                          </a:lnTo>
                          <a:lnTo>
                            <a:pt x="2225" y="2289"/>
                          </a:lnTo>
                          <a:lnTo>
                            <a:pt x="2233" y="2295"/>
                          </a:lnTo>
                          <a:lnTo>
                            <a:pt x="2241" y="2303"/>
                          </a:lnTo>
                          <a:lnTo>
                            <a:pt x="2247" y="2314"/>
                          </a:lnTo>
                          <a:lnTo>
                            <a:pt x="2250" y="2327"/>
                          </a:lnTo>
                          <a:lnTo>
                            <a:pt x="2253" y="2340"/>
                          </a:lnTo>
                          <a:lnTo>
                            <a:pt x="2254" y="2356"/>
                          </a:lnTo>
                          <a:lnTo>
                            <a:pt x="2254" y="2356"/>
                          </a:lnTo>
                          <a:lnTo>
                            <a:pt x="2253" y="2370"/>
                          </a:lnTo>
                          <a:lnTo>
                            <a:pt x="2250" y="2385"/>
                          </a:lnTo>
                          <a:lnTo>
                            <a:pt x="2247" y="2397"/>
                          </a:lnTo>
                          <a:lnTo>
                            <a:pt x="2241" y="2407"/>
                          </a:lnTo>
                          <a:lnTo>
                            <a:pt x="2233" y="2415"/>
                          </a:lnTo>
                          <a:lnTo>
                            <a:pt x="2225" y="2421"/>
                          </a:lnTo>
                          <a:lnTo>
                            <a:pt x="2215" y="2425"/>
                          </a:lnTo>
                          <a:lnTo>
                            <a:pt x="2204" y="2426"/>
                          </a:lnTo>
                          <a:lnTo>
                            <a:pt x="2204" y="2426"/>
                          </a:lnTo>
                          <a:close/>
                          <a:moveTo>
                            <a:pt x="921" y="2313"/>
                          </a:moveTo>
                          <a:lnTo>
                            <a:pt x="995" y="2477"/>
                          </a:lnTo>
                          <a:lnTo>
                            <a:pt x="928" y="2477"/>
                          </a:lnTo>
                          <a:lnTo>
                            <a:pt x="877" y="2364"/>
                          </a:lnTo>
                          <a:lnTo>
                            <a:pt x="845" y="2404"/>
                          </a:lnTo>
                          <a:lnTo>
                            <a:pt x="845" y="2477"/>
                          </a:lnTo>
                          <a:lnTo>
                            <a:pt x="785" y="2477"/>
                          </a:lnTo>
                          <a:lnTo>
                            <a:pt x="785" y="2161"/>
                          </a:lnTo>
                          <a:lnTo>
                            <a:pt x="845" y="2131"/>
                          </a:lnTo>
                          <a:lnTo>
                            <a:pt x="845" y="2327"/>
                          </a:lnTo>
                          <a:lnTo>
                            <a:pt x="845" y="2327"/>
                          </a:lnTo>
                          <a:lnTo>
                            <a:pt x="868" y="2295"/>
                          </a:lnTo>
                          <a:lnTo>
                            <a:pt x="916" y="2233"/>
                          </a:lnTo>
                          <a:lnTo>
                            <a:pt x="987" y="2233"/>
                          </a:lnTo>
                          <a:lnTo>
                            <a:pt x="921" y="2313"/>
                          </a:lnTo>
                          <a:close/>
                          <a:moveTo>
                            <a:pt x="1208" y="2477"/>
                          </a:moveTo>
                          <a:lnTo>
                            <a:pt x="1147" y="2477"/>
                          </a:lnTo>
                          <a:lnTo>
                            <a:pt x="1147" y="2233"/>
                          </a:lnTo>
                          <a:lnTo>
                            <a:pt x="1208" y="2233"/>
                          </a:lnTo>
                          <a:lnTo>
                            <a:pt x="1208" y="2254"/>
                          </a:lnTo>
                          <a:lnTo>
                            <a:pt x="1208" y="2254"/>
                          </a:lnTo>
                          <a:lnTo>
                            <a:pt x="1214" y="2248"/>
                          </a:lnTo>
                          <a:lnTo>
                            <a:pt x="1220" y="2243"/>
                          </a:lnTo>
                          <a:lnTo>
                            <a:pt x="1227" y="2238"/>
                          </a:lnTo>
                          <a:lnTo>
                            <a:pt x="1235" y="2234"/>
                          </a:lnTo>
                          <a:lnTo>
                            <a:pt x="1243" y="2232"/>
                          </a:lnTo>
                          <a:lnTo>
                            <a:pt x="1252" y="2229"/>
                          </a:lnTo>
                          <a:lnTo>
                            <a:pt x="1260" y="2228"/>
                          </a:lnTo>
                          <a:lnTo>
                            <a:pt x="1270" y="2227"/>
                          </a:lnTo>
                          <a:lnTo>
                            <a:pt x="1270" y="2227"/>
                          </a:lnTo>
                          <a:lnTo>
                            <a:pt x="1281" y="2228"/>
                          </a:lnTo>
                          <a:lnTo>
                            <a:pt x="1290" y="2229"/>
                          </a:lnTo>
                          <a:lnTo>
                            <a:pt x="1299" y="2232"/>
                          </a:lnTo>
                          <a:lnTo>
                            <a:pt x="1309" y="2234"/>
                          </a:lnTo>
                          <a:lnTo>
                            <a:pt x="1316" y="2239"/>
                          </a:lnTo>
                          <a:lnTo>
                            <a:pt x="1323" y="2244"/>
                          </a:lnTo>
                          <a:lnTo>
                            <a:pt x="1331" y="2249"/>
                          </a:lnTo>
                          <a:lnTo>
                            <a:pt x="1337" y="2256"/>
                          </a:lnTo>
                          <a:lnTo>
                            <a:pt x="1342" y="2263"/>
                          </a:lnTo>
                          <a:lnTo>
                            <a:pt x="1346" y="2272"/>
                          </a:lnTo>
                          <a:lnTo>
                            <a:pt x="1350" y="2280"/>
                          </a:lnTo>
                          <a:lnTo>
                            <a:pt x="1354" y="2291"/>
                          </a:lnTo>
                          <a:lnTo>
                            <a:pt x="1356" y="2302"/>
                          </a:lnTo>
                          <a:lnTo>
                            <a:pt x="1357" y="2313"/>
                          </a:lnTo>
                          <a:lnTo>
                            <a:pt x="1359" y="2325"/>
                          </a:lnTo>
                          <a:lnTo>
                            <a:pt x="1360" y="2339"/>
                          </a:lnTo>
                          <a:lnTo>
                            <a:pt x="1360" y="2477"/>
                          </a:lnTo>
                          <a:lnTo>
                            <a:pt x="1299" y="2477"/>
                          </a:lnTo>
                          <a:lnTo>
                            <a:pt x="1299" y="2342"/>
                          </a:lnTo>
                          <a:lnTo>
                            <a:pt x="1299" y="2342"/>
                          </a:lnTo>
                          <a:lnTo>
                            <a:pt x="1298" y="2329"/>
                          </a:lnTo>
                          <a:lnTo>
                            <a:pt x="1297" y="2316"/>
                          </a:lnTo>
                          <a:lnTo>
                            <a:pt x="1293" y="2306"/>
                          </a:lnTo>
                          <a:lnTo>
                            <a:pt x="1288" y="2297"/>
                          </a:lnTo>
                          <a:lnTo>
                            <a:pt x="1282" y="2291"/>
                          </a:lnTo>
                          <a:lnTo>
                            <a:pt x="1275" y="2286"/>
                          </a:lnTo>
                          <a:lnTo>
                            <a:pt x="1265" y="2284"/>
                          </a:lnTo>
                          <a:lnTo>
                            <a:pt x="1254" y="2283"/>
                          </a:lnTo>
                          <a:lnTo>
                            <a:pt x="1254" y="2283"/>
                          </a:lnTo>
                          <a:lnTo>
                            <a:pt x="1244" y="2284"/>
                          </a:lnTo>
                          <a:lnTo>
                            <a:pt x="1235" y="2286"/>
                          </a:lnTo>
                          <a:lnTo>
                            <a:pt x="1226" y="2291"/>
                          </a:lnTo>
                          <a:lnTo>
                            <a:pt x="1220" y="2299"/>
                          </a:lnTo>
                          <a:lnTo>
                            <a:pt x="1215" y="2306"/>
                          </a:lnTo>
                          <a:lnTo>
                            <a:pt x="1212" y="2317"/>
                          </a:lnTo>
                          <a:lnTo>
                            <a:pt x="1209" y="2329"/>
                          </a:lnTo>
                          <a:lnTo>
                            <a:pt x="1208" y="2342"/>
                          </a:lnTo>
                          <a:lnTo>
                            <a:pt x="1208" y="2477"/>
                          </a:lnTo>
                          <a:close/>
                          <a:moveTo>
                            <a:pt x="1551" y="2250"/>
                          </a:moveTo>
                          <a:lnTo>
                            <a:pt x="1551" y="2250"/>
                          </a:lnTo>
                          <a:lnTo>
                            <a:pt x="1544" y="2245"/>
                          </a:lnTo>
                          <a:lnTo>
                            <a:pt x="1538" y="2240"/>
                          </a:lnTo>
                          <a:lnTo>
                            <a:pt x="1532" y="2237"/>
                          </a:lnTo>
                          <a:lnTo>
                            <a:pt x="1525" y="2233"/>
                          </a:lnTo>
                          <a:lnTo>
                            <a:pt x="1518" y="2231"/>
                          </a:lnTo>
                          <a:lnTo>
                            <a:pt x="1510" y="2229"/>
                          </a:lnTo>
                          <a:lnTo>
                            <a:pt x="1503" y="2228"/>
                          </a:lnTo>
                          <a:lnTo>
                            <a:pt x="1496" y="2227"/>
                          </a:lnTo>
                          <a:lnTo>
                            <a:pt x="1496" y="2227"/>
                          </a:lnTo>
                          <a:lnTo>
                            <a:pt x="1485" y="2228"/>
                          </a:lnTo>
                          <a:lnTo>
                            <a:pt x="1475" y="2229"/>
                          </a:lnTo>
                          <a:lnTo>
                            <a:pt x="1465" y="2232"/>
                          </a:lnTo>
                          <a:lnTo>
                            <a:pt x="1456" y="2237"/>
                          </a:lnTo>
                          <a:lnTo>
                            <a:pt x="1447" y="2240"/>
                          </a:lnTo>
                          <a:lnTo>
                            <a:pt x="1440" y="2246"/>
                          </a:lnTo>
                          <a:lnTo>
                            <a:pt x="1433" y="2254"/>
                          </a:lnTo>
                          <a:lnTo>
                            <a:pt x="1425" y="2261"/>
                          </a:lnTo>
                          <a:lnTo>
                            <a:pt x="1419" y="2269"/>
                          </a:lnTo>
                          <a:lnTo>
                            <a:pt x="1414" y="2279"/>
                          </a:lnTo>
                          <a:lnTo>
                            <a:pt x="1410" y="2289"/>
                          </a:lnTo>
                          <a:lnTo>
                            <a:pt x="1406" y="2301"/>
                          </a:lnTo>
                          <a:lnTo>
                            <a:pt x="1404" y="2312"/>
                          </a:lnTo>
                          <a:lnTo>
                            <a:pt x="1401" y="2325"/>
                          </a:lnTo>
                          <a:lnTo>
                            <a:pt x="1400" y="2339"/>
                          </a:lnTo>
                          <a:lnTo>
                            <a:pt x="1400" y="2352"/>
                          </a:lnTo>
                          <a:lnTo>
                            <a:pt x="1400" y="2352"/>
                          </a:lnTo>
                          <a:lnTo>
                            <a:pt x="1400" y="2368"/>
                          </a:lnTo>
                          <a:lnTo>
                            <a:pt x="1401" y="2381"/>
                          </a:lnTo>
                          <a:lnTo>
                            <a:pt x="1404" y="2395"/>
                          </a:lnTo>
                          <a:lnTo>
                            <a:pt x="1406" y="2408"/>
                          </a:lnTo>
                          <a:lnTo>
                            <a:pt x="1410" y="2419"/>
                          </a:lnTo>
                          <a:lnTo>
                            <a:pt x="1414" y="2430"/>
                          </a:lnTo>
                          <a:lnTo>
                            <a:pt x="1419" y="2440"/>
                          </a:lnTo>
                          <a:lnTo>
                            <a:pt x="1425" y="2448"/>
                          </a:lnTo>
                          <a:lnTo>
                            <a:pt x="1431" y="2457"/>
                          </a:lnTo>
                          <a:lnTo>
                            <a:pt x="1439" y="2463"/>
                          </a:lnTo>
                          <a:lnTo>
                            <a:pt x="1446" y="2469"/>
                          </a:lnTo>
                          <a:lnTo>
                            <a:pt x="1455" y="2474"/>
                          </a:lnTo>
                          <a:lnTo>
                            <a:pt x="1464" y="2477"/>
                          </a:lnTo>
                          <a:lnTo>
                            <a:pt x="1474" y="2481"/>
                          </a:lnTo>
                          <a:lnTo>
                            <a:pt x="1484" y="2482"/>
                          </a:lnTo>
                          <a:lnTo>
                            <a:pt x="1495" y="2483"/>
                          </a:lnTo>
                          <a:lnTo>
                            <a:pt x="1495" y="2483"/>
                          </a:lnTo>
                          <a:lnTo>
                            <a:pt x="1502" y="2482"/>
                          </a:lnTo>
                          <a:lnTo>
                            <a:pt x="1510" y="2481"/>
                          </a:lnTo>
                          <a:lnTo>
                            <a:pt x="1518" y="2480"/>
                          </a:lnTo>
                          <a:lnTo>
                            <a:pt x="1525" y="2477"/>
                          </a:lnTo>
                          <a:lnTo>
                            <a:pt x="1531" y="2474"/>
                          </a:lnTo>
                          <a:lnTo>
                            <a:pt x="1538" y="2470"/>
                          </a:lnTo>
                          <a:lnTo>
                            <a:pt x="1544" y="2465"/>
                          </a:lnTo>
                          <a:lnTo>
                            <a:pt x="1551" y="2459"/>
                          </a:lnTo>
                          <a:lnTo>
                            <a:pt x="1551" y="2465"/>
                          </a:lnTo>
                          <a:lnTo>
                            <a:pt x="1551" y="2465"/>
                          </a:lnTo>
                          <a:lnTo>
                            <a:pt x="1551" y="2475"/>
                          </a:lnTo>
                          <a:lnTo>
                            <a:pt x="1549" y="2486"/>
                          </a:lnTo>
                          <a:lnTo>
                            <a:pt x="1546" y="2497"/>
                          </a:lnTo>
                          <a:lnTo>
                            <a:pt x="1543" y="2502"/>
                          </a:lnTo>
                          <a:lnTo>
                            <a:pt x="1541" y="2506"/>
                          </a:lnTo>
                          <a:lnTo>
                            <a:pt x="1536" y="2511"/>
                          </a:lnTo>
                          <a:lnTo>
                            <a:pt x="1531" y="2516"/>
                          </a:lnTo>
                          <a:lnTo>
                            <a:pt x="1525" y="2520"/>
                          </a:lnTo>
                          <a:lnTo>
                            <a:pt x="1518" y="2524"/>
                          </a:lnTo>
                          <a:lnTo>
                            <a:pt x="1508" y="2526"/>
                          </a:lnTo>
                          <a:lnTo>
                            <a:pt x="1498" y="2528"/>
                          </a:lnTo>
                          <a:lnTo>
                            <a:pt x="1486" y="2530"/>
                          </a:lnTo>
                          <a:lnTo>
                            <a:pt x="1472" y="2530"/>
                          </a:lnTo>
                          <a:lnTo>
                            <a:pt x="1469" y="2530"/>
                          </a:lnTo>
                          <a:lnTo>
                            <a:pt x="1491" y="2577"/>
                          </a:lnTo>
                          <a:lnTo>
                            <a:pt x="1492" y="2577"/>
                          </a:lnTo>
                          <a:lnTo>
                            <a:pt x="1492" y="2577"/>
                          </a:lnTo>
                          <a:lnTo>
                            <a:pt x="1507" y="2577"/>
                          </a:lnTo>
                          <a:lnTo>
                            <a:pt x="1520" y="2576"/>
                          </a:lnTo>
                          <a:lnTo>
                            <a:pt x="1532" y="2572"/>
                          </a:lnTo>
                          <a:lnTo>
                            <a:pt x="1544" y="2570"/>
                          </a:lnTo>
                          <a:lnTo>
                            <a:pt x="1555" y="2565"/>
                          </a:lnTo>
                          <a:lnTo>
                            <a:pt x="1565" y="2560"/>
                          </a:lnTo>
                          <a:lnTo>
                            <a:pt x="1574" y="2554"/>
                          </a:lnTo>
                          <a:lnTo>
                            <a:pt x="1581" y="2547"/>
                          </a:lnTo>
                          <a:lnTo>
                            <a:pt x="1588" y="2538"/>
                          </a:lnTo>
                          <a:lnTo>
                            <a:pt x="1594" y="2530"/>
                          </a:lnTo>
                          <a:lnTo>
                            <a:pt x="1599" y="2519"/>
                          </a:lnTo>
                          <a:lnTo>
                            <a:pt x="1603" y="2508"/>
                          </a:lnTo>
                          <a:lnTo>
                            <a:pt x="1606" y="2497"/>
                          </a:lnTo>
                          <a:lnTo>
                            <a:pt x="1609" y="2483"/>
                          </a:lnTo>
                          <a:lnTo>
                            <a:pt x="1610" y="2470"/>
                          </a:lnTo>
                          <a:lnTo>
                            <a:pt x="1610" y="2455"/>
                          </a:lnTo>
                          <a:lnTo>
                            <a:pt x="1610" y="2233"/>
                          </a:lnTo>
                          <a:lnTo>
                            <a:pt x="1551" y="2233"/>
                          </a:lnTo>
                          <a:lnTo>
                            <a:pt x="1551" y="2250"/>
                          </a:lnTo>
                          <a:close/>
                          <a:moveTo>
                            <a:pt x="1551" y="2307"/>
                          </a:moveTo>
                          <a:lnTo>
                            <a:pt x="1551" y="2403"/>
                          </a:lnTo>
                          <a:lnTo>
                            <a:pt x="1551" y="2403"/>
                          </a:lnTo>
                          <a:lnTo>
                            <a:pt x="1542" y="2412"/>
                          </a:lnTo>
                          <a:lnTo>
                            <a:pt x="1534" y="2420"/>
                          </a:lnTo>
                          <a:lnTo>
                            <a:pt x="1527" y="2423"/>
                          </a:lnTo>
                          <a:lnTo>
                            <a:pt x="1521" y="2425"/>
                          </a:lnTo>
                          <a:lnTo>
                            <a:pt x="1515" y="2426"/>
                          </a:lnTo>
                          <a:lnTo>
                            <a:pt x="1507" y="2427"/>
                          </a:lnTo>
                          <a:lnTo>
                            <a:pt x="1507" y="2427"/>
                          </a:lnTo>
                          <a:lnTo>
                            <a:pt x="1499" y="2426"/>
                          </a:lnTo>
                          <a:lnTo>
                            <a:pt x="1491" y="2424"/>
                          </a:lnTo>
                          <a:lnTo>
                            <a:pt x="1484" y="2420"/>
                          </a:lnTo>
                          <a:lnTo>
                            <a:pt x="1476" y="2413"/>
                          </a:lnTo>
                          <a:lnTo>
                            <a:pt x="1470" y="2403"/>
                          </a:lnTo>
                          <a:lnTo>
                            <a:pt x="1465" y="2390"/>
                          </a:lnTo>
                          <a:lnTo>
                            <a:pt x="1463" y="2373"/>
                          </a:lnTo>
                          <a:lnTo>
                            <a:pt x="1462" y="2351"/>
                          </a:lnTo>
                          <a:lnTo>
                            <a:pt x="1462" y="2351"/>
                          </a:lnTo>
                          <a:lnTo>
                            <a:pt x="1463" y="2333"/>
                          </a:lnTo>
                          <a:lnTo>
                            <a:pt x="1465" y="2317"/>
                          </a:lnTo>
                          <a:lnTo>
                            <a:pt x="1470" y="2305"/>
                          </a:lnTo>
                          <a:lnTo>
                            <a:pt x="1476" y="2296"/>
                          </a:lnTo>
                          <a:lnTo>
                            <a:pt x="1484" y="2290"/>
                          </a:lnTo>
                          <a:lnTo>
                            <a:pt x="1491" y="2285"/>
                          </a:lnTo>
                          <a:lnTo>
                            <a:pt x="1499" y="2284"/>
                          </a:lnTo>
                          <a:lnTo>
                            <a:pt x="1507" y="2283"/>
                          </a:lnTo>
                          <a:lnTo>
                            <a:pt x="1507" y="2283"/>
                          </a:lnTo>
                          <a:lnTo>
                            <a:pt x="1515" y="2284"/>
                          </a:lnTo>
                          <a:lnTo>
                            <a:pt x="1523" y="2285"/>
                          </a:lnTo>
                          <a:lnTo>
                            <a:pt x="1529" y="2288"/>
                          </a:lnTo>
                          <a:lnTo>
                            <a:pt x="1535" y="2291"/>
                          </a:lnTo>
                          <a:lnTo>
                            <a:pt x="1540" y="2295"/>
                          </a:lnTo>
                          <a:lnTo>
                            <a:pt x="1543" y="2299"/>
                          </a:lnTo>
                          <a:lnTo>
                            <a:pt x="1551" y="2307"/>
                          </a:lnTo>
                          <a:lnTo>
                            <a:pt x="1551" y="2307"/>
                          </a:lnTo>
                          <a:close/>
                          <a:moveTo>
                            <a:pt x="1033" y="2233"/>
                          </a:moveTo>
                          <a:lnTo>
                            <a:pt x="1094" y="2233"/>
                          </a:lnTo>
                          <a:lnTo>
                            <a:pt x="1094" y="2341"/>
                          </a:lnTo>
                          <a:lnTo>
                            <a:pt x="1094" y="2477"/>
                          </a:lnTo>
                          <a:lnTo>
                            <a:pt x="1033" y="2477"/>
                          </a:lnTo>
                          <a:lnTo>
                            <a:pt x="1033" y="2233"/>
                          </a:lnTo>
                          <a:close/>
                          <a:moveTo>
                            <a:pt x="1094" y="2167"/>
                          </a:moveTo>
                          <a:lnTo>
                            <a:pt x="1094" y="2198"/>
                          </a:lnTo>
                          <a:lnTo>
                            <a:pt x="1033" y="2198"/>
                          </a:lnTo>
                          <a:lnTo>
                            <a:pt x="1033" y="2137"/>
                          </a:lnTo>
                          <a:lnTo>
                            <a:pt x="1094" y="2137"/>
                          </a:lnTo>
                          <a:lnTo>
                            <a:pt x="1094" y="2167"/>
                          </a:lnTo>
                          <a:close/>
                          <a:moveTo>
                            <a:pt x="2542" y="2161"/>
                          </a:moveTo>
                          <a:lnTo>
                            <a:pt x="2603" y="2131"/>
                          </a:lnTo>
                          <a:lnTo>
                            <a:pt x="2603" y="2352"/>
                          </a:lnTo>
                          <a:lnTo>
                            <a:pt x="2603" y="2477"/>
                          </a:lnTo>
                          <a:lnTo>
                            <a:pt x="2542" y="2477"/>
                          </a:lnTo>
                          <a:lnTo>
                            <a:pt x="2542" y="2161"/>
                          </a:lnTo>
                          <a:close/>
                          <a:moveTo>
                            <a:pt x="437" y="834"/>
                          </a:moveTo>
                          <a:lnTo>
                            <a:pt x="936" y="834"/>
                          </a:lnTo>
                          <a:lnTo>
                            <a:pt x="936" y="544"/>
                          </a:lnTo>
                          <a:lnTo>
                            <a:pt x="437" y="544"/>
                          </a:lnTo>
                          <a:lnTo>
                            <a:pt x="437" y="317"/>
                          </a:lnTo>
                          <a:lnTo>
                            <a:pt x="989" y="317"/>
                          </a:lnTo>
                          <a:lnTo>
                            <a:pt x="806" y="0"/>
                          </a:lnTo>
                          <a:lnTo>
                            <a:pt x="24" y="0"/>
                          </a:lnTo>
                          <a:lnTo>
                            <a:pt x="24" y="1378"/>
                          </a:lnTo>
                          <a:lnTo>
                            <a:pt x="1126" y="1378"/>
                          </a:lnTo>
                          <a:lnTo>
                            <a:pt x="1126" y="1061"/>
                          </a:lnTo>
                          <a:lnTo>
                            <a:pt x="437" y="1061"/>
                          </a:lnTo>
                          <a:lnTo>
                            <a:pt x="437" y="834"/>
                          </a:lnTo>
                          <a:close/>
                          <a:moveTo>
                            <a:pt x="1860" y="0"/>
                          </a:moveTo>
                          <a:lnTo>
                            <a:pt x="1626" y="450"/>
                          </a:lnTo>
                          <a:lnTo>
                            <a:pt x="1393" y="0"/>
                          </a:lnTo>
                          <a:lnTo>
                            <a:pt x="936" y="0"/>
                          </a:lnTo>
                          <a:lnTo>
                            <a:pt x="1417" y="834"/>
                          </a:lnTo>
                          <a:lnTo>
                            <a:pt x="1417" y="1378"/>
                          </a:lnTo>
                          <a:lnTo>
                            <a:pt x="1829" y="1378"/>
                          </a:lnTo>
                          <a:lnTo>
                            <a:pt x="1829" y="834"/>
                          </a:lnTo>
                          <a:lnTo>
                            <a:pt x="2311" y="0"/>
                          </a:lnTo>
                          <a:lnTo>
                            <a:pt x="186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</p:grpSp>
              <p:sp>
                <p:nvSpPr>
                  <p:cNvPr id="134" name="Content Placeholder 5">
                    <a:extLst>
                      <a:ext uri="{FF2B5EF4-FFF2-40B4-BE49-F238E27FC236}">
                        <a16:creationId xmlns:a16="http://schemas.microsoft.com/office/drawing/2014/main" id="{04C2FC6C-56AC-49D3-970E-CF8579FB328C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4368" y="75105"/>
                    <a:ext cx="1458345" cy="152383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b="1" kern="0">
                        <a:solidFill>
                          <a:srgbClr val="FFE600"/>
                        </a:solidFill>
                        <a:latin typeface="EYInterstate Bold" panose="02000803030000020004" pitchFamily="2" charset="0"/>
                        <a:ea typeface="+mn-ea"/>
                        <a:cs typeface="+mn-cs"/>
                      </a:rPr>
                      <a:t>Context, Scope and Objectives</a:t>
                    </a:r>
                  </a:p>
                </p:txBody>
              </p:sp>
              <p:sp>
                <p:nvSpPr>
                  <p:cNvPr id="135" name="Content Placeholder 5">
                    <a:extLst>
                      <a:ext uri="{FF2B5EF4-FFF2-40B4-BE49-F238E27FC236}">
                        <a16:creationId xmlns:a16="http://schemas.microsoft.com/office/drawing/2014/main" id="{BF50FE55-33C5-4CF8-93E9-6BC3F9608065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11986" y="51130"/>
                    <a:ext cx="1206296" cy="200331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+mj-lt"/>
                      <a:buNone/>
                      <a:tabLst>
                        <a:tab pos="4876815" algn="r"/>
                      </a:tabLst>
                    </a:pPr>
                    <a:r>
                      <a:rPr lang="en-US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Key Success Factors &amp; Challenges </a:t>
                    </a:r>
                  </a:p>
                </p:txBody>
              </p:sp>
              <p:sp>
                <p:nvSpPr>
                  <p:cNvPr id="136" name="Content Placeholder 5">
                    <a:extLst>
                      <a:ext uri="{FF2B5EF4-FFF2-40B4-BE49-F238E27FC236}">
                        <a16:creationId xmlns:a16="http://schemas.microsoft.com/office/drawing/2014/main" id="{AEA28DDD-8895-437A-A1DD-EB0B64EB50B7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11169709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Appendices</a:t>
                    </a:r>
                  </a:p>
                </p:txBody>
              </p:sp>
              <p:sp>
                <p:nvSpPr>
                  <p:cNvPr id="137" name="Content Placeholder 5">
                    <a:extLst>
                      <a:ext uri="{FF2B5EF4-FFF2-40B4-BE49-F238E27FC236}">
                        <a16:creationId xmlns:a16="http://schemas.microsoft.com/office/drawing/2014/main" id="{6FBD5375-E4AE-4FE8-A69E-E63A62998364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5947426" y="83518"/>
                    <a:ext cx="1023162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Proposed</a:t>
                    </a: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 Approach</a:t>
                    </a:r>
                  </a:p>
                </p:txBody>
              </p:sp>
              <p:sp>
                <p:nvSpPr>
                  <p:cNvPr id="138" name="Content Placeholder 5">
                    <a:extLst>
                      <a:ext uri="{FF2B5EF4-FFF2-40B4-BE49-F238E27FC236}">
                        <a16:creationId xmlns:a16="http://schemas.microsoft.com/office/drawing/2014/main" id="{58A9E7EA-6893-4C27-B641-7D29FD52DC9E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7262461" y="75105"/>
                    <a:ext cx="1138227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Team &amp; </a:t>
                    </a: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Goverance</a:t>
                    </a:r>
                    <a:endParaRPr lang="fr-FR" sz="800" kern="0">
                      <a:solidFill>
                        <a:schemeClr val="bg2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Content Placeholder 5">
                    <a:extLst>
                      <a:ext uri="{FF2B5EF4-FFF2-40B4-BE49-F238E27FC236}">
                        <a16:creationId xmlns:a16="http://schemas.microsoft.com/office/drawing/2014/main" id="{3A00D06C-4BBE-446C-8D9A-DB83A3D6FCFE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4484077" y="75105"/>
                    <a:ext cx="1097554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Scope &amp; Assumptions</a:t>
                    </a:r>
                  </a:p>
                </p:txBody>
              </p:sp>
              <p:sp>
                <p:nvSpPr>
                  <p:cNvPr id="140" name="Content Placeholder 5">
                    <a:extLst>
                      <a:ext uri="{FF2B5EF4-FFF2-40B4-BE49-F238E27FC236}">
                        <a16:creationId xmlns:a16="http://schemas.microsoft.com/office/drawing/2014/main" id="{BE957455-CCA9-47CD-8140-E7DB81CCD3F1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8757114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Teams Profiles</a:t>
                    </a:r>
                  </a:p>
                </p:txBody>
              </p:sp>
              <p:sp>
                <p:nvSpPr>
                  <p:cNvPr id="141" name="Content Placeholder 5">
                    <a:extLst>
                      <a:ext uri="{FF2B5EF4-FFF2-40B4-BE49-F238E27FC236}">
                        <a16:creationId xmlns:a16="http://schemas.microsoft.com/office/drawing/2014/main" id="{FF037CD3-3316-4D00-AB40-FEC1EACC99EA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9963409" y="75105"/>
                    <a:ext cx="866515" cy="176356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Key Credentials</a:t>
                    </a:r>
                  </a:p>
                </p:txBody>
              </p:sp>
            </p:grpSp>
          </p:grpSp>
          <p:sp>
            <p:nvSpPr>
              <p:cNvPr id="130" name="Content Placeholder 5">
                <a:extLst>
                  <a:ext uri="{FF2B5EF4-FFF2-40B4-BE49-F238E27FC236}">
                    <a16:creationId xmlns:a16="http://schemas.microsoft.com/office/drawing/2014/main" id="{D25C1728-B14A-4B1B-909B-C2E0B945BBEF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1608265" y="75105"/>
                <a:ext cx="1097554" cy="135989"/>
              </a:xfrm>
              <a:prstGeom prst="rect">
                <a:avLst/>
              </a:prstGeom>
            </p:spPr>
            <p:txBody>
              <a:bodyPr anchor="ctr"/>
              <a:lstStyle>
                <a:lvl1pPr algn="l" defTabSz="995363" rtl="0" fontAlgn="base">
                  <a:lnSpc>
                    <a:spcPts val="2100"/>
                  </a:lnSpc>
                  <a:spcBef>
                    <a:spcPct val="0"/>
                  </a:spcBef>
                  <a:spcAft>
                    <a:spcPct val="40000"/>
                  </a:spcAft>
                  <a:defRPr sz="1400" b="0">
                    <a:solidFill>
                      <a:srgbClr val="646464"/>
                    </a:solidFill>
                    <a:latin typeface="+mj-lt"/>
                    <a:ea typeface="+mn-ea"/>
                    <a:cs typeface="+mn-cs"/>
                  </a:defRPr>
                </a:lvl1pPr>
                <a:lvl2pPr marL="1588" algn="l" defTabSz="995363" rtl="0"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lang="en-US" sz="1200" b="1" dirty="0" smtClean="0">
                    <a:solidFill>
                      <a:srgbClr val="646464"/>
                    </a:solidFill>
                    <a:latin typeface="+mn-lt"/>
                  </a:defRPr>
                </a:lvl2pPr>
                <a:lvl3pPr marL="3175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sz="1000">
                    <a:solidFill>
                      <a:srgbClr val="000000"/>
                    </a:solidFill>
                    <a:latin typeface="+mn-lt"/>
                  </a:defRPr>
                </a:lvl3pPr>
                <a:lvl4pPr marL="152400" indent="-147638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FFD200"/>
                  </a:buClr>
                  <a:buSzPct val="75000"/>
                  <a:buFont typeface="Arial" charset="0"/>
                  <a:buChar char="►"/>
                  <a:defRPr sz="1000">
                    <a:solidFill>
                      <a:srgbClr val="000000"/>
                    </a:solidFill>
                    <a:latin typeface="+mn-lt"/>
                  </a:defRPr>
                </a:lvl4pPr>
                <a:lvl5pPr marL="2968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5pPr>
                <a:lvl6pPr marL="7540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6pPr>
                <a:lvl7pPr marL="12112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7pPr>
                <a:lvl8pPr marL="16684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8pPr>
                <a:lvl9pPr marL="21256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lvl="2" indent="0" algn="ctr" defTabSz="8293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140000"/>
                  <a:buFont typeface="Arial" charset="0"/>
                  <a:buNone/>
                  <a:tabLst>
                    <a:tab pos="4876815" algn="r"/>
                  </a:tabLst>
                </a:pPr>
                <a:r>
                  <a:rPr lang="fr-FR" sz="800" kern="0">
                    <a:solidFill>
                      <a:schemeClr val="bg2"/>
                    </a:solidFill>
                    <a:latin typeface="EYInterstate Light" panose="02000506000000020004" pitchFamily="2" charset="0"/>
                    <a:ea typeface="+mn-ea"/>
                    <a:cs typeface="+mn-cs"/>
                  </a:rPr>
                  <a:t>Scope &amp; Assumptions</a:t>
                </a:r>
              </a:p>
            </p:txBody>
          </p: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10402C5D-ABF9-4D11-8F6B-EB8521BDA07D}"/>
                </a:ext>
              </a:extLst>
            </p:cNvPr>
            <p:cNvSpPr/>
            <p:nvPr userDrawn="1"/>
          </p:nvSpPr>
          <p:spPr>
            <a:xfrm>
              <a:off x="0" y="0"/>
              <a:ext cx="12192000" cy="350540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>
                <a:solidFill>
                  <a:schemeClr val="tx1"/>
                </a:solidFill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64C0981C-9585-4CDA-B4BD-4A06A105D207}"/>
                </a:ext>
              </a:extLst>
            </p:cNvPr>
            <p:cNvGrpSpPr/>
            <p:nvPr userDrawn="1"/>
          </p:nvGrpSpPr>
          <p:grpSpPr>
            <a:xfrm>
              <a:off x="81557" y="51129"/>
              <a:ext cx="167539" cy="200331"/>
              <a:chOff x="784680" y="68072"/>
              <a:chExt cx="167539" cy="200331"/>
            </a:xfrm>
          </p:grpSpPr>
          <p:sp>
            <p:nvSpPr>
              <p:cNvPr id="126" name="Freeform 6">
                <a:extLst>
                  <a:ext uri="{FF2B5EF4-FFF2-40B4-BE49-F238E27FC236}">
                    <a16:creationId xmlns:a16="http://schemas.microsoft.com/office/drawing/2014/main" id="{00629C6B-5CA4-4D53-A4EA-1EA6DEAE2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680" y="68072"/>
                <a:ext cx="134278" cy="50020"/>
              </a:xfrm>
              <a:custGeom>
                <a:avLst/>
                <a:gdLst>
                  <a:gd name="T0" fmla="*/ 2723 w 2723"/>
                  <a:gd name="T1" fmla="*/ 0 h 994"/>
                  <a:gd name="T2" fmla="*/ 0 w 2723"/>
                  <a:gd name="T3" fmla="*/ 994 h 994"/>
                  <a:gd name="T4" fmla="*/ 2723 w 2723"/>
                  <a:gd name="T5" fmla="*/ 513 h 994"/>
                  <a:gd name="T6" fmla="*/ 2723 w 2723"/>
                  <a:gd name="T7" fmla="*/ 0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23" h="994">
                    <a:moveTo>
                      <a:pt x="2723" y="0"/>
                    </a:moveTo>
                    <a:lnTo>
                      <a:pt x="0" y="994"/>
                    </a:lnTo>
                    <a:lnTo>
                      <a:pt x="2723" y="513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rgbClr val="F7D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sp>
            <p:nvSpPr>
              <p:cNvPr id="127" name="Freeform 7">
                <a:extLst>
                  <a:ext uri="{FF2B5EF4-FFF2-40B4-BE49-F238E27FC236}">
                    <a16:creationId xmlns:a16="http://schemas.microsoft.com/office/drawing/2014/main" id="{49A3367F-1D96-4A67-8581-1B12A03A8F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680" y="138954"/>
                <a:ext cx="167539" cy="129449"/>
              </a:xfrm>
              <a:custGeom>
                <a:avLst/>
                <a:gdLst>
                  <a:gd name="T0" fmla="*/ 256 w 3400"/>
                  <a:gd name="T1" fmla="*/ 1749 h 2577"/>
                  <a:gd name="T2" fmla="*/ 278 w 3400"/>
                  <a:gd name="T3" fmla="*/ 1978 h 2577"/>
                  <a:gd name="T4" fmla="*/ 166 w 3400"/>
                  <a:gd name="T5" fmla="*/ 1993 h 2577"/>
                  <a:gd name="T6" fmla="*/ 386 w 3400"/>
                  <a:gd name="T7" fmla="*/ 1940 h 2577"/>
                  <a:gd name="T8" fmla="*/ 458 w 3400"/>
                  <a:gd name="T9" fmla="*/ 2046 h 2577"/>
                  <a:gd name="T10" fmla="*/ 1255 w 3400"/>
                  <a:gd name="T11" fmla="*/ 1820 h 2577"/>
                  <a:gd name="T12" fmla="*/ 1339 w 3400"/>
                  <a:gd name="T13" fmla="*/ 1914 h 2577"/>
                  <a:gd name="T14" fmla="*/ 767 w 3400"/>
                  <a:gd name="T15" fmla="*/ 1703 h 2577"/>
                  <a:gd name="T16" fmla="*/ 813 w 3400"/>
                  <a:gd name="T17" fmla="*/ 1884 h 2577"/>
                  <a:gd name="T18" fmla="*/ 947 w 3400"/>
                  <a:gd name="T19" fmla="*/ 2042 h 2577"/>
                  <a:gd name="T20" fmla="*/ 916 w 3400"/>
                  <a:gd name="T21" fmla="*/ 1855 h 2577"/>
                  <a:gd name="T22" fmla="*/ 2225 w 3400"/>
                  <a:gd name="T23" fmla="*/ 2049 h 2577"/>
                  <a:gd name="T24" fmla="*/ 2376 w 3400"/>
                  <a:gd name="T25" fmla="*/ 1924 h 2577"/>
                  <a:gd name="T26" fmla="*/ 2312 w 3400"/>
                  <a:gd name="T27" fmla="*/ 1906 h 2577"/>
                  <a:gd name="T28" fmla="*/ 2267 w 3400"/>
                  <a:gd name="T29" fmla="*/ 1855 h 2577"/>
                  <a:gd name="T30" fmla="*/ 1441 w 3400"/>
                  <a:gd name="T31" fmla="*/ 1911 h 2577"/>
                  <a:gd name="T32" fmla="*/ 1591 w 3400"/>
                  <a:gd name="T33" fmla="*/ 2031 h 2577"/>
                  <a:gd name="T34" fmla="*/ 1622 w 3400"/>
                  <a:gd name="T35" fmla="*/ 2119 h 2577"/>
                  <a:gd name="T36" fmla="*/ 1507 w 3400"/>
                  <a:gd name="T37" fmla="*/ 1962 h 2577"/>
                  <a:gd name="T38" fmla="*/ 1902 w 3400"/>
                  <a:gd name="T39" fmla="*/ 1848 h 2577"/>
                  <a:gd name="T40" fmla="*/ 1797 w 3400"/>
                  <a:gd name="T41" fmla="*/ 1958 h 2577"/>
                  <a:gd name="T42" fmla="*/ 2006 w 3400"/>
                  <a:gd name="T43" fmla="*/ 1884 h 2577"/>
                  <a:gd name="T44" fmla="*/ 1857 w 3400"/>
                  <a:gd name="T45" fmla="*/ 1968 h 2577"/>
                  <a:gd name="T46" fmla="*/ 1881 w 3400"/>
                  <a:gd name="T47" fmla="*/ 2002 h 2577"/>
                  <a:gd name="T48" fmla="*/ 2467 w 3400"/>
                  <a:gd name="T49" fmla="*/ 1946 h 2577"/>
                  <a:gd name="T50" fmla="*/ 2452 w 3400"/>
                  <a:gd name="T51" fmla="*/ 1821 h 2577"/>
                  <a:gd name="T52" fmla="*/ 2521 w 3400"/>
                  <a:gd name="T53" fmla="*/ 2055 h 2577"/>
                  <a:gd name="T54" fmla="*/ 2555 w 3400"/>
                  <a:gd name="T55" fmla="*/ 1883 h 2577"/>
                  <a:gd name="T56" fmla="*/ 3202 w 3400"/>
                  <a:gd name="T57" fmla="*/ 1928 h 2577"/>
                  <a:gd name="T58" fmla="*/ 3006 w 3400"/>
                  <a:gd name="T59" fmla="*/ 1854 h 2577"/>
                  <a:gd name="T60" fmla="*/ 3140 w 3400"/>
                  <a:gd name="T61" fmla="*/ 2049 h 2577"/>
                  <a:gd name="T62" fmla="*/ 2905 w 3400"/>
                  <a:gd name="T63" fmla="*/ 1964 h 2577"/>
                  <a:gd name="T64" fmla="*/ 2868 w 3400"/>
                  <a:gd name="T65" fmla="*/ 2041 h 2577"/>
                  <a:gd name="T66" fmla="*/ 2713 w 3400"/>
                  <a:gd name="T67" fmla="*/ 2051 h 2577"/>
                  <a:gd name="T68" fmla="*/ 2747 w 3400"/>
                  <a:gd name="T69" fmla="*/ 1996 h 2577"/>
                  <a:gd name="T70" fmla="*/ 3300 w 3400"/>
                  <a:gd name="T71" fmla="*/ 1805 h 2577"/>
                  <a:gd name="T72" fmla="*/ 1073 w 3400"/>
                  <a:gd name="T73" fmla="*/ 2049 h 2577"/>
                  <a:gd name="T74" fmla="*/ 2660 w 3400"/>
                  <a:gd name="T75" fmla="*/ 2279 h 2577"/>
                  <a:gd name="T76" fmla="*/ 2763 w 3400"/>
                  <a:gd name="T77" fmla="*/ 2480 h 2577"/>
                  <a:gd name="T78" fmla="*/ 2737 w 3400"/>
                  <a:gd name="T79" fmla="*/ 2285 h 2577"/>
                  <a:gd name="T80" fmla="*/ 690 w 3400"/>
                  <a:gd name="T81" fmla="*/ 2289 h 2577"/>
                  <a:gd name="T82" fmla="*/ 740 w 3400"/>
                  <a:gd name="T83" fmla="*/ 2301 h 2577"/>
                  <a:gd name="T84" fmla="*/ 222 w 3400"/>
                  <a:gd name="T85" fmla="*/ 2352 h 2577"/>
                  <a:gd name="T86" fmla="*/ 341 w 3400"/>
                  <a:gd name="T87" fmla="*/ 2395 h 2577"/>
                  <a:gd name="T88" fmla="*/ 554 w 3400"/>
                  <a:gd name="T89" fmla="*/ 2395 h 2577"/>
                  <a:gd name="T90" fmla="*/ 412 w 3400"/>
                  <a:gd name="T91" fmla="*/ 2407 h 2577"/>
                  <a:gd name="T92" fmla="*/ 484 w 3400"/>
                  <a:gd name="T93" fmla="*/ 2407 h 2577"/>
                  <a:gd name="T94" fmla="*/ 2419 w 3400"/>
                  <a:gd name="T95" fmla="*/ 2248 h 2577"/>
                  <a:gd name="T96" fmla="*/ 1758 w 3400"/>
                  <a:gd name="T97" fmla="*/ 2233 h 2577"/>
                  <a:gd name="T98" fmla="*/ 2133 w 3400"/>
                  <a:gd name="T99" fmla="*/ 2255 h 2577"/>
                  <a:gd name="T100" fmla="*/ 2204 w 3400"/>
                  <a:gd name="T101" fmla="*/ 2483 h 2577"/>
                  <a:gd name="T102" fmla="*/ 2269 w 3400"/>
                  <a:gd name="T103" fmla="*/ 2249 h 2577"/>
                  <a:gd name="T104" fmla="*/ 2204 w 3400"/>
                  <a:gd name="T105" fmla="*/ 2284 h 2577"/>
                  <a:gd name="T106" fmla="*/ 845 w 3400"/>
                  <a:gd name="T107" fmla="*/ 2131 h 2577"/>
                  <a:gd name="T108" fmla="*/ 1323 w 3400"/>
                  <a:gd name="T109" fmla="*/ 2244 h 2577"/>
                  <a:gd name="T110" fmla="*/ 1220 w 3400"/>
                  <a:gd name="T111" fmla="*/ 2299 h 2577"/>
                  <a:gd name="T112" fmla="*/ 1410 w 3400"/>
                  <a:gd name="T113" fmla="*/ 2289 h 2577"/>
                  <a:gd name="T114" fmla="*/ 1525 w 3400"/>
                  <a:gd name="T115" fmla="*/ 2477 h 2577"/>
                  <a:gd name="T116" fmla="*/ 1544 w 3400"/>
                  <a:gd name="T117" fmla="*/ 2570 h 2577"/>
                  <a:gd name="T118" fmla="*/ 1491 w 3400"/>
                  <a:gd name="T119" fmla="*/ 2424 h 2577"/>
                  <a:gd name="T120" fmla="*/ 1094 w 3400"/>
                  <a:gd name="T121" fmla="*/ 2341 h 2577"/>
                  <a:gd name="T122" fmla="*/ 437 w 3400"/>
                  <a:gd name="T123" fmla="*/ 1061 h 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00" h="2577">
                    <a:moveTo>
                      <a:pt x="283" y="1942"/>
                    </a:moveTo>
                    <a:lnTo>
                      <a:pt x="283" y="1942"/>
                    </a:lnTo>
                    <a:lnTo>
                      <a:pt x="283" y="1934"/>
                    </a:lnTo>
                    <a:lnTo>
                      <a:pt x="282" y="1927"/>
                    </a:lnTo>
                    <a:lnTo>
                      <a:pt x="278" y="1912"/>
                    </a:lnTo>
                    <a:lnTo>
                      <a:pt x="272" y="1900"/>
                    </a:lnTo>
                    <a:lnTo>
                      <a:pt x="265" y="1890"/>
                    </a:lnTo>
                    <a:lnTo>
                      <a:pt x="256" y="1883"/>
                    </a:lnTo>
                    <a:lnTo>
                      <a:pt x="248" y="1877"/>
                    </a:lnTo>
                    <a:lnTo>
                      <a:pt x="241" y="1872"/>
                    </a:lnTo>
                    <a:lnTo>
                      <a:pt x="233" y="1868"/>
                    </a:lnTo>
                    <a:lnTo>
                      <a:pt x="233" y="1868"/>
                    </a:lnTo>
                    <a:lnTo>
                      <a:pt x="242" y="1862"/>
                    </a:lnTo>
                    <a:lnTo>
                      <a:pt x="249" y="1856"/>
                    </a:lnTo>
                    <a:lnTo>
                      <a:pt x="255" y="1849"/>
                    </a:lnTo>
                    <a:lnTo>
                      <a:pt x="261" y="1840"/>
                    </a:lnTo>
                    <a:lnTo>
                      <a:pt x="266" y="1832"/>
                    </a:lnTo>
                    <a:lnTo>
                      <a:pt x="269" y="1822"/>
                    </a:lnTo>
                    <a:lnTo>
                      <a:pt x="271" y="1812"/>
                    </a:lnTo>
                    <a:lnTo>
                      <a:pt x="271" y="1801"/>
                    </a:lnTo>
                    <a:lnTo>
                      <a:pt x="271" y="1801"/>
                    </a:lnTo>
                    <a:lnTo>
                      <a:pt x="271" y="1792"/>
                    </a:lnTo>
                    <a:lnTo>
                      <a:pt x="270" y="1782"/>
                    </a:lnTo>
                    <a:lnTo>
                      <a:pt x="267" y="1773"/>
                    </a:lnTo>
                    <a:lnTo>
                      <a:pt x="265" y="1765"/>
                    </a:lnTo>
                    <a:lnTo>
                      <a:pt x="261" y="1756"/>
                    </a:lnTo>
                    <a:lnTo>
                      <a:pt x="256" y="1749"/>
                    </a:lnTo>
                    <a:lnTo>
                      <a:pt x="250" y="1743"/>
                    </a:lnTo>
                    <a:lnTo>
                      <a:pt x="244" y="1737"/>
                    </a:lnTo>
                    <a:lnTo>
                      <a:pt x="237" y="1732"/>
                    </a:lnTo>
                    <a:lnTo>
                      <a:pt x="230" y="1727"/>
                    </a:lnTo>
                    <a:lnTo>
                      <a:pt x="221" y="1724"/>
                    </a:lnTo>
                    <a:lnTo>
                      <a:pt x="211" y="1720"/>
                    </a:lnTo>
                    <a:lnTo>
                      <a:pt x="202" y="1718"/>
                    </a:lnTo>
                    <a:lnTo>
                      <a:pt x="191" y="1715"/>
                    </a:lnTo>
                    <a:lnTo>
                      <a:pt x="180" y="1715"/>
                    </a:lnTo>
                    <a:lnTo>
                      <a:pt x="168" y="1714"/>
                    </a:lnTo>
                    <a:lnTo>
                      <a:pt x="24" y="1714"/>
                    </a:lnTo>
                    <a:lnTo>
                      <a:pt x="24" y="2049"/>
                    </a:lnTo>
                    <a:lnTo>
                      <a:pt x="166" y="2049"/>
                    </a:lnTo>
                    <a:lnTo>
                      <a:pt x="166" y="2049"/>
                    </a:lnTo>
                    <a:lnTo>
                      <a:pt x="180" y="2049"/>
                    </a:lnTo>
                    <a:lnTo>
                      <a:pt x="192" y="2048"/>
                    </a:lnTo>
                    <a:lnTo>
                      <a:pt x="204" y="2046"/>
                    </a:lnTo>
                    <a:lnTo>
                      <a:pt x="215" y="2042"/>
                    </a:lnTo>
                    <a:lnTo>
                      <a:pt x="226" y="2038"/>
                    </a:lnTo>
                    <a:lnTo>
                      <a:pt x="236" y="2034"/>
                    </a:lnTo>
                    <a:lnTo>
                      <a:pt x="244" y="2028"/>
                    </a:lnTo>
                    <a:lnTo>
                      <a:pt x="252" y="2021"/>
                    </a:lnTo>
                    <a:lnTo>
                      <a:pt x="259" y="2014"/>
                    </a:lnTo>
                    <a:lnTo>
                      <a:pt x="265" y="2006"/>
                    </a:lnTo>
                    <a:lnTo>
                      <a:pt x="271" y="1997"/>
                    </a:lnTo>
                    <a:lnTo>
                      <a:pt x="275" y="1987"/>
                    </a:lnTo>
                    <a:lnTo>
                      <a:pt x="278" y="1978"/>
                    </a:lnTo>
                    <a:lnTo>
                      <a:pt x="281" y="1967"/>
                    </a:lnTo>
                    <a:lnTo>
                      <a:pt x="282" y="1955"/>
                    </a:lnTo>
                    <a:lnTo>
                      <a:pt x="283" y="1942"/>
                    </a:lnTo>
                    <a:lnTo>
                      <a:pt x="283" y="1942"/>
                    </a:lnTo>
                    <a:close/>
                    <a:moveTo>
                      <a:pt x="166" y="1993"/>
                    </a:moveTo>
                    <a:lnTo>
                      <a:pt x="86" y="1993"/>
                    </a:lnTo>
                    <a:lnTo>
                      <a:pt x="86" y="1897"/>
                    </a:lnTo>
                    <a:lnTo>
                      <a:pt x="166" y="1897"/>
                    </a:lnTo>
                    <a:lnTo>
                      <a:pt x="166" y="1897"/>
                    </a:lnTo>
                    <a:lnTo>
                      <a:pt x="179" y="1899"/>
                    </a:lnTo>
                    <a:lnTo>
                      <a:pt x="188" y="1900"/>
                    </a:lnTo>
                    <a:lnTo>
                      <a:pt x="197" y="1904"/>
                    </a:lnTo>
                    <a:lnTo>
                      <a:pt x="204" y="1910"/>
                    </a:lnTo>
                    <a:lnTo>
                      <a:pt x="210" y="1916"/>
                    </a:lnTo>
                    <a:lnTo>
                      <a:pt x="214" y="1924"/>
                    </a:lnTo>
                    <a:lnTo>
                      <a:pt x="216" y="1934"/>
                    </a:lnTo>
                    <a:lnTo>
                      <a:pt x="218" y="1945"/>
                    </a:lnTo>
                    <a:lnTo>
                      <a:pt x="218" y="1945"/>
                    </a:lnTo>
                    <a:lnTo>
                      <a:pt x="216" y="1956"/>
                    </a:lnTo>
                    <a:lnTo>
                      <a:pt x="214" y="1966"/>
                    </a:lnTo>
                    <a:lnTo>
                      <a:pt x="209" y="1974"/>
                    </a:lnTo>
                    <a:lnTo>
                      <a:pt x="204" y="1980"/>
                    </a:lnTo>
                    <a:lnTo>
                      <a:pt x="197" y="1986"/>
                    </a:lnTo>
                    <a:lnTo>
                      <a:pt x="188" y="1990"/>
                    </a:lnTo>
                    <a:lnTo>
                      <a:pt x="177" y="1992"/>
                    </a:lnTo>
                    <a:lnTo>
                      <a:pt x="166" y="1993"/>
                    </a:lnTo>
                    <a:lnTo>
                      <a:pt x="166" y="1993"/>
                    </a:lnTo>
                    <a:close/>
                    <a:moveTo>
                      <a:pt x="165" y="1843"/>
                    </a:moveTo>
                    <a:lnTo>
                      <a:pt x="86" y="1843"/>
                    </a:lnTo>
                    <a:lnTo>
                      <a:pt x="86" y="1771"/>
                    </a:lnTo>
                    <a:lnTo>
                      <a:pt x="163" y="1771"/>
                    </a:lnTo>
                    <a:lnTo>
                      <a:pt x="163" y="1771"/>
                    </a:lnTo>
                    <a:lnTo>
                      <a:pt x="173" y="1772"/>
                    </a:lnTo>
                    <a:lnTo>
                      <a:pt x="182" y="1773"/>
                    </a:lnTo>
                    <a:lnTo>
                      <a:pt x="190" y="1776"/>
                    </a:lnTo>
                    <a:lnTo>
                      <a:pt x="196" y="1780"/>
                    </a:lnTo>
                    <a:lnTo>
                      <a:pt x="201" y="1786"/>
                    </a:lnTo>
                    <a:lnTo>
                      <a:pt x="204" y="1792"/>
                    </a:lnTo>
                    <a:lnTo>
                      <a:pt x="205" y="1799"/>
                    </a:lnTo>
                    <a:lnTo>
                      <a:pt x="207" y="1807"/>
                    </a:lnTo>
                    <a:lnTo>
                      <a:pt x="207" y="1807"/>
                    </a:lnTo>
                    <a:lnTo>
                      <a:pt x="207" y="1814"/>
                    </a:lnTo>
                    <a:lnTo>
                      <a:pt x="205" y="1820"/>
                    </a:lnTo>
                    <a:lnTo>
                      <a:pt x="203" y="1826"/>
                    </a:lnTo>
                    <a:lnTo>
                      <a:pt x="199" y="1831"/>
                    </a:lnTo>
                    <a:lnTo>
                      <a:pt x="193" y="1835"/>
                    </a:lnTo>
                    <a:lnTo>
                      <a:pt x="186" y="1839"/>
                    </a:lnTo>
                    <a:lnTo>
                      <a:pt x="177" y="1842"/>
                    </a:lnTo>
                    <a:lnTo>
                      <a:pt x="165" y="1843"/>
                    </a:lnTo>
                    <a:lnTo>
                      <a:pt x="165" y="1843"/>
                    </a:lnTo>
                    <a:close/>
                    <a:moveTo>
                      <a:pt x="326" y="1944"/>
                    </a:moveTo>
                    <a:lnTo>
                      <a:pt x="326" y="1805"/>
                    </a:lnTo>
                    <a:lnTo>
                      <a:pt x="386" y="1805"/>
                    </a:lnTo>
                    <a:lnTo>
                      <a:pt x="386" y="1940"/>
                    </a:lnTo>
                    <a:lnTo>
                      <a:pt x="386" y="1940"/>
                    </a:lnTo>
                    <a:lnTo>
                      <a:pt x="386" y="1953"/>
                    </a:lnTo>
                    <a:lnTo>
                      <a:pt x="389" y="1967"/>
                    </a:lnTo>
                    <a:lnTo>
                      <a:pt x="392" y="1976"/>
                    </a:lnTo>
                    <a:lnTo>
                      <a:pt x="397" y="1985"/>
                    </a:lnTo>
                    <a:lnTo>
                      <a:pt x="403" y="1991"/>
                    </a:lnTo>
                    <a:lnTo>
                      <a:pt x="411" y="1996"/>
                    </a:lnTo>
                    <a:lnTo>
                      <a:pt x="420" y="1998"/>
                    </a:lnTo>
                    <a:lnTo>
                      <a:pt x="431" y="2000"/>
                    </a:lnTo>
                    <a:lnTo>
                      <a:pt x="431" y="2000"/>
                    </a:lnTo>
                    <a:lnTo>
                      <a:pt x="442" y="1998"/>
                    </a:lnTo>
                    <a:lnTo>
                      <a:pt x="451" y="1996"/>
                    </a:lnTo>
                    <a:lnTo>
                      <a:pt x="459" y="1991"/>
                    </a:lnTo>
                    <a:lnTo>
                      <a:pt x="465" y="1985"/>
                    </a:lnTo>
                    <a:lnTo>
                      <a:pt x="470" y="1976"/>
                    </a:lnTo>
                    <a:lnTo>
                      <a:pt x="474" y="1966"/>
                    </a:lnTo>
                    <a:lnTo>
                      <a:pt x="476" y="1953"/>
                    </a:lnTo>
                    <a:lnTo>
                      <a:pt x="476" y="1940"/>
                    </a:lnTo>
                    <a:lnTo>
                      <a:pt x="476" y="1805"/>
                    </a:lnTo>
                    <a:lnTo>
                      <a:pt x="537" y="1805"/>
                    </a:lnTo>
                    <a:lnTo>
                      <a:pt x="537" y="2049"/>
                    </a:lnTo>
                    <a:lnTo>
                      <a:pt x="476" y="2049"/>
                    </a:lnTo>
                    <a:lnTo>
                      <a:pt x="476" y="2030"/>
                    </a:lnTo>
                    <a:lnTo>
                      <a:pt x="476" y="2030"/>
                    </a:lnTo>
                    <a:lnTo>
                      <a:pt x="471" y="2036"/>
                    </a:lnTo>
                    <a:lnTo>
                      <a:pt x="464" y="2041"/>
                    </a:lnTo>
                    <a:lnTo>
                      <a:pt x="458" y="2046"/>
                    </a:lnTo>
                    <a:lnTo>
                      <a:pt x="451" y="2048"/>
                    </a:lnTo>
                    <a:lnTo>
                      <a:pt x="444" y="2052"/>
                    </a:lnTo>
                    <a:lnTo>
                      <a:pt x="435" y="2053"/>
                    </a:lnTo>
                    <a:lnTo>
                      <a:pt x="427" y="2054"/>
                    </a:lnTo>
                    <a:lnTo>
                      <a:pt x="418" y="2055"/>
                    </a:lnTo>
                    <a:lnTo>
                      <a:pt x="418" y="2055"/>
                    </a:lnTo>
                    <a:lnTo>
                      <a:pt x="403" y="2054"/>
                    </a:lnTo>
                    <a:lnTo>
                      <a:pt x="391" y="2052"/>
                    </a:lnTo>
                    <a:lnTo>
                      <a:pt x="380" y="2048"/>
                    </a:lnTo>
                    <a:lnTo>
                      <a:pt x="369" y="2043"/>
                    </a:lnTo>
                    <a:lnTo>
                      <a:pt x="361" y="2037"/>
                    </a:lnTo>
                    <a:lnTo>
                      <a:pt x="354" y="2031"/>
                    </a:lnTo>
                    <a:lnTo>
                      <a:pt x="348" y="2023"/>
                    </a:lnTo>
                    <a:lnTo>
                      <a:pt x="341" y="2014"/>
                    </a:lnTo>
                    <a:lnTo>
                      <a:pt x="338" y="2006"/>
                    </a:lnTo>
                    <a:lnTo>
                      <a:pt x="334" y="1997"/>
                    </a:lnTo>
                    <a:lnTo>
                      <a:pt x="329" y="1978"/>
                    </a:lnTo>
                    <a:lnTo>
                      <a:pt x="327" y="1959"/>
                    </a:lnTo>
                    <a:lnTo>
                      <a:pt x="326" y="1944"/>
                    </a:lnTo>
                    <a:lnTo>
                      <a:pt x="326" y="1944"/>
                    </a:lnTo>
                    <a:close/>
                    <a:moveTo>
                      <a:pt x="1249" y="2049"/>
                    </a:moveTo>
                    <a:lnTo>
                      <a:pt x="1188" y="2049"/>
                    </a:lnTo>
                    <a:lnTo>
                      <a:pt x="1188" y="1805"/>
                    </a:lnTo>
                    <a:lnTo>
                      <a:pt x="1249" y="1805"/>
                    </a:lnTo>
                    <a:lnTo>
                      <a:pt x="1249" y="1826"/>
                    </a:lnTo>
                    <a:lnTo>
                      <a:pt x="1249" y="1826"/>
                    </a:lnTo>
                    <a:lnTo>
                      <a:pt x="1255" y="1820"/>
                    </a:lnTo>
                    <a:lnTo>
                      <a:pt x="1261" y="1814"/>
                    </a:lnTo>
                    <a:lnTo>
                      <a:pt x="1269" y="1810"/>
                    </a:lnTo>
                    <a:lnTo>
                      <a:pt x="1276" y="1806"/>
                    </a:lnTo>
                    <a:lnTo>
                      <a:pt x="1284" y="1803"/>
                    </a:lnTo>
                    <a:lnTo>
                      <a:pt x="1292" y="1801"/>
                    </a:lnTo>
                    <a:lnTo>
                      <a:pt x="1301" y="1800"/>
                    </a:lnTo>
                    <a:lnTo>
                      <a:pt x="1310" y="1799"/>
                    </a:lnTo>
                    <a:lnTo>
                      <a:pt x="1310" y="1799"/>
                    </a:lnTo>
                    <a:lnTo>
                      <a:pt x="1321" y="1800"/>
                    </a:lnTo>
                    <a:lnTo>
                      <a:pt x="1331" y="1801"/>
                    </a:lnTo>
                    <a:lnTo>
                      <a:pt x="1340" y="1804"/>
                    </a:lnTo>
                    <a:lnTo>
                      <a:pt x="1349" y="1806"/>
                    </a:lnTo>
                    <a:lnTo>
                      <a:pt x="1357" y="1810"/>
                    </a:lnTo>
                    <a:lnTo>
                      <a:pt x="1365" y="1816"/>
                    </a:lnTo>
                    <a:lnTo>
                      <a:pt x="1371" y="1821"/>
                    </a:lnTo>
                    <a:lnTo>
                      <a:pt x="1377" y="1828"/>
                    </a:lnTo>
                    <a:lnTo>
                      <a:pt x="1383" y="1835"/>
                    </a:lnTo>
                    <a:lnTo>
                      <a:pt x="1386" y="1844"/>
                    </a:lnTo>
                    <a:lnTo>
                      <a:pt x="1391" y="1852"/>
                    </a:lnTo>
                    <a:lnTo>
                      <a:pt x="1394" y="1862"/>
                    </a:lnTo>
                    <a:lnTo>
                      <a:pt x="1396" y="1873"/>
                    </a:lnTo>
                    <a:lnTo>
                      <a:pt x="1399" y="1885"/>
                    </a:lnTo>
                    <a:lnTo>
                      <a:pt x="1400" y="1897"/>
                    </a:lnTo>
                    <a:lnTo>
                      <a:pt x="1400" y="1911"/>
                    </a:lnTo>
                    <a:lnTo>
                      <a:pt x="1400" y="2049"/>
                    </a:lnTo>
                    <a:lnTo>
                      <a:pt x="1339" y="2049"/>
                    </a:lnTo>
                    <a:lnTo>
                      <a:pt x="1339" y="1914"/>
                    </a:lnTo>
                    <a:lnTo>
                      <a:pt x="1339" y="1914"/>
                    </a:lnTo>
                    <a:lnTo>
                      <a:pt x="1339" y="1900"/>
                    </a:lnTo>
                    <a:lnTo>
                      <a:pt x="1337" y="1888"/>
                    </a:lnTo>
                    <a:lnTo>
                      <a:pt x="1333" y="1878"/>
                    </a:lnTo>
                    <a:lnTo>
                      <a:pt x="1328" y="1869"/>
                    </a:lnTo>
                    <a:lnTo>
                      <a:pt x="1322" y="1863"/>
                    </a:lnTo>
                    <a:lnTo>
                      <a:pt x="1315" y="1859"/>
                    </a:lnTo>
                    <a:lnTo>
                      <a:pt x="1306" y="1856"/>
                    </a:lnTo>
                    <a:lnTo>
                      <a:pt x="1295" y="1855"/>
                    </a:lnTo>
                    <a:lnTo>
                      <a:pt x="1295" y="1855"/>
                    </a:lnTo>
                    <a:lnTo>
                      <a:pt x="1284" y="1856"/>
                    </a:lnTo>
                    <a:lnTo>
                      <a:pt x="1275" y="1859"/>
                    </a:lnTo>
                    <a:lnTo>
                      <a:pt x="1267" y="1863"/>
                    </a:lnTo>
                    <a:lnTo>
                      <a:pt x="1261" y="1869"/>
                    </a:lnTo>
                    <a:lnTo>
                      <a:pt x="1255" y="1878"/>
                    </a:lnTo>
                    <a:lnTo>
                      <a:pt x="1252" y="1889"/>
                    </a:lnTo>
                    <a:lnTo>
                      <a:pt x="1249" y="1901"/>
                    </a:lnTo>
                    <a:lnTo>
                      <a:pt x="1249" y="1914"/>
                    </a:lnTo>
                    <a:lnTo>
                      <a:pt x="1249" y="2049"/>
                    </a:lnTo>
                    <a:close/>
                    <a:moveTo>
                      <a:pt x="653" y="1927"/>
                    </a:moveTo>
                    <a:lnTo>
                      <a:pt x="653" y="2049"/>
                    </a:lnTo>
                    <a:lnTo>
                      <a:pt x="592" y="2049"/>
                    </a:lnTo>
                    <a:lnTo>
                      <a:pt x="592" y="1805"/>
                    </a:lnTo>
                    <a:lnTo>
                      <a:pt x="653" y="1805"/>
                    </a:lnTo>
                    <a:lnTo>
                      <a:pt x="653" y="1927"/>
                    </a:lnTo>
                    <a:close/>
                    <a:moveTo>
                      <a:pt x="706" y="1733"/>
                    </a:moveTo>
                    <a:lnTo>
                      <a:pt x="767" y="1703"/>
                    </a:lnTo>
                    <a:lnTo>
                      <a:pt x="767" y="1924"/>
                    </a:lnTo>
                    <a:lnTo>
                      <a:pt x="767" y="2049"/>
                    </a:lnTo>
                    <a:lnTo>
                      <a:pt x="706" y="2049"/>
                    </a:lnTo>
                    <a:lnTo>
                      <a:pt x="706" y="1733"/>
                    </a:lnTo>
                    <a:close/>
                    <a:moveTo>
                      <a:pt x="959" y="1822"/>
                    </a:moveTo>
                    <a:lnTo>
                      <a:pt x="959" y="1822"/>
                    </a:lnTo>
                    <a:lnTo>
                      <a:pt x="954" y="1816"/>
                    </a:lnTo>
                    <a:lnTo>
                      <a:pt x="948" y="1812"/>
                    </a:lnTo>
                    <a:lnTo>
                      <a:pt x="941" y="1807"/>
                    </a:lnTo>
                    <a:lnTo>
                      <a:pt x="934" y="1805"/>
                    </a:lnTo>
                    <a:lnTo>
                      <a:pt x="927" y="1803"/>
                    </a:lnTo>
                    <a:lnTo>
                      <a:pt x="920" y="1800"/>
                    </a:lnTo>
                    <a:lnTo>
                      <a:pt x="905" y="1799"/>
                    </a:lnTo>
                    <a:lnTo>
                      <a:pt x="905" y="1799"/>
                    </a:lnTo>
                    <a:lnTo>
                      <a:pt x="894" y="1800"/>
                    </a:lnTo>
                    <a:lnTo>
                      <a:pt x="883" y="1801"/>
                    </a:lnTo>
                    <a:lnTo>
                      <a:pt x="874" y="1804"/>
                    </a:lnTo>
                    <a:lnTo>
                      <a:pt x="865" y="1807"/>
                    </a:lnTo>
                    <a:lnTo>
                      <a:pt x="857" y="1812"/>
                    </a:lnTo>
                    <a:lnTo>
                      <a:pt x="848" y="1818"/>
                    </a:lnTo>
                    <a:lnTo>
                      <a:pt x="841" y="1826"/>
                    </a:lnTo>
                    <a:lnTo>
                      <a:pt x="835" y="1833"/>
                    </a:lnTo>
                    <a:lnTo>
                      <a:pt x="829" y="1842"/>
                    </a:lnTo>
                    <a:lnTo>
                      <a:pt x="824" y="1851"/>
                    </a:lnTo>
                    <a:lnTo>
                      <a:pt x="819" y="1861"/>
                    </a:lnTo>
                    <a:lnTo>
                      <a:pt x="815" y="1872"/>
                    </a:lnTo>
                    <a:lnTo>
                      <a:pt x="813" y="1884"/>
                    </a:lnTo>
                    <a:lnTo>
                      <a:pt x="811" y="1897"/>
                    </a:lnTo>
                    <a:lnTo>
                      <a:pt x="809" y="1911"/>
                    </a:lnTo>
                    <a:lnTo>
                      <a:pt x="809" y="1924"/>
                    </a:lnTo>
                    <a:lnTo>
                      <a:pt x="809" y="1924"/>
                    </a:lnTo>
                    <a:lnTo>
                      <a:pt x="809" y="1940"/>
                    </a:lnTo>
                    <a:lnTo>
                      <a:pt x="811" y="1953"/>
                    </a:lnTo>
                    <a:lnTo>
                      <a:pt x="813" y="1967"/>
                    </a:lnTo>
                    <a:lnTo>
                      <a:pt x="815" y="1979"/>
                    </a:lnTo>
                    <a:lnTo>
                      <a:pt x="819" y="1991"/>
                    </a:lnTo>
                    <a:lnTo>
                      <a:pt x="823" y="2002"/>
                    </a:lnTo>
                    <a:lnTo>
                      <a:pt x="828" y="2012"/>
                    </a:lnTo>
                    <a:lnTo>
                      <a:pt x="834" y="2020"/>
                    </a:lnTo>
                    <a:lnTo>
                      <a:pt x="841" y="2029"/>
                    </a:lnTo>
                    <a:lnTo>
                      <a:pt x="847" y="2035"/>
                    </a:lnTo>
                    <a:lnTo>
                      <a:pt x="855" y="2041"/>
                    </a:lnTo>
                    <a:lnTo>
                      <a:pt x="864" y="2046"/>
                    </a:lnTo>
                    <a:lnTo>
                      <a:pt x="872" y="2049"/>
                    </a:lnTo>
                    <a:lnTo>
                      <a:pt x="882" y="2053"/>
                    </a:lnTo>
                    <a:lnTo>
                      <a:pt x="893" y="2054"/>
                    </a:lnTo>
                    <a:lnTo>
                      <a:pt x="904" y="2055"/>
                    </a:lnTo>
                    <a:lnTo>
                      <a:pt x="904" y="2055"/>
                    </a:lnTo>
                    <a:lnTo>
                      <a:pt x="911" y="2054"/>
                    </a:lnTo>
                    <a:lnTo>
                      <a:pt x="919" y="2053"/>
                    </a:lnTo>
                    <a:lnTo>
                      <a:pt x="926" y="2052"/>
                    </a:lnTo>
                    <a:lnTo>
                      <a:pt x="933" y="2049"/>
                    </a:lnTo>
                    <a:lnTo>
                      <a:pt x="939" y="2046"/>
                    </a:lnTo>
                    <a:lnTo>
                      <a:pt x="947" y="2042"/>
                    </a:lnTo>
                    <a:lnTo>
                      <a:pt x="953" y="2037"/>
                    </a:lnTo>
                    <a:lnTo>
                      <a:pt x="959" y="2031"/>
                    </a:lnTo>
                    <a:lnTo>
                      <a:pt x="959" y="2049"/>
                    </a:lnTo>
                    <a:lnTo>
                      <a:pt x="1020" y="2049"/>
                    </a:lnTo>
                    <a:lnTo>
                      <a:pt x="1020" y="1703"/>
                    </a:lnTo>
                    <a:lnTo>
                      <a:pt x="959" y="1733"/>
                    </a:lnTo>
                    <a:lnTo>
                      <a:pt x="959" y="1822"/>
                    </a:lnTo>
                    <a:close/>
                    <a:moveTo>
                      <a:pt x="916" y="2000"/>
                    </a:moveTo>
                    <a:lnTo>
                      <a:pt x="916" y="2000"/>
                    </a:lnTo>
                    <a:lnTo>
                      <a:pt x="909" y="1998"/>
                    </a:lnTo>
                    <a:lnTo>
                      <a:pt x="900" y="1996"/>
                    </a:lnTo>
                    <a:lnTo>
                      <a:pt x="893" y="1992"/>
                    </a:lnTo>
                    <a:lnTo>
                      <a:pt x="886" y="1985"/>
                    </a:lnTo>
                    <a:lnTo>
                      <a:pt x="880" y="1975"/>
                    </a:lnTo>
                    <a:lnTo>
                      <a:pt x="875" y="1962"/>
                    </a:lnTo>
                    <a:lnTo>
                      <a:pt x="871" y="1945"/>
                    </a:lnTo>
                    <a:lnTo>
                      <a:pt x="870" y="1923"/>
                    </a:lnTo>
                    <a:lnTo>
                      <a:pt x="870" y="1923"/>
                    </a:lnTo>
                    <a:lnTo>
                      <a:pt x="871" y="1904"/>
                    </a:lnTo>
                    <a:lnTo>
                      <a:pt x="875" y="1889"/>
                    </a:lnTo>
                    <a:lnTo>
                      <a:pt x="880" y="1877"/>
                    </a:lnTo>
                    <a:lnTo>
                      <a:pt x="886" y="1868"/>
                    </a:lnTo>
                    <a:lnTo>
                      <a:pt x="892" y="1861"/>
                    </a:lnTo>
                    <a:lnTo>
                      <a:pt x="900" y="1857"/>
                    </a:lnTo>
                    <a:lnTo>
                      <a:pt x="908" y="1855"/>
                    </a:lnTo>
                    <a:lnTo>
                      <a:pt x="916" y="1855"/>
                    </a:lnTo>
                    <a:lnTo>
                      <a:pt x="916" y="1855"/>
                    </a:lnTo>
                    <a:lnTo>
                      <a:pt x="924" y="1855"/>
                    </a:lnTo>
                    <a:lnTo>
                      <a:pt x="931" y="1857"/>
                    </a:lnTo>
                    <a:lnTo>
                      <a:pt x="938" y="1860"/>
                    </a:lnTo>
                    <a:lnTo>
                      <a:pt x="943" y="1863"/>
                    </a:lnTo>
                    <a:lnTo>
                      <a:pt x="948" y="1867"/>
                    </a:lnTo>
                    <a:lnTo>
                      <a:pt x="953" y="1871"/>
                    </a:lnTo>
                    <a:lnTo>
                      <a:pt x="959" y="1879"/>
                    </a:lnTo>
                    <a:lnTo>
                      <a:pt x="959" y="1975"/>
                    </a:lnTo>
                    <a:lnTo>
                      <a:pt x="959" y="1975"/>
                    </a:lnTo>
                    <a:lnTo>
                      <a:pt x="951" y="1984"/>
                    </a:lnTo>
                    <a:lnTo>
                      <a:pt x="943" y="1991"/>
                    </a:lnTo>
                    <a:lnTo>
                      <a:pt x="938" y="1995"/>
                    </a:lnTo>
                    <a:lnTo>
                      <a:pt x="931" y="1997"/>
                    </a:lnTo>
                    <a:lnTo>
                      <a:pt x="925" y="1998"/>
                    </a:lnTo>
                    <a:lnTo>
                      <a:pt x="916" y="2000"/>
                    </a:lnTo>
                    <a:lnTo>
                      <a:pt x="916" y="2000"/>
                    </a:lnTo>
                    <a:close/>
                    <a:moveTo>
                      <a:pt x="2278" y="1799"/>
                    </a:moveTo>
                    <a:lnTo>
                      <a:pt x="2278" y="1799"/>
                    </a:lnTo>
                    <a:lnTo>
                      <a:pt x="2272" y="1800"/>
                    </a:lnTo>
                    <a:lnTo>
                      <a:pt x="2265" y="1801"/>
                    </a:lnTo>
                    <a:lnTo>
                      <a:pt x="2250" y="1805"/>
                    </a:lnTo>
                    <a:lnTo>
                      <a:pt x="2237" y="1812"/>
                    </a:lnTo>
                    <a:lnTo>
                      <a:pt x="2225" y="1822"/>
                    </a:lnTo>
                    <a:lnTo>
                      <a:pt x="2225" y="1709"/>
                    </a:lnTo>
                    <a:lnTo>
                      <a:pt x="2164" y="1739"/>
                    </a:lnTo>
                    <a:lnTo>
                      <a:pt x="2164" y="2049"/>
                    </a:lnTo>
                    <a:lnTo>
                      <a:pt x="2225" y="2049"/>
                    </a:lnTo>
                    <a:lnTo>
                      <a:pt x="2225" y="2031"/>
                    </a:lnTo>
                    <a:lnTo>
                      <a:pt x="2225" y="2031"/>
                    </a:lnTo>
                    <a:lnTo>
                      <a:pt x="2230" y="2037"/>
                    </a:lnTo>
                    <a:lnTo>
                      <a:pt x="2237" y="2042"/>
                    </a:lnTo>
                    <a:lnTo>
                      <a:pt x="2243" y="2046"/>
                    </a:lnTo>
                    <a:lnTo>
                      <a:pt x="2250" y="2049"/>
                    </a:lnTo>
                    <a:lnTo>
                      <a:pt x="2257" y="2052"/>
                    </a:lnTo>
                    <a:lnTo>
                      <a:pt x="2265" y="2053"/>
                    </a:lnTo>
                    <a:lnTo>
                      <a:pt x="2272" y="2054"/>
                    </a:lnTo>
                    <a:lnTo>
                      <a:pt x="2280" y="2055"/>
                    </a:lnTo>
                    <a:lnTo>
                      <a:pt x="2280" y="2055"/>
                    </a:lnTo>
                    <a:lnTo>
                      <a:pt x="2291" y="2054"/>
                    </a:lnTo>
                    <a:lnTo>
                      <a:pt x="2302" y="2053"/>
                    </a:lnTo>
                    <a:lnTo>
                      <a:pt x="2311" y="2051"/>
                    </a:lnTo>
                    <a:lnTo>
                      <a:pt x="2321" y="2046"/>
                    </a:lnTo>
                    <a:lnTo>
                      <a:pt x="2329" y="2041"/>
                    </a:lnTo>
                    <a:lnTo>
                      <a:pt x="2337" y="2036"/>
                    </a:lnTo>
                    <a:lnTo>
                      <a:pt x="2344" y="2029"/>
                    </a:lnTo>
                    <a:lnTo>
                      <a:pt x="2350" y="2021"/>
                    </a:lnTo>
                    <a:lnTo>
                      <a:pt x="2356" y="2012"/>
                    </a:lnTo>
                    <a:lnTo>
                      <a:pt x="2361" y="2002"/>
                    </a:lnTo>
                    <a:lnTo>
                      <a:pt x="2365" y="1991"/>
                    </a:lnTo>
                    <a:lnTo>
                      <a:pt x="2368" y="1980"/>
                    </a:lnTo>
                    <a:lnTo>
                      <a:pt x="2372" y="1968"/>
                    </a:lnTo>
                    <a:lnTo>
                      <a:pt x="2373" y="1955"/>
                    </a:lnTo>
                    <a:lnTo>
                      <a:pt x="2374" y="1940"/>
                    </a:lnTo>
                    <a:lnTo>
                      <a:pt x="2376" y="1924"/>
                    </a:lnTo>
                    <a:lnTo>
                      <a:pt x="2376" y="1924"/>
                    </a:lnTo>
                    <a:lnTo>
                      <a:pt x="2374" y="1911"/>
                    </a:lnTo>
                    <a:lnTo>
                      <a:pt x="2373" y="1897"/>
                    </a:lnTo>
                    <a:lnTo>
                      <a:pt x="2371" y="1884"/>
                    </a:lnTo>
                    <a:lnTo>
                      <a:pt x="2368" y="1872"/>
                    </a:lnTo>
                    <a:lnTo>
                      <a:pt x="2365" y="1861"/>
                    </a:lnTo>
                    <a:lnTo>
                      <a:pt x="2360" y="1851"/>
                    </a:lnTo>
                    <a:lnTo>
                      <a:pt x="2355" y="1842"/>
                    </a:lnTo>
                    <a:lnTo>
                      <a:pt x="2349" y="1833"/>
                    </a:lnTo>
                    <a:lnTo>
                      <a:pt x="2343" y="1826"/>
                    </a:lnTo>
                    <a:lnTo>
                      <a:pt x="2336" y="1818"/>
                    </a:lnTo>
                    <a:lnTo>
                      <a:pt x="2327" y="1812"/>
                    </a:lnTo>
                    <a:lnTo>
                      <a:pt x="2319" y="1807"/>
                    </a:lnTo>
                    <a:lnTo>
                      <a:pt x="2310" y="1804"/>
                    </a:lnTo>
                    <a:lnTo>
                      <a:pt x="2300" y="1801"/>
                    </a:lnTo>
                    <a:lnTo>
                      <a:pt x="2289" y="1800"/>
                    </a:lnTo>
                    <a:lnTo>
                      <a:pt x="2278" y="1799"/>
                    </a:lnTo>
                    <a:lnTo>
                      <a:pt x="2278" y="1799"/>
                    </a:lnTo>
                    <a:close/>
                    <a:moveTo>
                      <a:pt x="2267" y="1855"/>
                    </a:moveTo>
                    <a:lnTo>
                      <a:pt x="2267" y="1855"/>
                    </a:lnTo>
                    <a:lnTo>
                      <a:pt x="2276" y="1856"/>
                    </a:lnTo>
                    <a:lnTo>
                      <a:pt x="2284" y="1859"/>
                    </a:lnTo>
                    <a:lnTo>
                      <a:pt x="2292" y="1863"/>
                    </a:lnTo>
                    <a:lnTo>
                      <a:pt x="2299" y="1871"/>
                    </a:lnTo>
                    <a:lnTo>
                      <a:pt x="2305" y="1879"/>
                    </a:lnTo>
                    <a:lnTo>
                      <a:pt x="2309" y="1891"/>
                    </a:lnTo>
                    <a:lnTo>
                      <a:pt x="2312" y="1906"/>
                    </a:lnTo>
                    <a:lnTo>
                      <a:pt x="2314" y="1923"/>
                    </a:lnTo>
                    <a:lnTo>
                      <a:pt x="2314" y="1923"/>
                    </a:lnTo>
                    <a:lnTo>
                      <a:pt x="2312" y="1941"/>
                    </a:lnTo>
                    <a:lnTo>
                      <a:pt x="2310" y="1957"/>
                    </a:lnTo>
                    <a:lnTo>
                      <a:pt x="2308" y="1969"/>
                    </a:lnTo>
                    <a:lnTo>
                      <a:pt x="2303" y="1980"/>
                    </a:lnTo>
                    <a:lnTo>
                      <a:pt x="2295" y="1989"/>
                    </a:lnTo>
                    <a:lnTo>
                      <a:pt x="2288" y="1995"/>
                    </a:lnTo>
                    <a:lnTo>
                      <a:pt x="2280" y="1998"/>
                    </a:lnTo>
                    <a:lnTo>
                      <a:pt x="2269" y="2000"/>
                    </a:lnTo>
                    <a:lnTo>
                      <a:pt x="2269" y="2000"/>
                    </a:lnTo>
                    <a:lnTo>
                      <a:pt x="2260" y="1998"/>
                    </a:lnTo>
                    <a:lnTo>
                      <a:pt x="2253" y="1997"/>
                    </a:lnTo>
                    <a:lnTo>
                      <a:pt x="2247" y="1993"/>
                    </a:lnTo>
                    <a:lnTo>
                      <a:pt x="2241" y="1991"/>
                    </a:lnTo>
                    <a:lnTo>
                      <a:pt x="2231" y="1983"/>
                    </a:lnTo>
                    <a:lnTo>
                      <a:pt x="2225" y="1976"/>
                    </a:lnTo>
                    <a:lnTo>
                      <a:pt x="2225" y="1879"/>
                    </a:lnTo>
                    <a:lnTo>
                      <a:pt x="2225" y="1879"/>
                    </a:lnTo>
                    <a:lnTo>
                      <a:pt x="2229" y="1874"/>
                    </a:lnTo>
                    <a:lnTo>
                      <a:pt x="2233" y="1869"/>
                    </a:lnTo>
                    <a:lnTo>
                      <a:pt x="2238" y="1865"/>
                    </a:lnTo>
                    <a:lnTo>
                      <a:pt x="2243" y="1861"/>
                    </a:lnTo>
                    <a:lnTo>
                      <a:pt x="2249" y="1859"/>
                    </a:lnTo>
                    <a:lnTo>
                      <a:pt x="2255" y="1856"/>
                    </a:lnTo>
                    <a:lnTo>
                      <a:pt x="2261" y="1855"/>
                    </a:lnTo>
                    <a:lnTo>
                      <a:pt x="2267" y="1855"/>
                    </a:lnTo>
                    <a:lnTo>
                      <a:pt x="2267" y="1855"/>
                    </a:lnTo>
                    <a:close/>
                    <a:moveTo>
                      <a:pt x="1591" y="1822"/>
                    </a:moveTo>
                    <a:lnTo>
                      <a:pt x="1591" y="1822"/>
                    </a:lnTo>
                    <a:lnTo>
                      <a:pt x="1586" y="1817"/>
                    </a:lnTo>
                    <a:lnTo>
                      <a:pt x="1580" y="1812"/>
                    </a:lnTo>
                    <a:lnTo>
                      <a:pt x="1572" y="1809"/>
                    </a:lnTo>
                    <a:lnTo>
                      <a:pt x="1566" y="1805"/>
                    </a:lnTo>
                    <a:lnTo>
                      <a:pt x="1559" y="1803"/>
                    </a:lnTo>
                    <a:lnTo>
                      <a:pt x="1552" y="1800"/>
                    </a:lnTo>
                    <a:lnTo>
                      <a:pt x="1544" y="1800"/>
                    </a:lnTo>
                    <a:lnTo>
                      <a:pt x="1537" y="1799"/>
                    </a:lnTo>
                    <a:lnTo>
                      <a:pt x="1537" y="1799"/>
                    </a:lnTo>
                    <a:lnTo>
                      <a:pt x="1526" y="1800"/>
                    </a:lnTo>
                    <a:lnTo>
                      <a:pt x="1515" y="1801"/>
                    </a:lnTo>
                    <a:lnTo>
                      <a:pt x="1506" y="1804"/>
                    </a:lnTo>
                    <a:lnTo>
                      <a:pt x="1497" y="1807"/>
                    </a:lnTo>
                    <a:lnTo>
                      <a:pt x="1489" y="1812"/>
                    </a:lnTo>
                    <a:lnTo>
                      <a:pt x="1480" y="1818"/>
                    </a:lnTo>
                    <a:lnTo>
                      <a:pt x="1473" y="1826"/>
                    </a:lnTo>
                    <a:lnTo>
                      <a:pt x="1467" y="1833"/>
                    </a:lnTo>
                    <a:lnTo>
                      <a:pt x="1461" y="1842"/>
                    </a:lnTo>
                    <a:lnTo>
                      <a:pt x="1456" y="1851"/>
                    </a:lnTo>
                    <a:lnTo>
                      <a:pt x="1451" y="1861"/>
                    </a:lnTo>
                    <a:lnTo>
                      <a:pt x="1447" y="1872"/>
                    </a:lnTo>
                    <a:lnTo>
                      <a:pt x="1445" y="1884"/>
                    </a:lnTo>
                    <a:lnTo>
                      <a:pt x="1442" y="1897"/>
                    </a:lnTo>
                    <a:lnTo>
                      <a:pt x="1441" y="1911"/>
                    </a:lnTo>
                    <a:lnTo>
                      <a:pt x="1441" y="1924"/>
                    </a:lnTo>
                    <a:lnTo>
                      <a:pt x="1441" y="1924"/>
                    </a:lnTo>
                    <a:lnTo>
                      <a:pt x="1441" y="1940"/>
                    </a:lnTo>
                    <a:lnTo>
                      <a:pt x="1442" y="1953"/>
                    </a:lnTo>
                    <a:lnTo>
                      <a:pt x="1445" y="1967"/>
                    </a:lnTo>
                    <a:lnTo>
                      <a:pt x="1447" y="1979"/>
                    </a:lnTo>
                    <a:lnTo>
                      <a:pt x="1451" y="1991"/>
                    </a:lnTo>
                    <a:lnTo>
                      <a:pt x="1455" y="2002"/>
                    </a:lnTo>
                    <a:lnTo>
                      <a:pt x="1461" y="2012"/>
                    </a:lnTo>
                    <a:lnTo>
                      <a:pt x="1465" y="2020"/>
                    </a:lnTo>
                    <a:lnTo>
                      <a:pt x="1473" y="2029"/>
                    </a:lnTo>
                    <a:lnTo>
                      <a:pt x="1479" y="2035"/>
                    </a:lnTo>
                    <a:lnTo>
                      <a:pt x="1487" y="2041"/>
                    </a:lnTo>
                    <a:lnTo>
                      <a:pt x="1496" y="2046"/>
                    </a:lnTo>
                    <a:lnTo>
                      <a:pt x="1504" y="2049"/>
                    </a:lnTo>
                    <a:lnTo>
                      <a:pt x="1514" y="2053"/>
                    </a:lnTo>
                    <a:lnTo>
                      <a:pt x="1525" y="2054"/>
                    </a:lnTo>
                    <a:lnTo>
                      <a:pt x="1536" y="2054"/>
                    </a:lnTo>
                    <a:lnTo>
                      <a:pt x="1536" y="2054"/>
                    </a:lnTo>
                    <a:lnTo>
                      <a:pt x="1543" y="2054"/>
                    </a:lnTo>
                    <a:lnTo>
                      <a:pt x="1551" y="2053"/>
                    </a:lnTo>
                    <a:lnTo>
                      <a:pt x="1558" y="2052"/>
                    </a:lnTo>
                    <a:lnTo>
                      <a:pt x="1565" y="2049"/>
                    </a:lnTo>
                    <a:lnTo>
                      <a:pt x="1572" y="2046"/>
                    </a:lnTo>
                    <a:lnTo>
                      <a:pt x="1578" y="2041"/>
                    </a:lnTo>
                    <a:lnTo>
                      <a:pt x="1585" y="2037"/>
                    </a:lnTo>
                    <a:lnTo>
                      <a:pt x="1591" y="2031"/>
                    </a:lnTo>
                    <a:lnTo>
                      <a:pt x="1591" y="2037"/>
                    </a:lnTo>
                    <a:lnTo>
                      <a:pt x="1591" y="2037"/>
                    </a:lnTo>
                    <a:lnTo>
                      <a:pt x="1591" y="2047"/>
                    </a:lnTo>
                    <a:lnTo>
                      <a:pt x="1589" y="2058"/>
                    </a:lnTo>
                    <a:lnTo>
                      <a:pt x="1587" y="2069"/>
                    </a:lnTo>
                    <a:lnTo>
                      <a:pt x="1585" y="2074"/>
                    </a:lnTo>
                    <a:lnTo>
                      <a:pt x="1581" y="2079"/>
                    </a:lnTo>
                    <a:lnTo>
                      <a:pt x="1577" y="2083"/>
                    </a:lnTo>
                    <a:lnTo>
                      <a:pt x="1572" y="2088"/>
                    </a:lnTo>
                    <a:lnTo>
                      <a:pt x="1565" y="2092"/>
                    </a:lnTo>
                    <a:lnTo>
                      <a:pt x="1558" y="2094"/>
                    </a:lnTo>
                    <a:lnTo>
                      <a:pt x="1549" y="2098"/>
                    </a:lnTo>
                    <a:lnTo>
                      <a:pt x="1538" y="2099"/>
                    </a:lnTo>
                    <a:lnTo>
                      <a:pt x="1526" y="2102"/>
                    </a:lnTo>
                    <a:lnTo>
                      <a:pt x="1513" y="2102"/>
                    </a:lnTo>
                    <a:lnTo>
                      <a:pt x="1510" y="2102"/>
                    </a:lnTo>
                    <a:lnTo>
                      <a:pt x="1531" y="2149"/>
                    </a:lnTo>
                    <a:lnTo>
                      <a:pt x="1532" y="2149"/>
                    </a:lnTo>
                    <a:lnTo>
                      <a:pt x="1532" y="2149"/>
                    </a:lnTo>
                    <a:lnTo>
                      <a:pt x="1547" y="2149"/>
                    </a:lnTo>
                    <a:lnTo>
                      <a:pt x="1560" y="2147"/>
                    </a:lnTo>
                    <a:lnTo>
                      <a:pt x="1574" y="2144"/>
                    </a:lnTo>
                    <a:lnTo>
                      <a:pt x="1585" y="2141"/>
                    </a:lnTo>
                    <a:lnTo>
                      <a:pt x="1595" y="2137"/>
                    </a:lnTo>
                    <a:lnTo>
                      <a:pt x="1605" y="2132"/>
                    </a:lnTo>
                    <a:lnTo>
                      <a:pt x="1614" y="2125"/>
                    </a:lnTo>
                    <a:lnTo>
                      <a:pt x="1622" y="2119"/>
                    </a:lnTo>
                    <a:lnTo>
                      <a:pt x="1630" y="2110"/>
                    </a:lnTo>
                    <a:lnTo>
                      <a:pt x="1634" y="2100"/>
                    </a:lnTo>
                    <a:lnTo>
                      <a:pt x="1640" y="2091"/>
                    </a:lnTo>
                    <a:lnTo>
                      <a:pt x="1644" y="2080"/>
                    </a:lnTo>
                    <a:lnTo>
                      <a:pt x="1648" y="2068"/>
                    </a:lnTo>
                    <a:lnTo>
                      <a:pt x="1650" y="2055"/>
                    </a:lnTo>
                    <a:lnTo>
                      <a:pt x="1651" y="2042"/>
                    </a:lnTo>
                    <a:lnTo>
                      <a:pt x="1651" y="2026"/>
                    </a:lnTo>
                    <a:lnTo>
                      <a:pt x="1651" y="1805"/>
                    </a:lnTo>
                    <a:lnTo>
                      <a:pt x="1591" y="1805"/>
                    </a:lnTo>
                    <a:lnTo>
                      <a:pt x="1591" y="1822"/>
                    </a:lnTo>
                    <a:close/>
                    <a:moveTo>
                      <a:pt x="1591" y="1879"/>
                    </a:moveTo>
                    <a:lnTo>
                      <a:pt x="1591" y="1975"/>
                    </a:lnTo>
                    <a:lnTo>
                      <a:pt x="1591" y="1975"/>
                    </a:lnTo>
                    <a:lnTo>
                      <a:pt x="1583" y="1984"/>
                    </a:lnTo>
                    <a:lnTo>
                      <a:pt x="1574" y="1992"/>
                    </a:lnTo>
                    <a:lnTo>
                      <a:pt x="1569" y="1995"/>
                    </a:lnTo>
                    <a:lnTo>
                      <a:pt x="1563" y="1997"/>
                    </a:lnTo>
                    <a:lnTo>
                      <a:pt x="1555" y="1998"/>
                    </a:lnTo>
                    <a:lnTo>
                      <a:pt x="1548" y="2000"/>
                    </a:lnTo>
                    <a:lnTo>
                      <a:pt x="1548" y="2000"/>
                    </a:lnTo>
                    <a:lnTo>
                      <a:pt x="1540" y="1998"/>
                    </a:lnTo>
                    <a:lnTo>
                      <a:pt x="1532" y="1996"/>
                    </a:lnTo>
                    <a:lnTo>
                      <a:pt x="1524" y="1991"/>
                    </a:lnTo>
                    <a:lnTo>
                      <a:pt x="1518" y="1985"/>
                    </a:lnTo>
                    <a:lnTo>
                      <a:pt x="1512" y="1975"/>
                    </a:lnTo>
                    <a:lnTo>
                      <a:pt x="1507" y="1962"/>
                    </a:lnTo>
                    <a:lnTo>
                      <a:pt x="1503" y="1945"/>
                    </a:lnTo>
                    <a:lnTo>
                      <a:pt x="1502" y="1923"/>
                    </a:lnTo>
                    <a:lnTo>
                      <a:pt x="1502" y="1923"/>
                    </a:lnTo>
                    <a:lnTo>
                      <a:pt x="1503" y="1904"/>
                    </a:lnTo>
                    <a:lnTo>
                      <a:pt x="1507" y="1889"/>
                    </a:lnTo>
                    <a:lnTo>
                      <a:pt x="1512" y="1877"/>
                    </a:lnTo>
                    <a:lnTo>
                      <a:pt x="1518" y="1868"/>
                    </a:lnTo>
                    <a:lnTo>
                      <a:pt x="1524" y="1861"/>
                    </a:lnTo>
                    <a:lnTo>
                      <a:pt x="1532" y="1857"/>
                    </a:lnTo>
                    <a:lnTo>
                      <a:pt x="1540" y="1855"/>
                    </a:lnTo>
                    <a:lnTo>
                      <a:pt x="1548" y="1855"/>
                    </a:lnTo>
                    <a:lnTo>
                      <a:pt x="1548" y="1855"/>
                    </a:lnTo>
                    <a:lnTo>
                      <a:pt x="1555" y="1855"/>
                    </a:lnTo>
                    <a:lnTo>
                      <a:pt x="1563" y="1857"/>
                    </a:lnTo>
                    <a:lnTo>
                      <a:pt x="1570" y="1860"/>
                    </a:lnTo>
                    <a:lnTo>
                      <a:pt x="1575" y="1862"/>
                    </a:lnTo>
                    <a:lnTo>
                      <a:pt x="1580" y="1867"/>
                    </a:lnTo>
                    <a:lnTo>
                      <a:pt x="1585" y="1871"/>
                    </a:lnTo>
                    <a:lnTo>
                      <a:pt x="1591" y="1879"/>
                    </a:lnTo>
                    <a:lnTo>
                      <a:pt x="1591" y="1879"/>
                    </a:lnTo>
                    <a:close/>
                    <a:moveTo>
                      <a:pt x="1840" y="1865"/>
                    </a:moveTo>
                    <a:lnTo>
                      <a:pt x="1840" y="1865"/>
                    </a:lnTo>
                    <a:lnTo>
                      <a:pt x="1854" y="1857"/>
                    </a:lnTo>
                    <a:lnTo>
                      <a:pt x="1869" y="1852"/>
                    </a:lnTo>
                    <a:lnTo>
                      <a:pt x="1885" y="1849"/>
                    </a:lnTo>
                    <a:lnTo>
                      <a:pt x="1902" y="1848"/>
                    </a:lnTo>
                    <a:lnTo>
                      <a:pt x="1902" y="1848"/>
                    </a:lnTo>
                    <a:lnTo>
                      <a:pt x="1913" y="1849"/>
                    </a:lnTo>
                    <a:lnTo>
                      <a:pt x="1921" y="1850"/>
                    </a:lnTo>
                    <a:lnTo>
                      <a:pt x="1928" y="1852"/>
                    </a:lnTo>
                    <a:lnTo>
                      <a:pt x="1935" y="1857"/>
                    </a:lnTo>
                    <a:lnTo>
                      <a:pt x="1939" y="1862"/>
                    </a:lnTo>
                    <a:lnTo>
                      <a:pt x="1943" y="1868"/>
                    </a:lnTo>
                    <a:lnTo>
                      <a:pt x="1945" y="1874"/>
                    </a:lnTo>
                    <a:lnTo>
                      <a:pt x="1945" y="1883"/>
                    </a:lnTo>
                    <a:lnTo>
                      <a:pt x="1945" y="1900"/>
                    </a:lnTo>
                    <a:lnTo>
                      <a:pt x="1945" y="1900"/>
                    </a:lnTo>
                    <a:lnTo>
                      <a:pt x="1935" y="1895"/>
                    </a:lnTo>
                    <a:lnTo>
                      <a:pt x="1921" y="1891"/>
                    </a:lnTo>
                    <a:lnTo>
                      <a:pt x="1908" y="1889"/>
                    </a:lnTo>
                    <a:lnTo>
                      <a:pt x="1893" y="1888"/>
                    </a:lnTo>
                    <a:lnTo>
                      <a:pt x="1893" y="1888"/>
                    </a:lnTo>
                    <a:lnTo>
                      <a:pt x="1876" y="1889"/>
                    </a:lnTo>
                    <a:lnTo>
                      <a:pt x="1859" y="1893"/>
                    </a:lnTo>
                    <a:lnTo>
                      <a:pt x="1843" y="1897"/>
                    </a:lnTo>
                    <a:lnTo>
                      <a:pt x="1835" y="1901"/>
                    </a:lnTo>
                    <a:lnTo>
                      <a:pt x="1828" y="1906"/>
                    </a:lnTo>
                    <a:lnTo>
                      <a:pt x="1822" y="1911"/>
                    </a:lnTo>
                    <a:lnTo>
                      <a:pt x="1815" y="1917"/>
                    </a:lnTo>
                    <a:lnTo>
                      <a:pt x="1809" y="1923"/>
                    </a:lnTo>
                    <a:lnTo>
                      <a:pt x="1805" y="1930"/>
                    </a:lnTo>
                    <a:lnTo>
                      <a:pt x="1801" y="1939"/>
                    </a:lnTo>
                    <a:lnTo>
                      <a:pt x="1798" y="1948"/>
                    </a:lnTo>
                    <a:lnTo>
                      <a:pt x="1797" y="1958"/>
                    </a:lnTo>
                    <a:lnTo>
                      <a:pt x="1796" y="1968"/>
                    </a:lnTo>
                    <a:lnTo>
                      <a:pt x="1796" y="1968"/>
                    </a:lnTo>
                    <a:lnTo>
                      <a:pt x="1797" y="1980"/>
                    </a:lnTo>
                    <a:lnTo>
                      <a:pt x="1798" y="1991"/>
                    </a:lnTo>
                    <a:lnTo>
                      <a:pt x="1801" y="2000"/>
                    </a:lnTo>
                    <a:lnTo>
                      <a:pt x="1805" y="2009"/>
                    </a:lnTo>
                    <a:lnTo>
                      <a:pt x="1808" y="2017"/>
                    </a:lnTo>
                    <a:lnTo>
                      <a:pt x="1814" y="2024"/>
                    </a:lnTo>
                    <a:lnTo>
                      <a:pt x="1819" y="2030"/>
                    </a:lnTo>
                    <a:lnTo>
                      <a:pt x="1826" y="2036"/>
                    </a:lnTo>
                    <a:lnTo>
                      <a:pt x="1832" y="2041"/>
                    </a:lnTo>
                    <a:lnTo>
                      <a:pt x="1840" y="2045"/>
                    </a:lnTo>
                    <a:lnTo>
                      <a:pt x="1856" y="2051"/>
                    </a:lnTo>
                    <a:lnTo>
                      <a:pt x="1871" y="2054"/>
                    </a:lnTo>
                    <a:lnTo>
                      <a:pt x="1887" y="2055"/>
                    </a:lnTo>
                    <a:lnTo>
                      <a:pt x="1887" y="2055"/>
                    </a:lnTo>
                    <a:lnTo>
                      <a:pt x="1901" y="2053"/>
                    </a:lnTo>
                    <a:lnTo>
                      <a:pt x="1909" y="2052"/>
                    </a:lnTo>
                    <a:lnTo>
                      <a:pt x="1916" y="2049"/>
                    </a:lnTo>
                    <a:lnTo>
                      <a:pt x="1925" y="2046"/>
                    </a:lnTo>
                    <a:lnTo>
                      <a:pt x="1932" y="2041"/>
                    </a:lnTo>
                    <a:lnTo>
                      <a:pt x="1939" y="2036"/>
                    </a:lnTo>
                    <a:lnTo>
                      <a:pt x="1945" y="2030"/>
                    </a:lnTo>
                    <a:lnTo>
                      <a:pt x="1945" y="2049"/>
                    </a:lnTo>
                    <a:lnTo>
                      <a:pt x="2006" y="2049"/>
                    </a:lnTo>
                    <a:lnTo>
                      <a:pt x="2006" y="1884"/>
                    </a:lnTo>
                    <a:lnTo>
                      <a:pt x="2006" y="1884"/>
                    </a:lnTo>
                    <a:lnTo>
                      <a:pt x="2006" y="1874"/>
                    </a:lnTo>
                    <a:lnTo>
                      <a:pt x="2005" y="1866"/>
                    </a:lnTo>
                    <a:lnTo>
                      <a:pt x="2003" y="1857"/>
                    </a:lnTo>
                    <a:lnTo>
                      <a:pt x="2000" y="1849"/>
                    </a:lnTo>
                    <a:lnTo>
                      <a:pt x="1995" y="1842"/>
                    </a:lnTo>
                    <a:lnTo>
                      <a:pt x="1992" y="1834"/>
                    </a:lnTo>
                    <a:lnTo>
                      <a:pt x="1986" y="1828"/>
                    </a:lnTo>
                    <a:lnTo>
                      <a:pt x="1979" y="1822"/>
                    </a:lnTo>
                    <a:lnTo>
                      <a:pt x="1973" y="1817"/>
                    </a:lnTo>
                    <a:lnTo>
                      <a:pt x="1966" y="1812"/>
                    </a:lnTo>
                    <a:lnTo>
                      <a:pt x="1958" y="1809"/>
                    </a:lnTo>
                    <a:lnTo>
                      <a:pt x="1949" y="1805"/>
                    </a:lnTo>
                    <a:lnTo>
                      <a:pt x="1939" y="1803"/>
                    </a:lnTo>
                    <a:lnTo>
                      <a:pt x="1930" y="1801"/>
                    </a:lnTo>
                    <a:lnTo>
                      <a:pt x="1919" y="1800"/>
                    </a:lnTo>
                    <a:lnTo>
                      <a:pt x="1908" y="1799"/>
                    </a:lnTo>
                    <a:lnTo>
                      <a:pt x="1908" y="1799"/>
                    </a:lnTo>
                    <a:lnTo>
                      <a:pt x="1894" y="1800"/>
                    </a:lnTo>
                    <a:lnTo>
                      <a:pt x="1883" y="1800"/>
                    </a:lnTo>
                    <a:lnTo>
                      <a:pt x="1871" y="1803"/>
                    </a:lnTo>
                    <a:lnTo>
                      <a:pt x="1859" y="1805"/>
                    </a:lnTo>
                    <a:lnTo>
                      <a:pt x="1848" y="1809"/>
                    </a:lnTo>
                    <a:lnTo>
                      <a:pt x="1837" y="1812"/>
                    </a:lnTo>
                    <a:lnTo>
                      <a:pt x="1826" y="1817"/>
                    </a:lnTo>
                    <a:lnTo>
                      <a:pt x="1815" y="1823"/>
                    </a:lnTo>
                    <a:lnTo>
                      <a:pt x="1840" y="1865"/>
                    </a:lnTo>
                    <a:close/>
                    <a:moveTo>
                      <a:pt x="1857" y="1968"/>
                    </a:moveTo>
                    <a:lnTo>
                      <a:pt x="1857" y="1968"/>
                    </a:lnTo>
                    <a:lnTo>
                      <a:pt x="1857" y="1961"/>
                    </a:lnTo>
                    <a:lnTo>
                      <a:pt x="1859" y="1953"/>
                    </a:lnTo>
                    <a:lnTo>
                      <a:pt x="1863" y="1947"/>
                    </a:lnTo>
                    <a:lnTo>
                      <a:pt x="1868" y="1942"/>
                    </a:lnTo>
                    <a:lnTo>
                      <a:pt x="1874" y="1939"/>
                    </a:lnTo>
                    <a:lnTo>
                      <a:pt x="1881" y="1936"/>
                    </a:lnTo>
                    <a:lnTo>
                      <a:pt x="1890" y="1934"/>
                    </a:lnTo>
                    <a:lnTo>
                      <a:pt x="1898" y="1934"/>
                    </a:lnTo>
                    <a:lnTo>
                      <a:pt x="1898" y="1934"/>
                    </a:lnTo>
                    <a:lnTo>
                      <a:pt x="1911" y="1934"/>
                    </a:lnTo>
                    <a:lnTo>
                      <a:pt x="1924" y="1936"/>
                    </a:lnTo>
                    <a:lnTo>
                      <a:pt x="1935" y="1940"/>
                    </a:lnTo>
                    <a:lnTo>
                      <a:pt x="1945" y="1946"/>
                    </a:lnTo>
                    <a:lnTo>
                      <a:pt x="1945" y="1979"/>
                    </a:lnTo>
                    <a:lnTo>
                      <a:pt x="1945" y="1979"/>
                    </a:lnTo>
                    <a:lnTo>
                      <a:pt x="1943" y="1984"/>
                    </a:lnTo>
                    <a:lnTo>
                      <a:pt x="1938" y="1989"/>
                    </a:lnTo>
                    <a:lnTo>
                      <a:pt x="1933" y="1993"/>
                    </a:lnTo>
                    <a:lnTo>
                      <a:pt x="1927" y="1997"/>
                    </a:lnTo>
                    <a:lnTo>
                      <a:pt x="1921" y="2001"/>
                    </a:lnTo>
                    <a:lnTo>
                      <a:pt x="1914" y="2003"/>
                    </a:lnTo>
                    <a:lnTo>
                      <a:pt x="1907" y="2004"/>
                    </a:lnTo>
                    <a:lnTo>
                      <a:pt x="1898" y="2006"/>
                    </a:lnTo>
                    <a:lnTo>
                      <a:pt x="1898" y="2006"/>
                    </a:lnTo>
                    <a:lnTo>
                      <a:pt x="1890" y="2004"/>
                    </a:lnTo>
                    <a:lnTo>
                      <a:pt x="1881" y="2002"/>
                    </a:lnTo>
                    <a:lnTo>
                      <a:pt x="1874" y="2000"/>
                    </a:lnTo>
                    <a:lnTo>
                      <a:pt x="1868" y="1995"/>
                    </a:lnTo>
                    <a:lnTo>
                      <a:pt x="1863" y="1990"/>
                    </a:lnTo>
                    <a:lnTo>
                      <a:pt x="1859" y="1984"/>
                    </a:lnTo>
                    <a:lnTo>
                      <a:pt x="1858" y="1976"/>
                    </a:lnTo>
                    <a:lnTo>
                      <a:pt x="1857" y="1968"/>
                    </a:lnTo>
                    <a:lnTo>
                      <a:pt x="1857" y="1968"/>
                    </a:lnTo>
                    <a:close/>
                    <a:moveTo>
                      <a:pt x="2569" y="1979"/>
                    </a:moveTo>
                    <a:lnTo>
                      <a:pt x="2569" y="1979"/>
                    </a:lnTo>
                    <a:lnTo>
                      <a:pt x="2560" y="1986"/>
                    </a:lnTo>
                    <a:lnTo>
                      <a:pt x="2549" y="1992"/>
                    </a:lnTo>
                    <a:lnTo>
                      <a:pt x="2543" y="1995"/>
                    </a:lnTo>
                    <a:lnTo>
                      <a:pt x="2536" y="1997"/>
                    </a:lnTo>
                    <a:lnTo>
                      <a:pt x="2529" y="1998"/>
                    </a:lnTo>
                    <a:lnTo>
                      <a:pt x="2521" y="2000"/>
                    </a:lnTo>
                    <a:lnTo>
                      <a:pt x="2521" y="2000"/>
                    </a:lnTo>
                    <a:lnTo>
                      <a:pt x="2515" y="1998"/>
                    </a:lnTo>
                    <a:lnTo>
                      <a:pt x="2508" y="1998"/>
                    </a:lnTo>
                    <a:lnTo>
                      <a:pt x="2500" y="1996"/>
                    </a:lnTo>
                    <a:lnTo>
                      <a:pt x="2490" y="1991"/>
                    </a:lnTo>
                    <a:lnTo>
                      <a:pt x="2481" y="1985"/>
                    </a:lnTo>
                    <a:lnTo>
                      <a:pt x="2478" y="1980"/>
                    </a:lnTo>
                    <a:lnTo>
                      <a:pt x="2474" y="1975"/>
                    </a:lnTo>
                    <a:lnTo>
                      <a:pt x="2472" y="1969"/>
                    </a:lnTo>
                    <a:lnTo>
                      <a:pt x="2469" y="1962"/>
                    </a:lnTo>
                    <a:lnTo>
                      <a:pt x="2468" y="1955"/>
                    </a:lnTo>
                    <a:lnTo>
                      <a:pt x="2467" y="1946"/>
                    </a:lnTo>
                    <a:lnTo>
                      <a:pt x="2616" y="1946"/>
                    </a:lnTo>
                    <a:lnTo>
                      <a:pt x="2616" y="1946"/>
                    </a:lnTo>
                    <a:lnTo>
                      <a:pt x="2617" y="1928"/>
                    </a:lnTo>
                    <a:lnTo>
                      <a:pt x="2617" y="1928"/>
                    </a:lnTo>
                    <a:lnTo>
                      <a:pt x="2617" y="1913"/>
                    </a:lnTo>
                    <a:lnTo>
                      <a:pt x="2615" y="1900"/>
                    </a:lnTo>
                    <a:lnTo>
                      <a:pt x="2614" y="1886"/>
                    </a:lnTo>
                    <a:lnTo>
                      <a:pt x="2610" y="1874"/>
                    </a:lnTo>
                    <a:lnTo>
                      <a:pt x="2607" y="1863"/>
                    </a:lnTo>
                    <a:lnTo>
                      <a:pt x="2602" y="1852"/>
                    </a:lnTo>
                    <a:lnTo>
                      <a:pt x="2596" y="1843"/>
                    </a:lnTo>
                    <a:lnTo>
                      <a:pt x="2589" y="1834"/>
                    </a:lnTo>
                    <a:lnTo>
                      <a:pt x="2582" y="1826"/>
                    </a:lnTo>
                    <a:lnTo>
                      <a:pt x="2575" y="1820"/>
                    </a:lnTo>
                    <a:lnTo>
                      <a:pt x="2566" y="1814"/>
                    </a:lnTo>
                    <a:lnTo>
                      <a:pt x="2557" y="1809"/>
                    </a:lnTo>
                    <a:lnTo>
                      <a:pt x="2547" y="1805"/>
                    </a:lnTo>
                    <a:lnTo>
                      <a:pt x="2537" y="1801"/>
                    </a:lnTo>
                    <a:lnTo>
                      <a:pt x="2526" y="1800"/>
                    </a:lnTo>
                    <a:lnTo>
                      <a:pt x="2514" y="1799"/>
                    </a:lnTo>
                    <a:lnTo>
                      <a:pt x="2514" y="1799"/>
                    </a:lnTo>
                    <a:lnTo>
                      <a:pt x="2503" y="1800"/>
                    </a:lnTo>
                    <a:lnTo>
                      <a:pt x="2492" y="1801"/>
                    </a:lnTo>
                    <a:lnTo>
                      <a:pt x="2481" y="1805"/>
                    </a:lnTo>
                    <a:lnTo>
                      <a:pt x="2470" y="1809"/>
                    </a:lnTo>
                    <a:lnTo>
                      <a:pt x="2461" y="1814"/>
                    </a:lnTo>
                    <a:lnTo>
                      <a:pt x="2452" y="1821"/>
                    </a:lnTo>
                    <a:lnTo>
                      <a:pt x="2444" y="1827"/>
                    </a:lnTo>
                    <a:lnTo>
                      <a:pt x="2436" y="1835"/>
                    </a:lnTo>
                    <a:lnTo>
                      <a:pt x="2429" y="1844"/>
                    </a:lnTo>
                    <a:lnTo>
                      <a:pt x="2423" y="1854"/>
                    </a:lnTo>
                    <a:lnTo>
                      <a:pt x="2418" y="1865"/>
                    </a:lnTo>
                    <a:lnTo>
                      <a:pt x="2413" y="1876"/>
                    </a:lnTo>
                    <a:lnTo>
                      <a:pt x="2410" y="1888"/>
                    </a:lnTo>
                    <a:lnTo>
                      <a:pt x="2407" y="1901"/>
                    </a:lnTo>
                    <a:lnTo>
                      <a:pt x="2406" y="1913"/>
                    </a:lnTo>
                    <a:lnTo>
                      <a:pt x="2405" y="1928"/>
                    </a:lnTo>
                    <a:lnTo>
                      <a:pt x="2405" y="1928"/>
                    </a:lnTo>
                    <a:lnTo>
                      <a:pt x="2406" y="1941"/>
                    </a:lnTo>
                    <a:lnTo>
                      <a:pt x="2407" y="1955"/>
                    </a:lnTo>
                    <a:lnTo>
                      <a:pt x="2410" y="1968"/>
                    </a:lnTo>
                    <a:lnTo>
                      <a:pt x="2413" y="1980"/>
                    </a:lnTo>
                    <a:lnTo>
                      <a:pt x="2418" y="1991"/>
                    </a:lnTo>
                    <a:lnTo>
                      <a:pt x="2423" y="2002"/>
                    </a:lnTo>
                    <a:lnTo>
                      <a:pt x="2429" y="2012"/>
                    </a:lnTo>
                    <a:lnTo>
                      <a:pt x="2436" y="2020"/>
                    </a:lnTo>
                    <a:lnTo>
                      <a:pt x="2445" y="2028"/>
                    </a:lnTo>
                    <a:lnTo>
                      <a:pt x="2453" y="2035"/>
                    </a:lnTo>
                    <a:lnTo>
                      <a:pt x="2463" y="2041"/>
                    </a:lnTo>
                    <a:lnTo>
                      <a:pt x="2473" y="2046"/>
                    </a:lnTo>
                    <a:lnTo>
                      <a:pt x="2484" y="2049"/>
                    </a:lnTo>
                    <a:lnTo>
                      <a:pt x="2496" y="2053"/>
                    </a:lnTo>
                    <a:lnTo>
                      <a:pt x="2508" y="2054"/>
                    </a:lnTo>
                    <a:lnTo>
                      <a:pt x="2521" y="2055"/>
                    </a:lnTo>
                    <a:lnTo>
                      <a:pt x="2521" y="2055"/>
                    </a:lnTo>
                    <a:lnTo>
                      <a:pt x="2534" y="2054"/>
                    </a:lnTo>
                    <a:lnTo>
                      <a:pt x="2545" y="2053"/>
                    </a:lnTo>
                    <a:lnTo>
                      <a:pt x="2557" y="2049"/>
                    </a:lnTo>
                    <a:lnTo>
                      <a:pt x="2568" y="2046"/>
                    </a:lnTo>
                    <a:lnTo>
                      <a:pt x="2579" y="2040"/>
                    </a:lnTo>
                    <a:lnTo>
                      <a:pt x="2588" y="2034"/>
                    </a:lnTo>
                    <a:lnTo>
                      <a:pt x="2598" y="2025"/>
                    </a:lnTo>
                    <a:lnTo>
                      <a:pt x="2608" y="2017"/>
                    </a:lnTo>
                    <a:lnTo>
                      <a:pt x="2569" y="1979"/>
                    </a:lnTo>
                    <a:close/>
                    <a:moveTo>
                      <a:pt x="2468" y="1901"/>
                    </a:moveTo>
                    <a:lnTo>
                      <a:pt x="2468" y="1901"/>
                    </a:lnTo>
                    <a:lnTo>
                      <a:pt x="2469" y="1890"/>
                    </a:lnTo>
                    <a:lnTo>
                      <a:pt x="2472" y="1880"/>
                    </a:lnTo>
                    <a:lnTo>
                      <a:pt x="2475" y="1872"/>
                    </a:lnTo>
                    <a:lnTo>
                      <a:pt x="2481" y="1865"/>
                    </a:lnTo>
                    <a:lnTo>
                      <a:pt x="2487" y="1859"/>
                    </a:lnTo>
                    <a:lnTo>
                      <a:pt x="2495" y="1855"/>
                    </a:lnTo>
                    <a:lnTo>
                      <a:pt x="2503" y="1851"/>
                    </a:lnTo>
                    <a:lnTo>
                      <a:pt x="2513" y="1851"/>
                    </a:lnTo>
                    <a:lnTo>
                      <a:pt x="2513" y="1851"/>
                    </a:lnTo>
                    <a:lnTo>
                      <a:pt x="2524" y="1852"/>
                    </a:lnTo>
                    <a:lnTo>
                      <a:pt x="2534" y="1855"/>
                    </a:lnTo>
                    <a:lnTo>
                      <a:pt x="2541" y="1860"/>
                    </a:lnTo>
                    <a:lnTo>
                      <a:pt x="2547" y="1867"/>
                    </a:lnTo>
                    <a:lnTo>
                      <a:pt x="2552" y="1874"/>
                    </a:lnTo>
                    <a:lnTo>
                      <a:pt x="2555" y="1883"/>
                    </a:lnTo>
                    <a:lnTo>
                      <a:pt x="2558" y="1893"/>
                    </a:lnTo>
                    <a:lnTo>
                      <a:pt x="2559" y="1901"/>
                    </a:lnTo>
                    <a:lnTo>
                      <a:pt x="2468" y="1901"/>
                    </a:lnTo>
                    <a:close/>
                    <a:moveTo>
                      <a:pt x="3153" y="1979"/>
                    </a:moveTo>
                    <a:lnTo>
                      <a:pt x="3153" y="1979"/>
                    </a:lnTo>
                    <a:lnTo>
                      <a:pt x="3144" y="1986"/>
                    </a:lnTo>
                    <a:lnTo>
                      <a:pt x="3134" y="1992"/>
                    </a:lnTo>
                    <a:lnTo>
                      <a:pt x="3127" y="1995"/>
                    </a:lnTo>
                    <a:lnTo>
                      <a:pt x="3121" y="1997"/>
                    </a:lnTo>
                    <a:lnTo>
                      <a:pt x="3113" y="1998"/>
                    </a:lnTo>
                    <a:lnTo>
                      <a:pt x="3105" y="2000"/>
                    </a:lnTo>
                    <a:lnTo>
                      <a:pt x="3105" y="2000"/>
                    </a:lnTo>
                    <a:lnTo>
                      <a:pt x="3099" y="1998"/>
                    </a:lnTo>
                    <a:lnTo>
                      <a:pt x="3091" y="1998"/>
                    </a:lnTo>
                    <a:lnTo>
                      <a:pt x="3083" y="1996"/>
                    </a:lnTo>
                    <a:lnTo>
                      <a:pt x="3074" y="1991"/>
                    </a:lnTo>
                    <a:lnTo>
                      <a:pt x="3066" y="1985"/>
                    </a:lnTo>
                    <a:lnTo>
                      <a:pt x="3062" y="1980"/>
                    </a:lnTo>
                    <a:lnTo>
                      <a:pt x="3059" y="1975"/>
                    </a:lnTo>
                    <a:lnTo>
                      <a:pt x="3056" y="1969"/>
                    </a:lnTo>
                    <a:lnTo>
                      <a:pt x="3054" y="1962"/>
                    </a:lnTo>
                    <a:lnTo>
                      <a:pt x="3051" y="1955"/>
                    </a:lnTo>
                    <a:lnTo>
                      <a:pt x="3050" y="1946"/>
                    </a:lnTo>
                    <a:lnTo>
                      <a:pt x="3201" y="1946"/>
                    </a:lnTo>
                    <a:lnTo>
                      <a:pt x="3201" y="1946"/>
                    </a:lnTo>
                    <a:lnTo>
                      <a:pt x="3202" y="1928"/>
                    </a:lnTo>
                    <a:lnTo>
                      <a:pt x="3202" y="1928"/>
                    </a:lnTo>
                    <a:lnTo>
                      <a:pt x="3201" y="1913"/>
                    </a:lnTo>
                    <a:lnTo>
                      <a:pt x="3199" y="1900"/>
                    </a:lnTo>
                    <a:lnTo>
                      <a:pt x="3197" y="1886"/>
                    </a:lnTo>
                    <a:lnTo>
                      <a:pt x="3195" y="1874"/>
                    </a:lnTo>
                    <a:lnTo>
                      <a:pt x="3190" y="1863"/>
                    </a:lnTo>
                    <a:lnTo>
                      <a:pt x="3185" y="1852"/>
                    </a:lnTo>
                    <a:lnTo>
                      <a:pt x="3180" y="1843"/>
                    </a:lnTo>
                    <a:lnTo>
                      <a:pt x="3174" y="1834"/>
                    </a:lnTo>
                    <a:lnTo>
                      <a:pt x="3167" y="1826"/>
                    </a:lnTo>
                    <a:lnTo>
                      <a:pt x="3158" y="1820"/>
                    </a:lnTo>
                    <a:lnTo>
                      <a:pt x="3150" y="1814"/>
                    </a:lnTo>
                    <a:lnTo>
                      <a:pt x="3141" y="1809"/>
                    </a:lnTo>
                    <a:lnTo>
                      <a:pt x="3131" y="1805"/>
                    </a:lnTo>
                    <a:lnTo>
                      <a:pt x="3121" y="1801"/>
                    </a:lnTo>
                    <a:lnTo>
                      <a:pt x="3110" y="1800"/>
                    </a:lnTo>
                    <a:lnTo>
                      <a:pt x="3099" y="1799"/>
                    </a:lnTo>
                    <a:lnTo>
                      <a:pt x="3099" y="1799"/>
                    </a:lnTo>
                    <a:lnTo>
                      <a:pt x="3086" y="1800"/>
                    </a:lnTo>
                    <a:lnTo>
                      <a:pt x="3076" y="1801"/>
                    </a:lnTo>
                    <a:lnTo>
                      <a:pt x="3065" y="1805"/>
                    </a:lnTo>
                    <a:lnTo>
                      <a:pt x="3055" y="1809"/>
                    </a:lnTo>
                    <a:lnTo>
                      <a:pt x="3045" y="1814"/>
                    </a:lnTo>
                    <a:lnTo>
                      <a:pt x="3035" y="1821"/>
                    </a:lnTo>
                    <a:lnTo>
                      <a:pt x="3028" y="1827"/>
                    </a:lnTo>
                    <a:lnTo>
                      <a:pt x="3020" y="1835"/>
                    </a:lnTo>
                    <a:lnTo>
                      <a:pt x="3012" y="1844"/>
                    </a:lnTo>
                    <a:lnTo>
                      <a:pt x="3006" y="1854"/>
                    </a:lnTo>
                    <a:lnTo>
                      <a:pt x="3001" y="1865"/>
                    </a:lnTo>
                    <a:lnTo>
                      <a:pt x="2997" y="1876"/>
                    </a:lnTo>
                    <a:lnTo>
                      <a:pt x="2994" y="1888"/>
                    </a:lnTo>
                    <a:lnTo>
                      <a:pt x="2990" y="1901"/>
                    </a:lnTo>
                    <a:lnTo>
                      <a:pt x="2989" y="1913"/>
                    </a:lnTo>
                    <a:lnTo>
                      <a:pt x="2989" y="1928"/>
                    </a:lnTo>
                    <a:lnTo>
                      <a:pt x="2989" y="1928"/>
                    </a:lnTo>
                    <a:lnTo>
                      <a:pt x="2989" y="1941"/>
                    </a:lnTo>
                    <a:lnTo>
                      <a:pt x="2990" y="1955"/>
                    </a:lnTo>
                    <a:lnTo>
                      <a:pt x="2993" y="1968"/>
                    </a:lnTo>
                    <a:lnTo>
                      <a:pt x="2997" y="1980"/>
                    </a:lnTo>
                    <a:lnTo>
                      <a:pt x="3001" y="1991"/>
                    </a:lnTo>
                    <a:lnTo>
                      <a:pt x="3008" y="2002"/>
                    </a:lnTo>
                    <a:lnTo>
                      <a:pt x="3014" y="2012"/>
                    </a:lnTo>
                    <a:lnTo>
                      <a:pt x="3021" y="2020"/>
                    </a:lnTo>
                    <a:lnTo>
                      <a:pt x="3028" y="2028"/>
                    </a:lnTo>
                    <a:lnTo>
                      <a:pt x="3037" y="2035"/>
                    </a:lnTo>
                    <a:lnTo>
                      <a:pt x="3046" y="2041"/>
                    </a:lnTo>
                    <a:lnTo>
                      <a:pt x="3057" y="2046"/>
                    </a:lnTo>
                    <a:lnTo>
                      <a:pt x="3068" y="2049"/>
                    </a:lnTo>
                    <a:lnTo>
                      <a:pt x="3079" y="2053"/>
                    </a:lnTo>
                    <a:lnTo>
                      <a:pt x="3093" y="2054"/>
                    </a:lnTo>
                    <a:lnTo>
                      <a:pt x="3105" y="2055"/>
                    </a:lnTo>
                    <a:lnTo>
                      <a:pt x="3105" y="2055"/>
                    </a:lnTo>
                    <a:lnTo>
                      <a:pt x="3117" y="2054"/>
                    </a:lnTo>
                    <a:lnTo>
                      <a:pt x="3129" y="2053"/>
                    </a:lnTo>
                    <a:lnTo>
                      <a:pt x="3140" y="2049"/>
                    </a:lnTo>
                    <a:lnTo>
                      <a:pt x="3151" y="2046"/>
                    </a:lnTo>
                    <a:lnTo>
                      <a:pt x="3162" y="2040"/>
                    </a:lnTo>
                    <a:lnTo>
                      <a:pt x="3173" y="2034"/>
                    </a:lnTo>
                    <a:lnTo>
                      <a:pt x="3182" y="2025"/>
                    </a:lnTo>
                    <a:lnTo>
                      <a:pt x="3191" y="2017"/>
                    </a:lnTo>
                    <a:lnTo>
                      <a:pt x="3153" y="1979"/>
                    </a:lnTo>
                    <a:close/>
                    <a:moveTo>
                      <a:pt x="3051" y="1901"/>
                    </a:moveTo>
                    <a:lnTo>
                      <a:pt x="3051" y="1901"/>
                    </a:lnTo>
                    <a:lnTo>
                      <a:pt x="3052" y="1890"/>
                    </a:lnTo>
                    <a:lnTo>
                      <a:pt x="3056" y="1880"/>
                    </a:lnTo>
                    <a:lnTo>
                      <a:pt x="3060" y="1872"/>
                    </a:lnTo>
                    <a:lnTo>
                      <a:pt x="3065" y="1865"/>
                    </a:lnTo>
                    <a:lnTo>
                      <a:pt x="3072" y="1859"/>
                    </a:lnTo>
                    <a:lnTo>
                      <a:pt x="3079" y="1855"/>
                    </a:lnTo>
                    <a:lnTo>
                      <a:pt x="3088" y="1851"/>
                    </a:lnTo>
                    <a:lnTo>
                      <a:pt x="3097" y="1851"/>
                    </a:lnTo>
                    <a:lnTo>
                      <a:pt x="3097" y="1851"/>
                    </a:lnTo>
                    <a:lnTo>
                      <a:pt x="3108" y="1852"/>
                    </a:lnTo>
                    <a:lnTo>
                      <a:pt x="3117" y="1855"/>
                    </a:lnTo>
                    <a:lnTo>
                      <a:pt x="3125" y="1860"/>
                    </a:lnTo>
                    <a:lnTo>
                      <a:pt x="3131" y="1867"/>
                    </a:lnTo>
                    <a:lnTo>
                      <a:pt x="3136" y="1874"/>
                    </a:lnTo>
                    <a:lnTo>
                      <a:pt x="3140" y="1883"/>
                    </a:lnTo>
                    <a:lnTo>
                      <a:pt x="3142" y="1893"/>
                    </a:lnTo>
                    <a:lnTo>
                      <a:pt x="3144" y="1901"/>
                    </a:lnTo>
                    <a:lnTo>
                      <a:pt x="3051" y="1901"/>
                    </a:lnTo>
                    <a:close/>
                    <a:moveTo>
                      <a:pt x="2905" y="1964"/>
                    </a:moveTo>
                    <a:lnTo>
                      <a:pt x="2905" y="1964"/>
                    </a:lnTo>
                    <a:lnTo>
                      <a:pt x="2905" y="1973"/>
                    </a:lnTo>
                    <a:lnTo>
                      <a:pt x="2907" y="1979"/>
                    </a:lnTo>
                    <a:lnTo>
                      <a:pt x="2909" y="1985"/>
                    </a:lnTo>
                    <a:lnTo>
                      <a:pt x="2912" y="1990"/>
                    </a:lnTo>
                    <a:lnTo>
                      <a:pt x="2915" y="1993"/>
                    </a:lnTo>
                    <a:lnTo>
                      <a:pt x="2920" y="1996"/>
                    </a:lnTo>
                    <a:lnTo>
                      <a:pt x="2925" y="1997"/>
                    </a:lnTo>
                    <a:lnTo>
                      <a:pt x="2932" y="1997"/>
                    </a:lnTo>
                    <a:lnTo>
                      <a:pt x="2932" y="1997"/>
                    </a:lnTo>
                    <a:lnTo>
                      <a:pt x="2941" y="1997"/>
                    </a:lnTo>
                    <a:lnTo>
                      <a:pt x="2950" y="1995"/>
                    </a:lnTo>
                    <a:lnTo>
                      <a:pt x="2960" y="1991"/>
                    </a:lnTo>
                    <a:lnTo>
                      <a:pt x="2969" y="1986"/>
                    </a:lnTo>
                    <a:lnTo>
                      <a:pt x="2961" y="2043"/>
                    </a:lnTo>
                    <a:lnTo>
                      <a:pt x="2961" y="2043"/>
                    </a:lnTo>
                    <a:lnTo>
                      <a:pt x="2950" y="2048"/>
                    </a:lnTo>
                    <a:lnTo>
                      <a:pt x="2937" y="2052"/>
                    </a:lnTo>
                    <a:lnTo>
                      <a:pt x="2924" y="2054"/>
                    </a:lnTo>
                    <a:lnTo>
                      <a:pt x="2910" y="2055"/>
                    </a:lnTo>
                    <a:lnTo>
                      <a:pt x="2910" y="2055"/>
                    </a:lnTo>
                    <a:lnTo>
                      <a:pt x="2902" y="2054"/>
                    </a:lnTo>
                    <a:lnTo>
                      <a:pt x="2893" y="2053"/>
                    </a:lnTo>
                    <a:lnTo>
                      <a:pt x="2886" y="2051"/>
                    </a:lnTo>
                    <a:lnTo>
                      <a:pt x="2880" y="2048"/>
                    </a:lnTo>
                    <a:lnTo>
                      <a:pt x="2874" y="2045"/>
                    </a:lnTo>
                    <a:lnTo>
                      <a:pt x="2868" y="2041"/>
                    </a:lnTo>
                    <a:lnTo>
                      <a:pt x="2864" y="2036"/>
                    </a:lnTo>
                    <a:lnTo>
                      <a:pt x="2859" y="2030"/>
                    </a:lnTo>
                    <a:lnTo>
                      <a:pt x="2853" y="2019"/>
                    </a:lnTo>
                    <a:lnTo>
                      <a:pt x="2848" y="2006"/>
                    </a:lnTo>
                    <a:lnTo>
                      <a:pt x="2846" y="1993"/>
                    </a:lnTo>
                    <a:lnTo>
                      <a:pt x="2845" y="1980"/>
                    </a:lnTo>
                    <a:lnTo>
                      <a:pt x="2845" y="1861"/>
                    </a:lnTo>
                    <a:lnTo>
                      <a:pt x="2807" y="1861"/>
                    </a:lnTo>
                    <a:lnTo>
                      <a:pt x="2807" y="1805"/>
                    </a:lnTo>
                    <a:lnTo>
                      <a:pt x="2845" y="1805"/>
                    </a:lnTo>
                    <a:lnTo>
                      <a:pt x="2845" y="1742"/>
                    </a:lnTo>
                    <a:lnTo>
                      <a:pt x="2905" y="1711"/>
                    </a:lnTo>
                    <a:lnTo>
                      <a:pt x="2905" y="1805"/>
                    </a:lnTo>
                    <a:lnTo>
                      <a:pt x="2960" y="1805"/>
                    </a:lnTo>
                    <a:lnTo>
                      <a:pt x="2960" y="1861"/>
                    </a:lnTo>
                    <a:lnTo>
                      <a:pt x="2905" y="1861"/>
                    </a:lnTo>
                    <a:lnTo>
                      <a:pt x="2905" y="1964"/>
                    </a:lnTo>
                    <a:close/>
                    <a:moveTo>
                      <a:pt x="2788" y="2043"/>
                    </a:moveTo>
                    <a:lnTo>
                      <a:pt x="2788" y="2043"/>
                    </a:lnTo>
                    <a:lnTo>
                      <a:pt x="2777" y="2048"/>
                    </a:lnTo>
                    <a:lnTo>
                      <a:pt x="2764" y="2052"/>
                    </a:lnTo>
                    <a:lnTo>
                      <a:pt x="2751" y="2054"/>
                    </a:lnTo>
                    <a:lnTo>
                      <a:pt x="2738" y="2055"/>
                    </a:lnTo>
                    <a:lnTo>
                      <a:pt x="2738" y="2055"/>
                    </a:lnTo>
                    <a:lnTo>
                      <a:pt x="2728" y="2054"/>
                    </a:lnTo>
                    <a:lnTo>
                      <a:pt x="2721" y="2053"/>
                    </a:lnTo>
                    <a:lnTo>
                      <a:pt x="2713" y="2051"/>
                    </a:lnTo>
                    <a:lnTo>
                      <a:pt x="2706" y="2048"/>
                    </a:lnTo>
                    <a:lnTo>
                      <a:pt x="2701" y="2045"/>
                    </a:lnTo>
                    <a:lnTo>
                      <a:pt x="2695" y="2041"/>
                    </a:lnTo>
                    <a:lnTo>
                      <a:pt x="2690" y="2036"/>
                    </a:lnTo>
                    <a:lnTo>
                      <a:pt x="2687" y="2030"/>
                    </a:lnTo>
                    <a:lnTo>
                      <a:pt x="2679" y="2019"/>
                    </a:lnTo>
                    <a:lnTo>
                      <a:pt x="2676" y="2006"/>
                    </a:lnTo>
                    <a:lnTo>
                      <a:pt x="2672" y="1993"/>
                    </a:lnTo>
                    <a:lnTo>
                      <a:pt x="2672" y="1980"/>
                    </a:lnTo>
                    <a:lnTo>
                      <a:pt x="2672" y="1861"/>
                    </a:lnTo>
                    <a:lnTo>
                      <a:pt x="2634" y="1861"/>
                    </a:lnTo>
                    <a:lnTo>
                      <a:pt x="2634" y="1805"/>
                    </a:lnTo>
                    <a:lnTo>
                      <a:pt x="2672" y="1805"/>
                    </a:lnTo>
                    <a:lnTo>
                      <a:pt x="2672" y="1742"/>
                    </a:lnTo>
                    <a:lnTo>
                      <a:pt x="2733" y="1711"/>
                    </a:lnTo>
                    <a:lnTo>
                      <a:pt x="2733" y="1805"/>
                    </a:lnTo>
                    <a:lnTo>
                      <a:pt x="2784" y="1805"/>
                    </a:lnTo>
                    <a:lnTo>
                      <a:pt x="2784" y="1861"/>
                    </a:lnTo>
                    <a:lnTo>
                      <a:pt x="2733" y="1861"/>
                    </a:lnTo>
                    <a:lnTo>
                      <a:pt x="2733" y="1964"/>
                    </a:lnTo>
                    <a:lnTo>
                      <a:pt x="2733" y="1964"/>
                    </a:lnTo>
                    <a:lnTo>
                      <a:pt x="2733" y="1973"/>
                    </a:lnTo>
                    <a:lnTo>
                      <a:pt x="2734" y="1979"/>
                    </a:lnTo>
                    <a:lnTo>
                      <a:pt x="2737" y="1985"/>
                    </a:lnTo>
                    <a:lnTo>
                      <a:pt x="2739" y="1990"/>
                    </a:lnTo>
                    <a:lnTo>
                      <a:pt x="2743" y="1993"/>
                    </a:lnTo>
                    <a:lnTo>
                      <a:pt x="2747" y="1996"/>
                    </a:lnTo>
                    <a:lnTo>
                      <a:pt x="2752" y="1997"/>
                    </a:lnTo>
                    <a:lnTo>
                      <a:pt x="2758" y="1997"/>
                    </a:lnTo>
                    <a:lnTo>
                      <a:pt x="2758" y="1997"/>
                    </a:lnTo>
                    <a:lnTo>
                      <a:pt x="2768" y="1997"/>
                    </a:lnTo>
                    <a:lnTo>
                      <a:pt x="2778" y="1995"/>
                    </a:lnTo>
                    <a:lnTo>
                      <a:pt x="2786" y="1991"/>
                    </a:lnTo>
                    <a:lnTo>
                      <a:pt x="2795" y="1986"/>
                    </a:lnTo>
                    <a:lnTo>
                      <a:pt x="2788" y="2043"/>
                    </a:lnTo>
                    <a:close/>
                    <a:moveTo>
                      <a:pt x="3384" y="1873"/>
                    </a:moveTo>
                    <a:lnTo>
                      <a:pt x="3384" y="1873"/>
                    </a:lnTo>
                    <a:lnTo>
                      <a:pt x="3376" y="1867"/>
                    </a:lnTo>
                    <a:lnTo>
                      <a:pt x="3366" y="1863"/>
                    </a:lnTo>
                    <a:lnTo>
                      <a:pt x="3355" y="1861"/>
                    </a:lnTo>
                    <a:lnTo>
                      <a:pt x="3344" y="1860"/>
                    </a:lnTo>
                    <a:lnTo>
                      <a:pt x="3344" y="1860"/>
                    </a:lnTo>
                    <a:lnTo>
                      <a:pt x="3334" y="1861"/>
                    </a:lnTo>
                    <a:lnTo>
                      <a:pt x="3325" y="1863"/>
                    </a:lnTo>
                    <a:lnTo>
                      <a:pt x="3317" y="1868"/>
                    </a:lnTo>
                    <a:lnTo>
                      <a:pt x="3311" y="1874"/>
                    </a:lnTo>
                    <a:lnTo>
                      <a:pt x="3306" y="1882"/>
                    </a:lnTo>
                    <a:lnTo>
                      <a:pt x="3304" y="1891"/>
                    </a:lnTo>
                    <a:lnTo>
                      <a:pt x="3302" y="1904"/>
                    </a:lnTo>
                    <a:lnTo>
                      <a:pt x="3300" y="1917"/>
                    </a:lnTo>
                    <a:lnTo>
                      <a:pt x="3300" y="2049"/>
                    </a:lnTo>
                    <a:lnTo>
                      <a:pt x="3241" y="2049"/>
                    </a:lnTo>
                    <a:lnTo>
                      <a:pt x="3241" y="1805"/>
                    </a:lnTo>
                    <a:lnTo>
                      <a:pt x="3300" y="1805"/>
                    </a:lnTo>
                    <a:lnTo>
                      <a:pt x="3300" y="1826"/>
                    </a:lnTo>
                    <a:lnTo>
                      <a:pt x="3300" y="1826"/>
                    </a:lnTo>
                    <a:lnTo>
                      <a:pt x="3306" y="1820"/>
                    </a:lnTo>
                    <a:lnTo>
                      <a:pt x="3313" y="1814"/>
                    </a:lnTo>
                    <a:lnTo>
                      <a:pt x="3319" y="1810"/>
                    </a:lnTo>
                    <a:lnTo>
                      <a:pt x="3326" y="1806"/>
                    </a:lnTo>
                    <a:lnTo>
                      <a:pt x="3332" y="1803"/>
                    </a:lnTo>
                    <a:lnTo>
                      <a:pt x="3339" y="1801"/>
                    </a:lnTo>
                    <a:lnTo>
                      <a:pt x="3347" y="1800"/>
                    </a:lnTo>
                    <a:lnTo>
                      <a:pt x="3355" y="1799"/>
                    </a:lnTo>
                    <a:lnTo>
                      <a:pt x="3355" y="1799"/>
                    </a:lnTo>
                    <a:lnTo>
                      <a:pt x="3367" y="1800"/>
                    </a:lnTo>
                    <a:lnTo>
                      <a:pt x="3379" y="1804"/>
                    </a:lnTo>
                    <a:lnTo>
                      <a:pt x="3390" y="1807"/>
                    </a:lnTo>
                    <a:lnTo>
                      <a:pt x="3400" y="1814"/>
                    </a:lnTo>
                    <a:lnTo>
                      <a:pt x="3384" y="1873"/>
                    </a:lnTo>
                    <a:close/>
                    <a:moveTo>
                      <a:pt x="653" y="1747"/>
                    </a:moveTo>
                    <a:lnTo>
                      <a:pt x="653" y="1770"/>
                    </a:lnTo>
                    <a:lnTo>
                      <a:pt x="592" y="1770"/>
                    </a:lnTo>
                    <a:lnTo>
                      <a:pt x="592" y="1709"/>
                    </a:lnTo>
                    <a:lnTo>
                      <a:pt x="653" y="1709"/>
                    </a:lnTo>
                    <a:lnTo>
                      <a:pt x="653" y="1747"/>
                    </a:lnTo>
                    <a:close/>
                    <a:moveTo>
                      <a:pt x="1073" y="1805"/>
                    </a:moveTo>
                    <a:lnTo>
                      <a:pt x="1134" y="1805"/>
                    </a:lnTo>
                    <a:lnTo>
                      <a:pt x="1134" y="1930"/>
                    </a:lnTo>
                    <a:lnTo>
                      <a:pt x="1134" y="2049"/>
                    </a:lnTo>
                    <a:lnTo>
                      <a:pt x="1073" y="2049"/>
                    </a:lnTo>
                    <a:lnTo>
                      <a:pt x="1073" y="1805"/>
                    </a:lnTo>
                    <a:close/>
                    <a:moveTo>
                      <a:pt x="1134" y="1739"/>
                    </a:moveTo>
                    <a:lnTo>
                      <a:pt x="1134" y="1770"/>
                    </a:lnTo>
                    <a:lnTo>
                      <a:pt x="1073" y="1770"/>
                    </a:lnTo>
                    <a:lnTo>
                      <a:pt x="1073" y="1709"/>
                    </a:lnTo>
                    <a:lnTo>
                      <a:pt x="1134" y="1709"/>
                    </a:lnTo>
                    <a:lnTo>
                      <a:pt x="1134" y="1739"/>
                    </a:lnTo>
                    <a:close/>
                    <a:moveTo>
                      <a:pt x="2796" y="2250"/>
                    </a:moveTo>
                    <a:lnTo>
                      <a:pt x="2796" y="2250"/>
                    </a:lnTo>
                    <a:lnTo>
                      <a:pt x="2790" y="2245"/>
                    </a:lnTo>
                    <a:lnTo>
                      <a:pt x="2784" y="2240"/>
                    </a:lnTo>
                    <a:lnTo>
                      <a:pt x="2778" y="2237"/>
                    </a:lnTo>
                    <a:lnTo>
                      <a:pt x="2771" y="2233"/>
                    </a:lnTo>
                    <a:lnTo>
                      <a:pt x="2764" y="2231"/>
                    </a:lnTo>
                    <a:lnTo>
                      <a:pt x="2757" y="2229"/>
                    </a:lnTo>
                    <a:lnTo>
                      <a:pt x="2741" y="2227"/>
                    </a:lnTo>
                    <a:lnTo>
                      <a:pt x="2741" y="2227"/>
                    </a:lnTo>
                    <a:lnTo>
                      <a:pt x="2730" y="2228"/>
                    </a:lnTo>
                    <a:lnTo>
                      <a:pt x="2721" y="2229"/>
                    </a:lnTo>
                    <a:lnTo>
                      <a:pt x="2711" y="2233"/>
                    </a:lnTo>
                    <a:lnTo>
                      <a:pt x="2701" y="2237"/>
                    </a:lnTo>
                    <a:lnTo>
                      <a:pt x="2693" y="2241"/>
                    </a:lnTo>
                    <a:lnTo>
                      <a:pt x="2685" y="2246"/>
                    </a:lnTo>
                    <a:lnTo>
                      <a:pt x="2678" y="2254"/>
                    </a:lnTo>
                    <a:lnTo>
                      <a:pt x="2671" y="2261"/>
                    </a:lnTo>
                    <a:lnTo>
                      <a:pt x="2666" y="2269"/>
                    </a:lnTo>
                    <a:lnTo>
                      <a:pt x="2660" y="2279"/>
                    </a:lnTo>
                    <a:lnTo>
                      <a:pt x="2656" y="2289"/>
                    </a:lnTo>
                    <a:lnTo>
                      <a:pt x="2653" y="2301"/>
                    </a:lnTo>
                    <a:lnTo>
                      <a:pt x="2649" y="2312"/>
                    </a:lnTo>
                    <a:lnTo>
                      <a:pt x="2648" y="2325"/>
                    </a:lnTo>
                    <a:lnTo>
                      <a:pt x="2647" y="2339"/>
                    </a:lnTo>
                    <a:lnTo>
                      <a:pt x="2645" y="2353"/>
                    </a:lnTo>
                    <a:lnTo>
                      <a:pt x="2645" y="2353"/>
                    </a:lnTo>
                    <a:lnTo>
                      <a:pt x="2647" y="2368"/>
                    </a:lnTo>
                    <a:lnTo>
                      <a:pt x="2648" y="2381"/>
                    </a:lnTo>
                    <a:lnTo>
                      <a:pt x="2649" y="2395"/>
                    </a:lnTo>
                    <a:lnTo>
                      <a:pt x="2653" y="2408"/>
                    </a:lnTo>
                    <a:lnTo>
                      <a:pt x="2655" y="2419"/>
                    </a:lnTo>
                    <a:lnTo>
                      <a:pt x="2660" y="2430"/>
                    </a:lnTo>
                    <a:lnTo>
                      <a:pt x="2665" y="2440"/>
                    </a:lnTo>
                    <a:lnTo>
                      <a:pt x="2671" y="2448"/>
                    </a:lnTo>
                    <a:lnTo>
                      <a:pt x="2677" y="2457"/>
                    </a:lnTo>
                    <a:lnTo>
                      <a:pt x="2684" y="2463"/>
                    </a:lnTo>
                    <a:lnTo>
                      <a:pt x="2692" y="2469"/>
                    </a:lnTo>
                    <a:lnTo>
                      <a:pt x="2700" y="2474"/>
                    </a:lnTo>
                    <a:lnTo>
                      <a:pt x="2710" y="2479"/>
                    </a:lnTo>
                    <a:lnTo>
                      <a:pt x="2720" y="2481"/>
                    </a:lnTo>
                    <a:lnTo>
                      <a:pt x="2729" y="2482"/>
                    </a:lnTo>
                    <a:lnTo>
                      <a:pt x="2740" y="2483"/>
                    </a:lnTo>
                    <a:lnTo>
                      <a:pt x="2740" y="2483"/>
                    </a:lnTo>
                    <a:lnTo>
                      <a:pt x="2747" y="2482"/>
                    </a:lnTo>
                    <a:lnTo>
                      <a:pt x="2756" y="2481"/>
                    </a:lnTo>
                    <a:lnTo>
                      <a:pt x="2763" y="2480"/>
                    </a:lnTo>
                    <a:lnTo>
                      <a:pt x="2769" y="2477"/>
                    </a:lnTo>
                    <a:lnTo>
                      <a:pt x="2777" y="2474"/>
                    </a:lnTo>
                    <a:lnTo>
                      <a:pt x="2784" y="2470"/>
                    </a:lnTo>
                    <a:lnTo>
                      <a:pt x="2790" y="2465"/>
                    </a:lnTo>
                    <a:lnTo>
                      <a:pt x="2796" y="2459"/>
                    </a:lnTo>
                    <a:lnTo>
                      <a:pt x="2796" y="2477"/>
                    </a:lnTo>
                    <a:lnTo>
                      <a:pt x="2857" y="2477"/>
                    </a:lnTo>
                    <a:lnTo>
                      <a:pt x="2857" y="2131"/>
                    </a:lnTo>
                    <a:lnTo>
                      <a:pt x="2796" y="2161"/>
                    </a:lnTo>
                    <a:lnTo>
                      <a:pt x="2796" y="2250"/>
                    </a:lnTo>
                    <a:close/>
                    <a:moveTo>
                      <a:pt x="2754" y="2427"/>
                    </a:moveTo>
                    <a:lnTo>
                      <a:pt x="2754" y="2427"/>
                    </a:lnTo>
                    <a:lnTo>
                      <a:pt x="2745" y="2426"/>
                    </a:lnTo>
                    <a:lnTo>
                      <a:pt x="2738" y="2424"/>
                    </a:lnTo>
                    <a:lnTo>
                      <a:pt x="2729" y="2420"/>
                    </a:lnTo>
                    <a:lnTo>
                      <a:pt x="2722" y="2413"/>
                    </a:lnTo>
                    <a:lnTo>
                      <a:pt x="2716" y="2403"/>
                    </a:lnTo>
                    <a:lnTo>
                      <a:pt x="2711" y="2390"/>
                    </a:lnTo>
                    <a:lnTo>
                      <a:pt x="2709" y="2373"/>
                    </a:lnTo>
                    <a:lnTo>
                      <a:pt x="2707" y="2351"/>
                    </a:lnTo>
                    <a:lnTo>
                      <a:pt x="2707" y="2351"/>
                    </a:lnTo>
                    <a:lnTo>
                      <a:pt x="2709" y="2333"/>
                    </a:lnTo>
                    <a:lnTo>
                      <a:pt x="2711" y="2317"/>
                    </a:lnTo>
                    <a:lnTo>
                      <a:pt x="2716" y="2305"/>
                    </a:lnTo>
                    <a:lnTo>
                      <a:pt x="2722" y="2296"/>
                    </a:lnTo>
                    <a:lnTo>
                      <a:pt x="2729" y="2290"/>
                    </a:lnTo>
                    <a:lnTo>
                      <a:pt x="2737" y="2285"/>
                    </a:lnTo>
                    <a:lnTo>
                      <a:pt x="2745" y="2284"/>
                    </a:lnTo>
                    <a:lnTo>
                      <a:pt x="2752" y="2283"/>
                    </a:lnTo>
                    <a:lnTo>
                      <a:pt x="2752" y="2283"/>
                    </a:lnTo>
                    <a:lnTo>
                      <a:pt x="2761" y="2284"/>
                    </a:lnTo>
                    <a:lnTo>
                      <a:pt x="2768" y="2285"/>
                    </a:lnTo>
                    <a:lnTo>
                      <a:pt x="2774" y="2288"/>
                    </a:lnTo>
                    <a:lnTo>
                      <a:pt x="2780" y="2291"/>
                    </a:lnTo>
                    <a:lnTo>
                      <a:pt x="2785" y="2295"/>
                    </a:lnTo>
                    <a:lnTo>
                      <a:pt x="2790" y="2299"/>
                    </a:lnTo>
                    <a:lnTo>
                      <a:pt x="2796" y="2307"/>
                    </a:lnTo>
                    <a:lnTo>
                      <a:pt x="2796" y="2403"/>
                    </a:lnTo>
                    <a:lnTo>
                      <a:pt x="2796" y="2403"/>
                    </a:lnTo>
                    <a:lnTo>
                      <a:pt x="2789" y="2412"/>
                    </a:lnTo>
                    <a:lnTo>
                      <a:pt x="2780" y="2419"/>
                    </a:lnTo>
                    <a:lnTo>
                      <a:pt x="2774" y="2423"/>
                    </a:lnTo>
                    <a:lnTo>
                      <a:pt x="2768" y="2425"/>
                    </a:lnTo>
                    <a:lnTo>
                      <a:pt x="2761" y="2426"/>
                    </a:lnTo>
                    <a:lnTo>
                      <a:pt x="2754" y="2427"/>
                    </a:lnTo>
                    <a:lnTo>
                      <a:pt x="2754" y="2427"/>
                    </a:lnTo>
                    <a:close/>
                    <a:moveTo>
                      <a:pt x="740" y="2301"/>
                    </a:moveTo>
                    <a:lnTo>
                      <a:pt x="740" y="2301"/>
                    </a:lnTo>
                    <a:lnTo>
                      <a:pt x="732" y="2296"/>
                    </a:lnTo>
                    <a:lnTo>
                      <a:pt x="722" y="2291"/>
                    </a:lnTo>
                    <a:lnTo>
                      <a:pt x="711" y="2289"/>
                    </a:lnTo>
                    <a:lnTo>
                      <a:pt x="700" y="2288"/>
                    </a:lnTo>
                    <a:lnTo>
                      <a:pt x="700" y="2288"/>
                    </a:lnTo>
                    <a:lnTo>
                      <a:pt x="690" y="2289"/>
                    </a:lnTo>
                    <a:lnTo>
                      <a:pt x="680" y="2291"/>
                    </a:lnTo>
                    <a:lnTo>
                      <a:pt x="673" y="2296"/>
                    </a:lnTo>
                    <a:lnTo>
                      <a:pt x="667" y="2302"/>
                    </a:lnTo>
                    <a:lnTo>
                      <a:pt x="662" y="2310"/>
                    </a:lnTo>
                    <a:lnTo>
                      <a:pt x="660" y="2319"/>
                    </a:lnTo>
                    <a:lnTo>
                      <a:pt x="657" y="2331"/>
                    </a:lnTo>
                    <a:lnTo>
                      <a:pt x="656" y="2345"/>
                    </a:lnTo>
                    <a:lnTo>
                      <a:pt x="656" y="2477"/>
                    </a:lnTo>
                    <a:lnTo>
                      <a:pt x="597" y="2477"/>
                    </a:lnTo>
                    <a:lnTo>
                      <a:pt x="597" y="2233"/>
                    </a:lnTo>
                    <a:lnTo>
                      <a:pt x="656" y="2233"/>
                    </a:lnTo>
                    <a:lnTo>
                      <a:pt x="656" y="2254"/>
                    </a:lnTo>
                    <a:lnTo>
                      <a:pt x="656" y="2254"/>
                    </a:lnTo>
                    <a:lnTo>
                      <a:pt x="662" y="2248"/>
                    </a:lnTo>
                    <a:lnTo>
                      <a:pt x="668" y="2241"/>
                    </a:lnTo>
                    <a:lnTo>
                      <a:pt x="674" y="2238"/>
                    </a:lnTo>
                    <a:lnTo>
                      <a:pt x="682" y="2234"/>
                    </a:lnTo>
                    <a:lnTo>
                      <a:pt x="688" y="2231"/>
                    </a:lnTo>
                    <a:lnTo>
                      <a:pt x="695" y="2229"/>
                    </a:lnTo>
                    <a:lnTo>
                      <a:pt x="704" y="2228"/>
                    </a:lnTo>
                    <a:lnTo>
                      <a:pt x="711" y="2227"/>
                    </a:lnTo>
                    <a:lnTo>
                      <a:pt x="711" y="2227"/>
                    </a:lnTo>
                    <a:lnTo>
                      <a:pt x="723" y="2228"/>
                    </a:lnTo>
                    <a:lnTo>
                      <a:pt x="735" y="2232"/>
                    </a:lnTo>
                    <a:lnTo>
                      <a:pt x="747" y="2237"/>
                    </a:lnTo>
                    <a:lnTo>
                      <a:pt x="757" y="2243"/>
                    </a:lnTo>
                    <a:lnTo>
                      <a:pt x="740" y="2301"/>
                    </a:lnTo>
                    <a:close/>
                    <a:moveTo>
                      <a:pt x="265" y="2233"/>
                    </a:moveTo>
                    <a:lnTo>
                      <a:pt x="324" y="2233"/>
                    </a:lnTo>
                    <a:lnTo>
                      <a:pt x="255" y="2477"/>
                    </a:lnTo>
                    <a:lnTo>
                      <a:pt x="203" y="2477"/>
                    </a:lnTo>
                    <a:lnTo>
                      <a:pt x="176" y="2376"/>
                    </a:lnTo>
                    <a:lnTo>
                      <a:pt x="176" y="2376"/>
                    </a:lnTo>
                    <a:lnTo>
                      <a:pt x="163" y="2323"/>
                    </a:lnTo>
                    <a:lnTo>
                      <a:pt x="163" y="2323"/>
                    </a:lnTo>
                    <a:lnTo>
                      <a:pt x="157" y="2348"/>
                    </a:lnTo>
                    <a:lnTo>
                      <a:pt x="149" y="2378"/>
                    </a:lnTo>
                    <a:lnTo>
                      <a:pt x="122" y="2477"/>
                    </a:lnTo>
                    <a:lnTo>
                      <a:pt x="69" y="2477"/>
                    </a:lnTo>
                    <a:lnTo>
                      <a:pt x="69" y="2476"/>
                    </a:lnTo>
                    <a:lnTo>
                      <a:pt x="0" y="2233"/>
                    </a:lnTo>
                    <a:lnTo>
                      <a:pt x="63" y="2233"/>
                    </a:lnTo>
                    <a:lnTo>
                      <a:pt x="85" y="2324"/>
                    </a:lnTo>
                    <a:lnTo>
                      <a:pt x="85" y="2324"/>
                    </a:lnTo>
                    <a:lnTo>
                      <a:pt x="91" y="2353"/>
                    </a:lnTo>
                    <a:lnTo>
                      <a:pt x="97" y="2384"/>
                    </a:lnTo>
                    <a:lnTo>
                      <a:pt x="97" y="2384"/>
                    </a:lnTo>
                    <a:lnTo>
                      <a:pt x="105" y="2353"/>
                    </a:lnTo>
                    <a:lnTo>
                      <a:pt x="112" y="2323"/>
                    </a:lnTo>
                    <a:lnTo>
                      <a:pt x="137" y="2233"/>
                    </a:lnTo>
                    <a:lnTo>
                      <a:pt x="190" y="2233"/>
                    </a:lnTo>
                    <a:lnTo>
                      <a:pt x="215" y="2323"/>
                    </a:lnTo>
                    <a:lnTo>
                      <a:pt x="215" y="2323"/>
                    </a:lnTo>
                    <a:lnTo>
                      <a:pt x="222" y="2352"/>
                    </a:lnTo>
                    <a:lnTo>
                      <a:pt x="230" y="2385"/>
                    </a:lnTo>
                    <a:lnTo>
                      <a:pt x="230" y="2385"/>
                    </a:lnTo>
                    <a:lnTo>
                      <a:pt x="235" y="2357"/>
                    </a:lnTo>
                    <a:lnTo>
                      <a:pt x="242" y="2323"/>
                    </a:lnTo>
                    <a:lnTo>
                      <a:pt x="265" y="2233"/>
                    </a:lnTo>
                    <a:close/>
                    <a:moveTo>
                      <a:pt x="447" y="2227"/>
                    </a:moveTo>
                    <a:lnTo>
                      <a:pt x="447" y="2227"/>
                    </a:lnTo>
                    <a:lnTo>
                      <a:pt x="436" y="2228"/>
                    </a:lnTo>
                    <a:lnTo>
                      <a:pt x="424" y="2229"/>
                    </a:lnTo>
                    <a:lnTo>
                      <a:pt x="413" y="2233"/>
                    </a:lnTo>
                    <a:lnTo>
                      <a:pt x="403" y="2237"/>
                    </a:lnTo>
                    <a:lnTo>
                      <a:pt x="394" y="2241"/>
                    </a:lnTo>
                    <a:lnTo>
                      <a:pt x="384" y="2248"/>
                    </a:lnTo>
                    <a:lnTo>
                      <a:pt x="375" y="2255"/>
                    </a:lnTo>
                    <a:lnTo>
                      <a:pt x="368" y="2263"/>
                    </a:lnTo>
                    <a:lnTo>
                      <a:pt x="361" y="2272"/>
                    </a:lnTo>
                    <a:lnTo>
                      <a:pt x="355" y="2282"/>
                    </a:lnTo>
                    <a:lnTo>
                      <a:pt x="349" y="2293"/>
                    </a:lnTo>
                    <a:lnTo>
                      <a:pt x="345" y="2303"/>
                    </a:lnTo>
                    <a:lnTo>
                      <a:pt x="341" y="2316"/>
                    </a:lnTo>
                    <a:lnTo>
                      <a:pt x="339" y="2328"/>
                    </a:lnTo>
                    <a:lnTo>
                      <a:pt x="337" y="2341"/>
                    </a:lnTo>
                    <a:lnTo>
                      <a:pt x="337" y="2356"/>
                    </a:lnTo>
                    <a:lnTo>
                      <a:pt x="337" y="2356"/>
                    </a:lnTo>
                    <a:lnTo>
                      <a:pt x="337" y="2369"/>
                    </a:lnTo>
                    <a:lnTo>
                      <a:pt x="339" y="2382"/>
                    </a:lnTo>
                    <a:lnTo>
                      <a:pt x="341" y="2395"/>
                    </a:lnTo>
                    <a:lnTo>
                      <a:pt x="345" y="2407"/>
                    </a:lnTo>
                    <a:lnTo>
                      <a:pt x="349" y="2418"/>
                    </a:lnTo>
                    <a:lnTo>
                      <a:pt x="355" y="2429"/>
                    </a:lnTo>
                    <a:lnTo>
                      <a:pt x="361" y="2438"/>
                    </a:lnTo>
                    <a:lnTo>
                      <a:pt x="368" y="2447"/>
                    </a:lnTo>
                    <a:lnTo>
                      <a:pt x="375" y="2455"/>
                    </a:lnTo>
                    <a:lnTo>
                      <a:pt x="384" y="2463"/>
                    </a:lnTo>
                    <a:lnTo>
                      <a:pt x="394" y="2469"/>
                    </a:lnTo>
                    <a:lnTo>
                      <a:pt x="403" y="2474"/>
                    </a:lnTo>
                    <a:lnTo>
                      <a:pt x="413" y="2477"/>
                    </a:lnTo>
                    <a:lnTo>
                      <a:pt x="424" y="2481"/>
                    </a:lnTo>
                    <a:lnTo>
                      <a:pt x="436" y="2482"/>
                    </a:lnTo>
                    <a:lnTo>
                      <a:pt x="447" y="2483"/>
                    </a:lnTo>
                    <a:lnTo>
                      <a:pt x="447" y="2483"/>
                    </a:lnTo>
                    <a:lnTo>
                      <a:pt x="459" y="2482"/>
                    </a:lnTo>
                    <a:lnTo>
                      <a:pt x="471" y="2481"/>
                    </a:lnTo>
                    <a:lnTo>
                      <a:pt x="482" y="2477"/>
                    </a:lnTo>
                    <a:lnTo>
                      <a:pt x="492" y="2474"/>
                    </a:lnTo>
                    <a:lnTo>
                      <a:pt x="502" y="2469"/>
                    </a:lnTo>
                    <a:lnTo>
                      <a:pt x="512" y="2463"/>
                    </a:lnTo>
                    <a:lnTo>
                      <a:pt x="520" y="2455"/>
                    </a:lnTo>
                    <a:lnTo>
                      <a:pt x="527" y="2447"/>
                    </a:lnTo>
                    <a:lnTo>
                      <a:pt x="535" y="2438"/>
                    </a:lnTo>
                    <a:lnTo>
                      <a:pt x="541" y="2429"/>
                    </a:lnTo>
                    <a:lnTo>
                      <a:pt x="546" y="2418"/>
                    </a:lnTo>
                    <a:lnTo>
                      <a:pt x="550" y="2407"/>
                    </a:lnTo>
                    <a:lnTo>
                      <a:pt x="554" y="2395"/>
                    </a:lnTo>
                    <a:lnTo>
                      <a:pt x="557" y="2382"/>
                    </a:lnTo>
                    <a:lnTo>
                      <a:pt x="559" y="2369"/>
                    </a:lnTo>
                    <a:lnTo>
                      <a:pt x="559" y="2356"/>
                    </a:lnTo>
                    <a:lnTo>
                      <a:pt x="559" y="2356"/>
                    </a:lnTo>
                    <a:lnTo>
                      <a:pt x="559" y="2341"/>
                    </a:lnTo>
                    <a:lnTo>
                      <a:pt x="557" y="2328"/>
                    </a:lnTo>
                    <a:lnTo>
                      <a:pt x="554" y="2316"/>
                    </a:lnTo>
                    <a:lnTo>
                      <a:pt x="550" y="2303"/>
                    </a:lnTo>
                    <a:lnTo>
                      <a:pt x="546" y="2293"/>
                    </a:lnTo>
                    <a:lnTo>
                      <a:pt x="541" y="2282"/>
                    </a:lnTo>
                    <a:lnTo>
                      <a:pt x="535" y="2272"/>
                    </a:lnTo>
                    <a:lnTo>
                      <a:pt x="527" y="2263"/>
                    </a:lnTo>
                    <a:lnTo>
                      <a:pt x="520" y="2255"/>
                    </a:lnTo>
                    <a:lnTo>
                      <a:pt x="512" y="2248"/>
                    </a:lnTo>
                    <a:lnTo>
                      <a:pt x="502" y="2241"/>
                    </a:lnTo>
                    <a:lnTo>
                      <a:pt x="492" y="2237"/>
                    </a:lnTo>
                    <a:lnTo>
                      <a:pt x="482" y="2233"/>
                    </a:lnTo>
                    <a:lnTo>
                      <a:pt x="471" y="2229"/>
                    </a:lnTo>
                    <a:lnTo>
                      <a:pt x="459" y="2228"/>
                    </a:lnTo>
                    <a:lnTo>
                      <a:pt x="447" y="2227"/>
                    </a:lnTo>
                    <a:lnTo>
                      <a:pt x="447" y="2227"/>
                    </a:lnTo>
                    <a:close/>
                    <a:moveTo>
                      <a:pt x="447" y="2426"/>
                    </a:moveTo>
                    <a:lnTo>
                      <a:pt x="447" y="2426"/>
                    </a:lnTo>
                    <a:lnTo>
                      <a:pt x="436" y="2425"/>
                    </a:lnTo>
                    <a:lnTo>
                      <a:pt x="427" y="2421"/>
                    </a:lnTo>
                    <a:lnTo>
                      <a:pt x="419" y="2415"/>
                    </a:lnTo>
                    <a:lnTo>
                      <a:pt x="412" y="2407"/>
                    </a:lnTo>
                    <a:lnTo>
                      <a:pt x="406" y="2397"/>
                    </a:lnTo>
                    <a:lnTo>
                      <a:pt x="401" y="2385"/>
                    </a:lnTo>
                    <a:lnTo>
                      <a:pt x="399" y="2370"/>
                    </a:lnTo>
                    <a:lnTo>
                      <a:pt x="399" y="2356"/>
                    </a:lnTo>
                    <a:lnTo>
                      <a:pt x="399" y="2356"/>
                    </a:lnTo>
                    <a:lnTo>
                      <a:pt x="399" y="2340"/>
                    </a:lnTo>
                    <a:lnTo>
                      <a:pt x="401" y="2325"/>
                    </a:lnTo>
                    <a:lnTo>
                      <a:pt x="406" y="2314"/>
                    </a:lnTo>
                    <a:lnTo>
                      <a:pt x="412" y="2303"/>
                    </a:lnTo>
                    <a:lnTo>
                      <a:pt x="419" y="2295"/>
                    </a:lnTo>
                    <a:lnTo>
                      <a:pt x="427" y="2289"/>
                    </a:lnTo>
                    <a:lnTo>
                      <a:pt x="436" y="2285"/>
                    </a:lnTo>
                    <a:lnTo>
                      <a:pt x="447" y="2284"/>
                    </a:lnTo>
                    <a:lnTo>
                      <a:pt x="447" y="2284"/>
                    </a:lnTo>
                    <a:lnTo>
                      <a:pt x="458" y="2285"/>
                    </a:lnTo>
                    <a:lnTo>
                      <a:pt x="468" y="2289"/>
                    </a:lnTo>
                    <a:lnTo>
                      <a:pt x="476" y="2295"/>
                    </a:lnTo>
                    <a:lnTo>
                      <a:pt x="484" y="2303"/>
                    </a:lnTo>
                    <a:lnTo>
                      <a:pt x="490" y="2314"/>
                    </a:lnTo>
                    <a:lnTo>
                      <a:pt x="493" y="2325"/>
                    </a:lnTo>
                    <a:lnTo>
                      <a:pt x="496" y="2340"/>
                    </a:lnTo>
                    <a:lnTo>
                      <a:pt x="497" y="2356"/>
                    </a:lnTo>
                    <a:lnTo>
                      <a:pt x="497" y="2356"/>
                    </a:lnTo>
                    <a:lnTo>
                      <a:pt x="496" y="2370"/>
                    </a:lnTo>
                    <a:lnTo>
                      <a:pt x="493" y="2385"/>
                    </a:lnTo>
                    <a:lnTo>
                      <a:pt x="490" y="2397"/>
                    </a:lnTo>
                    <a:lnTo>
                      <a:pt x="484" y="2407"/>
                    </a:lnTo>
                    <a:lnTo>
                      <a:pt x="476" y="2415"/>
                    </a:lnTo>
                    <a:lnTo>
                      <a:pt x="468" y="2421"/>
                    </a:lnTo>
                    <a:lnTo>
                      <a:pt x="458" y="2425"/>
                    </a:lnTo>
                    <a:lnTo>
                      <a:pt x="447" y="2426"/>
                    </a:lnTo>
                    <a:lnTo>
                      <a:pt x="447" y="2426"/>
                    </a:lnTo>
                    <a:close/>
                    <a:moveTo>
                      <a:pt x="2498" y="2301"/>
                    </a:moveTo>
                    <a:lnTo>
                      <a:pt x="2498" y="2301"/>
                    </a:lnTo>
                    <a:lnTo>
                      <a:pt x="2489" y="2296"/>
                    </a:lnTo>
                    <a:lnTo>
                      <a:pt x="2479" y="2291"/>
                    </a:lnTo>
                    <a:lnTo>
                      <a:pt x="2468" y="2289"/>
                    </a:lnTo>
                    <a:lnTo>
                      <a:pt x="2458" y="2288"/>
                    </a:lnTo>
                    <a:lnTo>
                      <a:pt x="2458" y="2288"/>
                    </a:lnTo>
                    <a:lnTo>
                      <a:pt x="2447" y="2289"/>
                    </a:lnTo>
                    <a:lnTo>
                      <a:pt x="2439" y="2291"/>
                    </a:lnTo>
                    <a:lnTo>
                      <a:pt x="2432" y="2296"/>
                    </a:lnTo>
                    <a:lnTo>
                      <a:pt x="2425" y="2302"/>
                    </a:lnTo>
                    <a:lnTo>
                      <a:pt x="2421" y="2310"/>
                    </a:lnTo>
                    <a:lnTo>
                      <a:pt x="2417" y="2319"/>
                    </a:lnTo>
                    <a:lnTo>
                      <a:pt x="2415" y="2331"/>
                    </a:lnTo>
                    <a:lnTo>
                      <a:pt x="2415" y="2345"/>
                    </a:lnTo>
                    <a:lnTo>
                      <a:pt x="2415" y="2477"/>
                    </a:lnTo>
                    <a:lnTo>
                      <a:pt x="2354" y="2477"/>
                    </a:lnTo>
                    <a:lnTo>
                      <a:pt x="2354" y="2233"/>
                    </a:lnTo>
                    <a:lnTo>
                      <a:pt x="2415" y="2233"/>
                    </a:lnTo>
                    <a:lnTo>
                      <a:pt x="2415" y="2254"/>
                    </a:lnTo>
                    <a:lnTo>
                      <a:pt x="2415" y="2254"/>
                    </a:lnTo>
                    <a:lnTo>
                      <a:pt x="2419" y="2248"/>
                    </a:lnTo>
                    <a:lnTo>
                      <a:pt x="2425" y="2241"/>
                    </a:lnTo>
                    <a:lnTo>
                      <a:pt x="2432" y="2238"/>
                    </a:lnTo>
                    <a:lnTo>
                      <a:pt x="2439" y="2234"/>
                    </a:lnTo>
                    <a:lnTo>
                      <a:pt x="2446" y="2231"/>
                    </a:lnTo>
                    <a:lnTo>
                      <a:pt x="2453" y="2229"/>
                    </a:lnTo>
                    <a:lnTo>
                      <a:pt x="2461" y="2228"/>
                    </a:lnTo>
                    <a:lnTo>
                      <a:pt x="2468" y="2227"/>
                    </a:lnTo>
                    <a:lnTo>
                      <a:pt x="2468" y="2227"/>
                    </a:lnTo>
                    <a:lnTo>
                      <a:pt x="2480" y="2228"/>
                    </a:lnTo>
                    <a:lnTo>
                      <a:pt x="2492" y="2232"/>
                    </a:lnTo>
                    <a:lnTo>
                      <a:pt x="2504" y="2237"/>
                    </a:lnTo>
                    <a:lnTo>
                      <a:pt x="2514" y="2243"/>
                    </a:lnTo>
                    <a:lnTo>
                      <a:pt x="2498" y="2301"/>
                    </a:lnTo>
                    <a:close/>
                    <a:moveTo>
                      <a:pt x="2022" y="2233"/>
                    </a:moveTo>
                    <a:lnTo>
                      <a:pt x="2082" y="2233"/>
                    </a:lnTo>
                    <a:lnTo>
                      <a:pt x="2012" y="2477"/>
                    </a:lnTo>
                    <a:lnTo>
                      <a:pt x="1960" y="2477"/>
                    </a:lnTo>
                    <a:lnTo>
                      <a:pt x="1933" y="2376"/>
                    </a:lnTo>
                    <a:lnTo>
                      <a:pt x="1933" y="2376"/>
                    </a:lnTo>
                    <a:lnTo>
                      <a:pt x="1920" y="2323"/>
                    </a:lnTo>
                    <a:lnTo>
                      <a:pt x="1920" y="2323"/>
                    </a:lnTo>
                    <a:lnTo>
                      <a:pt x="1914" y="2348"/>
                    </a:lnTo>
                    <a:lnTo>
                      <a:pt x="1907" y="2378"/>
                    </a:lnTo>
                    <a:lnTo>
                      <a:pt x="1880" y="2477"/>
                    </a:lnTo>
                    <a:lnTo>
                      <a:pt x="1828" y="2477"/>
                    </a:lnTo>
                    <a:lnTo>
                      <a:pt x="1826" y="2476"/>
                    </a:lnTo>
                    <a:lnTo>
                      <a:pt x="1758" y="2233"/>
                    </a:lnTo>
                    <a:lnTo>
                      <a:pt x="1820" y="2233"/>
                    </a:lnTo>
                    <a:lnTo>
                      <a:pt x="1843" y="2324"/>
                    </a:lnTo>
                    <a:lnTo>
                      <a:pt x="1843" y="2324"/>
                    </a:lnTo>
                    <a:lnTo>
                      <a:pt x="1849" y="2353"/>
                    </a:lnTo>
                    <a:lnTo>
                      <a:pt x="1856" y="2384"/>
                    </a:lnTo>
                    <a:lnTo>
                      <a:pt x="1856" y="2384"/>
                    </a:lnTo>
                    <a:lnTo>
                      <a:pt x="1862" y="2353"/>
                    </a:lnTo>
                    <a:lnTo>
                      <a:pt x="1870" y="2323"/>
                    </a:lnTo>
                    <a:lnTo>
                      <a:pt x="1896" y="2233"/>
                    </a:lnTo>
                    <a:lnTo>
                      <a:pt x="1947" y="2233"/>
                    </a:lnTo>
                    <a:lnTo>
                      <a:pt x="1972" y="2323"/>
                    </a:lnTo>
                    <a:lnTo>
                      <a:pt x="1972" y="2323"/>
                    </a:lnTo>
                    <a:lnTo>
                      <a:pt x="1979" y="2352"/>
                    </a:lnTo>
                    <a:lnTo>
                      <a:pt x="1987" y="2385"/>
                    </a:lnTo>
                    <a:lnTo>
                      <a:pt x="1987" y="2385"/>
                    </a:lnTo>
                    <a:lnTo>
                      <a:pt x="1993" y="2357"/>
                    </a:lnTo>
                    <a:lnTo>
                      <a:pt x="2000" y="2323"/>
                    </a:lnTo>
                    <a:lnTo>
                      <a:pt x="2022" y="2233"/>
                    </a:lnTo>
                    <a:close/>
                    <a:moveTo>
                      <a:pt x="2204" y="2227"/>
                    </a:moveTo>
                    <a:lnTo>
                      <a:pt x="2204" y="2227"/>
                    </a:lnTo>
                    <a:lnTo>
                      <a:pt x="2193" y="2228"/>
                    </a:lnTo>
                    <a:lnTo>
                      <a:pt x="2181" y="2229"/>
                    </a:lnTo>
                    <a:lnTo>
                      <a:pt x="2170" y="2233"/>
                    </a:lnTo>
                    <a:lnTo>
                      <a:pt x="2161" y="2237"/>
                    </a:lnTo>
                    <a:lnTo>
                      <a:pt x="2151" y="2241"/>
                    </a:lnTo>
                    <a:lnTo>
                      <a:pt x="2141" y="2249"/>
                    </a:lnTo>
                    <a:lnTo>
                      <a:pt x="2133" y="2255"/>
                    </a:lnTo>
                    <a:lnTo>
                      <a:pt x="2125" y="2263"/>
                    </a:lnTo>
                    <a:lnTo>
                      <a:pt x="2118" y="2272"/>
                    </a:lnTo>
                    <a:lnTo>
                      <a:pt x="2112" y="2282"/>
                    </a:lnTo>
                    <a:lnTo>
                      <a:pt x="2106" y="2293"/>
                    </a:lnTo>
                    <a:lnTo>
                      <a:pt x="2102" y="2303"/>
                    </a:lnTo>
                    <a:lnTo>
                      <a:pt x="2099" y="2316"/>
                    </a:lnTo>
                    <a:lnTo>
                      <a:pt x="2095" y="2329"/>
                    </a:lnTo>
                    <a:lnTo>
                      <a:pt x="2094" y="2341"/>
                    </a:lnTo>
                    <a:lnTo>
                      <a:pt x="2094" y="2356"/>
                    </a:lnTo>
                    <a:lnTo>
                      <a:pt x="2094" y="2356"/>
                    </a:lnTo>
                    <a:lnTo>
                      <a:pt x="2094" y="2369"/>
                    </a:lnTo>
                    <a:lnTo>
                      <a:pt x="2095" y="2382"/>
                    </a:lnTo>
                    <a:lnTo>
                      <a:pt x="2099" y="2395"/>
                    </a:lnTo>
                    <a:lnTo>
                      <a:pt x="2102" y="2407"/>
                    </a:lnTo>
                    <a:lnTo>
                      <a:pt x="2106" y="2418"/>
                    </a:lnTo>
                    <a:lnTo>
                      <a:pt x="2112" y="2429"/>
                    </a:lnTo>
                    <a:lnTo>
                      <a:pt x="2118" y="2438"/>
                    </a:lnTo>
                    <a:lnTo>
                      <a:pt x="2125" y="2447"/>
                    </a:lnTo>
                    <a:lnTo>
                      <a:pt x="2133" y="2455"/>
                    </a:lnTo>
                    <a:lnTo>
                      <a:pt x="2141" y="2463"/>
                    </a:lnTo>
                    <a:lnTo>
                      <a:pt x="2151" y="2469"/>
                    </a:lnTo>
                    <a:lnTo>
                      <a:pt x="2161" y="2474"/>
                    </a:lnTo>
                    <a:lnTo>
                      <a:pt x="2170" y="2477"/>
                    </a:lnTo>
                    <a:lnTo>
                      <a:pt x="2181" y="2481"/>
                    </a:lnTo>
                    <a:lnTo>
                      <a:pt x="2193" y="2482"/>
                    </a:lnTo>
                    <a:lnTo>
                      <a:pt x="2204" y="2483"/>
                    </a:lnTo>
                    <a:lnTo>
                      <a:pt x="2204" y="2483"/>
                    </a:lnTo>
                    <a:lnTo>
                      <a:pt x="2216" y="2482"/>
                    </a:lnTo>
                    <a:lnTo>
                      <a:pt x="2229" y="2481"/>
                    </a:lnTo>
                    <a:lnTo>
                      <a:pt x="2240" y="2477"/>
                    </a:lnTo>
                    <a:lnTo>
                      <a:pt x="2249" y="2474"/>
                    </a:lnTo>
                    <a:lnTo>
                      <a:pt x="2259" y="2469"/>
                    </a:lnTo>
                    <a:lnTo>
                      <a:pt x="2269" y="2463"/>
                    </a:lnTo>
                    <a:lnTo>
                      <a:pt x="2277" y="2455"/>
                    </a:lnTo>
                    <a:lnTo>
                      <a:pt x="2284" y="2447"/>
                    </a:lnTo>
                    <a:lnTo>
                      <a:pt x="2292" y="2438"/>
                    </a:lnTo>
                    <a:lnTo>
                      <a:pt x="2298" y="2429"/>
                    </a:lnTo>
                    <a:lnTo>
                      <a:pt x="2303" y="2418"/>
                    </a:lnTo>
                    <a:lnTo>
                      <a:pt x="2308" y="2407"/>
                    </a:lnTo>
                    <a:lnTo>
                      <a:pt x="2311" y="2395"/>
                    </a:lnTo>
                    <a:lnTo>
                      <a:pt x="2314" y="2382"/>
                    </a:lnTo>
                    <a:lnTo>
                      <a:pt x="2316" y="2369"/>
                    </a:lnTo>
                    <a:lnTo>
                      <a:pt x="2316" y="2356"/>
                    </a:lnTo>
                    <a:lnTo>
                      <a:pt x="2316" y="2356"/>
                    </a:lnTo>
                    <a:lnTo>
                      <a:pt x="2316" y="2341"/>
                    </a:lnTo>
                    <a:lnTo>
                      <a:pt x="2314" y="2329"/>
                    </a:lnTo>
                    <a:lnTo>
                      <a:pt x="2311" y="2316"/>
                    </a:lnTo>
                    <a:lnTo>
                      <a:pt x="2308" y="2303"/>
                    </a:lnTo>
                    <a:lnTo>
                      <a:pt x="2303" y="2293"/>
                    </a:lnTo>
                    <a:lnTo>
                      <a:pt x="2298" y="2282"/>
                    </a:lnTo>
                    <a:lnTo>
                      <a:pt x="2292" y="2272"/>
                    </a:lnTo>
                    <a:lnTo>
                      <a:pt x="2284" y="2263"/>
                    </a:lnTo>
                    <a:lnTo>
                      <a:pt x="2277" y="2255"/>
                    </a:lnTo>
                    <a:lnTo>
                      <a:pt x="2269" y="2249"/>
                    </a:lnTo>
                    <a:lnTo>
                      <a:pt x="2259" y="2241"/>
                    </a:lnTo>
                    <a:lnTo>
                      <a:pt x="2249" y="2237"/>
                    </a:lnTo>
                    <a:lnTo>
                      <a:pt x="2240" y="2233"/>
                    </a:lnTo>
                    <a:lnTo>
                      <a:pt x="2229" y="2229"/>
                    </a:lnTo>
                    <a:lnTo>
                      <a:pt x="2216" y="2228"/>
                    </a:lnTo>
                    <a:lnTo>
                      <a:pt x="2204" y="2227"/>
                    </a:lnTo>
                    <a:lnTo>
                      <a:pt x="2204" y="2227"/>
                    </a:lnTo>
                    <a:close/>
                    <a:moveTo>
                      <a:pt x="2204" y="2426"/>
                    </a:moveTo>
                    <a:lnTo>
                      <a:pt x="2204" y="2426"/>
                    </a:lnTo>
                    <a:lnTo>
                      <a:pt x="2193" y="2425"/>
                    </a:lnTo>
                    <a:lnTo>
                      <a:pt x="2185" y="2421"/>
                    </a:lnTo>
                    <a:lnTo>
                      <a:pt x="2176" y="2415"/>
                    </a:lnTo>
                    <a:lnTo>
                      <a:pt x="2169" y="2407"/>
                    </a:lnTo>
                    <a:lnTo>
                      <a:pt x="2163" y="2397"/>
                    </a:lnTo>
                    <a:lnTo>
                      <a:pt x="2158" y="2385"/>
                    </a:lnTo>
                    <a:lnTo>
                      <a:pt x="2156" y="2370"/>
                    </a:lnTo>
                    <a:lnTo>
                      <a:pt x="2156" y="2356"/>
                    </a:lnTo>
                    <a:lnTo>
                      <a:pt x="2156" y="2356"/>
                    </a:lnTo>
                    <a:lnTo>
                      <a:pt x="2156" y="2340"/>
                    </a:lnTo>
                    <a:lnTo>
                      <a:pt x="2158" y="2327"/>
                    </a:lnTo>
                    <a:lnTo>
                      <a:pt x="2163" y="2314"/>
                    </a:lnTo>
                    <a:lnTo>
                      <a:pt x="2169" y="2303"/>
                    </a:lnTo>
                    <a:lnTo>
                      <a:pt x="2176" y="2295"/>
                    </a:lnTo>
                    <a:lnTo>
                      <a:pt x="2185" y="2289"/>
                    </a:lnTo>
                    <a:lnTo>
                      <a:pt x="2193" y="2285"/>
                    </a:lnTo>
                    <a:lnTo>
                      <a:pt x="2204" y="2284"/>
                    </a:lnTo>
                    <a:lnTo>
                      <a:pt x="2204" y="2284"/>
                    </a:lnTo>
                    <a:lnTo>
                      <a:pt x="2215" y="2285"/>
                    </a:lnTo>
                    <a:lnTo>
                      <a:pt x="2225" y="2289"/>
                    </a:lnTo>
                    <a:lnTo>
                      <a:pt x="2233" y="2295"/>
                    </a:lnTo>
                    <a:lnTo>
                      <a:pt x="2241" y="2303"/>
                    </a:lnTo>
                    <a:lnTo>
                      <a:pt x="2247" y="2314"/>
                    </a:lnTo>
                    <a:lnTo>
                      <a:pt x="2250" y="2327"/>
                    </a:lnTo>
                    <a:lnTo>
                      <a:pt x="2253" y="2340"/>
                    </a:lnTo>
                    <a:lnTo>
                      <a:pt x="2254" y="2356"/>
                    </a:lnTo>
                    <a:lnTo>
                      <a:pt x="2254" y="2356"/>
                    </a:lnTo>
                    <a:lnTo>
                      <a:pt x="2253" y="2370"/>
                    </a:lnTo>
                    <a:lnTo>
                      <a:pt x="2250" y="2385"/>
                    </a:lnTo>
                    <a:lnTo>
                      <a:pt x="2247" y="2397"/>
                    </a:lnTo>
                    <a:lnTo>
                      <a:pt x="2241" y="2407"/>
                    </a:lnTo>
                    <a:lnTo>
                      <a:pt x="2233" y="2415"/>
                    </a:lnTo>
                    <a:lnTo>
                      <a:pt x="2225" y="2421"/>
                    </a:lnTo>
                    <a:lnTo>
                      <a:pt x="2215" y="2425"/>
                    </a:lnTo>
                    <a:lnTo>
                      <a:pt x="2204" y="2426"/>
                    </a:lnTo>
                    <a:lnTo>
                      <a:pt x="2204" y="2426"/>
                    </a:lnTo>
                    <a:close/>
                    <a:moveTo>
                      <a:pt x="921" y="2313"/>
                    </a:moveTo>
                    <a:lnTo>
                      <a:pt x="995" y="2477"/>
                    </a:lnTo>
                    <a:lnTo>
                      <a:pt x="928" y="2477"/>
                    </a:lnTo>
                    <a:lnTo>
                      <a:pt x="877" y="2364"/>
                    </a:lnTo>
                    <a:lnTo>
                      <a:pt x="845" y="2404"/>
                    </a:lnTo>
                    <a:lnTo>
                      <a:pt x="845" y="2477"/>
                    </a:lnTo>
                    <a:lnTo>
                      <a:pt x="785" y="2477"/>
                    </a:lnTo>
                    <a:lnTo>
                      <a:pt x="785" y="2161"/>
                    </a:lnTo>
                    <a:lnTo>
                      <a:pt x="845" y="2131"/>
                    </a:lnTo>
                    <a:lnTo>
                      <a:pt x="845" y="2327"/>
                    </a:lnTo>
                    <a:lnTo>
                      <a:pt x="845" y="2327"/>
                    </a:lnTo>
                    <a:lnTo>
                      <a:pt x="868" y="2295"/>
                    </a:lnTo>
                    <a:lnTo>
                      <a:pt x="916" y="2233"/>
                    </a:lnTo>
                    <a:lnTo>
                      <a:pt x="987" y="2233"/>
                    </a:lnTo>
                    <a:lnTo>
                      <a:pt x="921" y="2313"/>
                    </a:lnTo>
                    <a:close/>
                    <a:moveTo>
                      <a:pt x="1208" y="2477"/>
                    </a:moveTo>
                    <a:lnTo>
                      <a:pt x="1147" y="2477"/>
                    </a:lnTo>
                    <a:lnTo>
                      <a:pt x="1147" y="2233"/>
                    </a:lnTo>
                    <a:lnTo>
                      <a:pt x="1208" y="2233"/>
                    </a:lnTo>
                    <a:lnTo>
                      <a:pt x="1208" y="2254"/>
                    </a:lnTo>
                    <a:lnTo>
                      <a:pt x="1208" y="2254"/>
                    </a:lnTo>
                    <a:lnTo>
                      <a:pt x="1214" y="2248"/>
                    </a:lnTo>
                    <a:lnTo>
                      <a:pt x="1220" y="2243"/>
                    </a:lnTo>
                    <a:lnTo>
                      <a:pt x="1227" y="2238"/>
                    </a:lnTo>
                    <a:lnTo>
                      <a:pt x="1235" y="2234"/>
                    </a:lnTo>
                    <a:lnTo>
                      <a:pt x="1243" y="2232"/>
                    </a:lnTo>
                    <a:lnTo>
                      <a:pt x="1252" y="2229"/>
                    </a:lnTo>
                    <a:lnTo>
                      <a:pt x="1260" y="2228"/>
                    </a:lnTo>
                    <a:lnTo>
                      <a:pt x="1270" y="2227"/>
                    </a:lnTo>
                    <a:lnTo>
                      <a:pt x="1270" y="2227"/>
                    </a:lnTo>
                    <a:lnTo>
                      <a:pt x="1281" y="2228"/>
                    </a:lnTo>
                    <a:lnTo>
                      <a:pt x="1290" y="2229"/>
                    </a:lnTo>
                    <a:lnTo>
                      <a:pt x="1299" y="2232"/>
                    </a:lnTo>
                    <a:lnTo>
                      <a:pt x="1309" y="2234"/>
                    </a:lnTo>
                    <a:lnTo>
                      <a:pt x="1316" y="2239"/>
                    </a:lnTo>
                    <a:lnTo>
                      <a:pt x="1323" y="2244"/>
                    </a:lnTo>
                    <a:lnTo>
                      <a:pt x="1331" y="2249"/>
                    </a:lnTo>
                    <a:lnTo>
                      <a:pt x="1337" y="2256"/>
                    </a:lnTo>
                    <a:lnTo>
                      <a:pt x="1342" y="2263"/>
                    </a:lnTo>
                    <a:lnTo>
                      <a:pt x="1346" y="2272"/>
                    </a:lnTo>
                    <a:lnTo>
                      <a:pt x="1350" y="2280"/>
                    </a:lnTo>
                    <a:lnTo>
                      <a:pt x="1354" y="2291"/>
                    </a:lnTo>
                    <a:lnTo>
                      <a:pt x="1356" y="2302"/>
                    </a:lnTo>
                    <a:lnTo>
                      <a:pt x="1357" y="2313"/>
                    </a:lnTo>
                    <a:lnTo>
                      <a:pt x="1359" y="2325"/>
                    </a:lnTo>
                    <a:lnTo>
                      <a:pt x="1360" y="2339"/>
                    </a:lnTo>
                    <a:lnTo>
                      <a:pt x="1360" y="2477"/>
                    </a:lnTo>
                    <a:lnTo>
                      <a:pt x="1299" y="2477"/>
                    </a:lnTo>
                    <a:lnTo>
                      <a:pt x="1299" y="2342"/>
                    </a:lnTo>
                    <a:lnTo>
                      <a:pt x="1299" y="2342"/>
                    </a:lnTo>
                    <a:lnTo>
                      <a:pt x="1298" y="2329"/>
                    </a:lnTo>
                    <a:lnTo>
                      <a:pt x="1297" y="2316"/>
                    </a:lnTo>
                    <a:lnTo>
                      <a:pt x="1293" y="2306"/>
                    </a:lnTo>
                    <a:lnTo>
                      <a:pt x="1288" y="2297"/>
                    </a:lnTo>
                    <a:lnTo>
                      <a:pt x="1282" y="2291"/>
                    </a:lnTo>
                    <a:lnTo>
                      <a:pt x="1275" y="2286"/>
                    </a:lnTo>
                    <a:lnTo>
                      <a:pt x="1265" y="2284"/>
                    </a:lnTo>
                    <a:lnTo>
                      <a:pt x="1254" y="2283"/>
                    </a:lnTo>
                    <a:lnTo>
                      <a:pt x="1254" y="2283"/>
                    </a:lnTo>
                    <a:lnTo>
                      <a:pt x="1244" y="2284"/>
                    </a:lnTo>
                    <a:lnTo>
                      <a:pt x="1235" y="2286"/>
                    </a:lnTo>
                    <a:lnTo>
                      <a:pt x="1226" y="2291"/>
                    </a:lnTo>
                    <a:lnTo>
                      <a:pt x="1220" y="2299"/>
                    </a:lnTo>
                    <a:lnTo>
                      <a:pt x="1215" y="2306"/>
                    </a:lnTo>
                    <a:lnTo>
                      <a:pt x="1212" y="2317"/>
                    </a:lnTo>
                    <a:lnTo>
                      <a:pt x="1209" y="2329"/>
                    </a:lnTo>
                    <a:lnTo>
                      <a:pt x="1208" y="2342"/>
                    </a:lnTo>
                    <a:lnTo>
                      <a:pt x="1208" y="2477"/>
                    </a:lnTo>
                    <a:close/>
                    <a:moveTo>
                      <a:pt x="1551" y="2250"/>
                    </a:moveTo>
                    <a:lnTo>
                      <a:pt x="1551" y="2250"/>
                    </a:lnTo>
                    <a:lnTo>
                      <a:pt x="1544" y="2245"/>
                    </a:lnTo>
                    <a:lnTo>
                      <a:pt x="1538" y="2240"/>
                    </a:lnTo>
                    <a:lnTo>
                      <a:pt x="1532" y="2237"/>
                    </a:lnTo>
                    <a:lnTo>
                      <a:pt x="1525" y="2233"/>
                    </a:lnTo>
                    <a:lnTo>
                      <a:pt x="1518" y="2231"/>
                    </a:lnTo>
                    <a:lnTo>
                      <a:pt x="1510" y="2229"/>
                    </a:lnTo>
                    <a:lnTo>
                      <a:pt x="1503" y="2228"/>
                    </a:lnTo>
                    <a:lnTo>
                      <a:pt x="1496" y="2227"/>
                    </a:lnTo>
                    <a:lnTo>
                      <a:pt x="1496" y="2227"/>
                    </a:lnTo>
                    <a:lnTo>
                      <a:pt x="1485" y="2228"/>
                    </a:lnTo>
                    <a:lnTo>
                      <a:pt x="1475" y="2229"/>
                    </a:lnTo>
                    <a:lnTo>
                      <a:pt x="1465" y="2232"/>
                    </a:lnTo>
                    <a:lnTo>
                      <a:pt x="1456" y="2237"/>
                    </a:lnTo>
                    <a:lnTo>
                      <a:pt x="1447" y="2240"/>
                    </a:lnTo>
                    <a:lnTo>
                      <a:pt x="1440" y="2246"/>
                    </a:lnTo>
                    <a:lnTo>
                      <a:pt x="1433" y="2254"/>
                    </a:lnTo>
                    <a:lnTo>
                      <a:pt x="1425" y="2261"/>
                    </a:lnTo>
                    <a:lnTo>
                      <a:pt x="1419" y="2269"/>
                    </a:lnTo>
                    <a:lnTo>
                      <a:pt x="1414" y="2279"/>
                    </a:lnTo>
                    <a:lnTo>
                      <a:pt x="1410" y="2289"/>
                    </a:lnTo>
                    <a:lnTo>
                      <a:pt x="1406" y="2301"/>
                    </a:lnTo>
                    <a:lnTo>
                      <a:pt x="1404" y="2312"/>
                    </a:lnTo>
                    <a:lnTo>
                      <a:pt x="1401" y="2325"/>
                    </a:lnTo>
                    <a:lnTo>
                      <a:pt x="1400" y="2339"/>
                    </a:lnTo>
                    <a:lnTo>
                      <a:pt x="1400" y="2352"/>
                    </a:lnTo>
                    <a:lnTo>
                      <a:pt x="1400" y="2352"/>
                    </a:lnTo>
                    <a:lnTo>
                      <a:pt x="1400" y="2368"/>
                    </a:lnTo>
                    <a:lnTo>
                      <a:pt x="1401" y="2381"/>
                    </a:lnTo>
                    <a:lnTo>
                      <a:pt x="1404" y="2395"/>
                    </a:lnTo>
                    <a:lnTo>
                      <a:pt x="1406" y="2408"/>
                    </a:lnTo>
                    <a:lnTo>
                      <a:pt x="1410" y="2419"/>
                    </a:lnTo>
                    <a:lnTo>
                      <a:pt x="1414" y="2430"/>
                    </a:lnTo>
                    <a:lnTo>
                      <a:pt x="1419" y="2440"/>
                    </a:lnTo>
                    <a:lnTo>
                      <a:pt x="1425" y="2448"/>
                    </a:lnTo>
                    <a:lnTo>
                      <a:pt x="1431" y="2457"/>
                    </a:lnTo>
                    <a:lnTo>
                      <a:pt x="1439" y="2463"/>
                    </a:lnTo>
                    <a:lnTo>
                      <a:pt x="1446" y="2469"/>
                    </a:lnTo>
                    <a:lnTo>
                      <a:pt x="1455" y="2474"/>
                    </a:lnTo>
                    <a:lnTo>
                      <a:pt x="1464" y="2477"/>
                    </a:lnTo>
                    <a:lnTo>
                      <a:pt x="1474" y="2481"/>
                    </a:lnTo>
                    <a:lnTo>
                      <a:pt x="1484" y="2482"/>
                    </a:lnTo>
                    <a:lnTo>
                      <a:pt x="1495" y="2483"/>
                    </a:lnTo>
                    <a:lnTo>
                      <a:pt x="1495" y="2483"/>
                    </a:lnTo>
                    <a:lnTo>
                      <a:pt x="1502" y="2482"/>
                    </a:lnTo>
                    <a:lnTo>
                      <a:pt x="1510" y="2481"/>
                    </a:lnTo>
                    <a:lnTo>
                      <a:pt x="1518" y="2480"/>
                    </a:lnTo>
                    <a:lnTo>
                      <a:pt x="1525" y="2477"/>
                    </a:lnTo>
                    <a:lnTo>
                      <a:pt x="1531" y="2474"/>
                    </a:lnTo>
                    <a:lnTo>
                      <a:pt x="1538" y="2470"/>
                    </a:lnTo>
                    <a:lnTo>
                      <a:pt x="1544" y="2465"/>
                    </a:lnTo>
                    <a:lnTo>
                      <a:pt x="1551" y="2459"/>
                    </a:lnTo>
                    <a:lnTo>
                      <a:pt x="1551" y="2465"/>
                    </a:lnTo>
                    <a:lnTo>
                      <a:pt x="1551" y="2465"/>
                    </a:lnTo>
                    <a:lnTo>
                      <a:pt x="1551" y="2475"/>
                    </a:lnTo>
                    <a:lnTo>
                      <a:pt x="1549" y="2486"/>
                    </a:lnTo>
                    <a:lnTo>
                      <a:pt x="1546" y="2497"/>
                    </a:lnTo>
                    <a:lnTo>
                      <a:pt x="1543" y="2502"/>
                    </a:lnTo>
                    <a:lnTo>
                      <a:pt x="1541" y="2506"/>
                    </a:lnTo>
                    <a:lnTo>
                      <a:pt x="1536" y="2511"/>
                    </a:lnTo>
                    <a:lnTo>
                      <a:pt x="1531" y="2516"/>
                    </a:lnTo>
                    <a:lnTo>
                      <a:pt x="1525" y="2520"/>
                    </a:lnTo>
                    <a:lnTo>
                      <a:pt x="1518" y="2524"/>
                    </a:lnTo>
                    <a:lnTo>
                      <a:pt x="1508" y="2526"/>
                    </a:lnTo>
                    <a:lnTo>
                      <a:pt x="1498" y="2528"/>
                    </a:lnTo>
                    <a:lnTo>
                      <a:pt x="1486" y="2530"/>
                    </a:lnTo>
                    <a:lnTo>
                      <a:pt x="1472" y="2530"/>
                    </a:lnTo>
                    <a:lnTo>
                      <a:pt x="1469" y="2530"/>
                    </a:lnTo>
                    <a:lnTo>
                      <a:pt x="1491" y="2577"/>
                    </a:lnTo>
                    <a:lnTo>
                      <a:pt x="1492" y="2577"/>
                    </a:lnTo>
                    <a:lnTo>
                      <a:pt x="1492" y="2577"/>
                    </a:lnTo>
                    <a:lnTo>
                      <a:pt x="1507" y="2577"/>
                    </a:lnTo>
                    <a:lnTo>
                      <a:pt x="1520" y="2576"/>
                    </a:lnTo>
                    <a:lnTo>
                      <a:pt x="1532" y="2572"/>
                    </a:lnTo>
                    <a:lnTo>
                      <a:pt x="1544" y="2570"/>
                    </a:lnTo>
                    <a:lnTo>
                      <a:pt x="1555" y="2565"/>
                    </a:lnTo>
                    <a:lnTo>
                      <a:pt x="1565" y="2560"/>
                    </a:lnTo>
                    <a:lnTo>
                      <a:pt x="1574" y="2554"/>
                    </a:lnTo>
                    <a:lnTo>
                      <a:pt x="1581" y="2547"/>
                    </a:lnTo>
                    <a:lnTo>
                      <a:pt x="1588" y="2538"/>
                    </a:lnTo>
                    <a:lnTo>
                      <a:pt x="1594" y="2530"/>
                    </a:lnTo>
                    <a:lnTo>
                      <a:pt x="1599" y="2519"/>
                    </a:lnTo>
                    <a:lnTo>
                      <a:pt x="1603" y="2508"/>
                    </a:lnTo>
                    <a:lnTo>
                      <a:pt x="1606" y="2497"/>
                    </a:lnTo>
                    <a:lnTo>
                      <a:pt x="1609" y="2483"/>
                    </a:lnTo>
                    <a:lnTo>
                      <a:pt x="1610" y="2470"/>
                    </a:lnTo>
                    <a:lnTo>
                      <a:pt x="1610" y="2455"/>
                    </a:lnTo>
                    <a:lnTo>
                      <a:pt x="1610" y="2233"/>
                    </a:lnTo>
                    <a:lnTo>
                      <a:pt x="1551" y="2233"/>
                    </a:lnTo>
                    <a:lnTo>
                      <a:pt x="1551" y="2250"/>
                    </a:lnTo>
                    <a:close/>
                    <a:moveTo>
                      <a:pt x="1551" y="2307"/>
                    </a:moveTo>
                    <a:lnTo>
                      <a:pt x="1551" y="2403"/>
                    </a:lnTo>
                    <a:lnTo>
                      <a:pt x="1551" y="2403"/>
                    </a:lnTo>
                    <a:lnTo>
                      <a:pt x="1542" y="2412"/>
                    </a:lnTo>
                    <a:lnTo>
                      <a:pt x="1534" y="2420"/>
                    </a:lnTo>
                    <a:lnTo>
                      <a:pt x="1527" y="2423"/>
                    </a:lnTo>
                    <a:lnTo>
                      <a:pt x="1521" y="2425"/>
                    </a:lnTo>
                    <a:lnTo>
                      <a:pt x="1515" y="2426"/>
                    </a:lnTo>
                    <a:lnTo>
                      <a:pt x="1507" y="2427"/>
                    </a:lnTo>
                    <a:lnTo>
                      <a:pt x="1507" y="2427"/>
                    </a:lnTo>
                    <a:lnTo>
                      <a:pt x="1499" y="2426"/>
                    </a:lnTo>
                    <a:lnTo>
                      <a:pt x="1491" y="2424"/>
                    </a:lnTo>
                    <a:lnTo>
                      <a:pt x="1484" y="2420"/>
                    </a:lnTo>
                    <a:lnTo>
                      <a:pt x="1476" y="2413"/>
                    </a:lnTo>
                    <a:lnTo>
                      <a:pt x="1470" y="2403"/>
                    </a:lnTo>
                    <a:lnTo>
                      <a:pt x="1465" y="2390"/>
                    </a:lnTo>
                    <a:lnTo>
                      <a:pt x="1463" y="2373"/>
                    </a:lnTo>
                    <a:lnTo>
                      <a:pt x="1462" y="2351"/>
                    </a:lnTo>
                    <a:lnTo>
                      <a:pt x="1462" y="2351"/>
                    </a:lnTo>
                    <a:lnTo>
                      <a:pt x="1463" y="2333"/>
                    </a:lnTo>
                    <a:lnTo>
                      <a:pt x="1465" y="2317"/>
                    </a:lnTo>
                    <a:lnTo>
                      <a:pt x="1470" y="2305"/>
                    </a:lnTo>
                    <a:lnTo>
                      <a:pt x="1476" y="2296"/>
                    </a:lnTo>
                    <a:lnTo>
                      <a:pt x="1484" y="2290"/>
                    </a:lnTo>
                    <a:lnTo>
                      <a:pt x="1491" y="2285"/>
                    </a:lnTo>
                    <a:lnTo>
                      <a:pt x="1499" y="2284"/>
                    </a:lnTo>
                    <a:lnTo>
                      <a:pt x="1507" y="2283"/>
                    </a:lnTo>
                    <a:lnTo>
                      <a:pt x="1507" y="2283"/>
                    </a:lnTo>
                    <a:lnTo>
                      <a:pt x="1515" y="2284"/>
                    </a:lnTo>
                    <a:lnTo>
                      <a:pt x="1523" y="2285"/>
                    </a:lnTo>
                    <a:lnTo>
                      <a:pt x="1529" y="2288"/>
                    </a:lnTo>
                    <a:lnTo>
                      <a:pt x="1535" y="2291"/>
                    </a:lnTo>
                    <a:lnTo>
                      <a:pt x="1540" y="2295"/>
                    </a:lnTo>
                    <a:lnTo>
                      <a:pt x="1543" y="2299"/>
                    </a:lnTo>
                    <a:lnTo>
                      <a:pt x="1551" y="2307"/>
                    </a:lnTo>
                    <a:lnTo>
                      <a:pt x="1551" y="2307"/>
                    </a:lnTo>
                    <a:close/>
                    <a:moveTo>
                      <a:pt x="1033" y="2233"/>
                    </a:moveTo>
                    <a:lnTo>
                      <a:pt x="1094" y="2233"/>
                    </a:lnTo>
                    <a:lnTo>
                      <a:pt x="1094" y="2341"/>
                    </a:lnTo>
                    <a:lnTo>
                      <a:pt x="1094" y="2477"/>
                    </a:lnTo>
                    <a:lnTo>
                      <a:pt x="1033" y="2477"/>
                    </a:lnTo>
                    <a:lnTo>
                      <a:pt x="1033" y="2233"/>
                    </a:lnTo>
                    <a:close/>
                    <a:moveTo>
                      <a:pt x="1094" y="2167"/>
                    </a:moveTo>
                    <a:lnTo>
                      <a:pt x="1094" y="2198"/>
                    </a:lnTo>
                    <a:lnTo>
                      <a:pt x="1033" y="2198"/>
                    </a:lnTo>
                    <a:lnTo>
                      <a:pt x="1033" y="2137"/>
                    </a:lnTo>
                    <a:lnTo>
                      <a:pt x="1094" y="2137"/>
                    </a:lnTo>
                    <a:lnTo>
                      <a:pt x="1094" y="2167"/>
                    </a:lnTo>
                    <a:close/>
                    <a:moveTo>
                      <a:pt x="2542" y="2161"/>
                    </a:moveTo>
                    <a:lnTo>
                      <a:pt x="2603" y="2131"/>
                    </a:lnTo>
                    <a:lnTo>
                      <a:pt x="2603" y="2352"/>
                    </a:lnTo>
                    <a:lnTo>
                      <a:pt x="2603" y="2477"/>
                    </a:lnTo>
                    <a:lnTo>
                      <a:pt x="2542" y="2477"/>
                    </a:lnTo>
                    <a:lnTo>
                      <a:pt x="2542" y="2161"/>
                    </a:lnTo>
                    <a:close/>
                    <a:moveTo>
                      <a:pt x="437" y="834"/>
                    </a:moveTo>
                    <a:lnTo>
                      <a:pt x="936" y="834"/>
                    </a:lnTo>
                    <a:lnTo>
                      <a:pt x="936" y="544"/>
                    </a:lnTo>
                    <a:lnTo>
                      <a:pt x="437" y="544"/>
                    </a:lnTo>
                    <a:lnTo>
                      <a:pt x="437" y="317"/>
                    </a:lnTo>
                    <a:lnTo>
                      <a:pt x="989" y="317"/>
                    </a:lnTo>
                    <a:lnTo>
                      <a:pt x="806" y="0"/>
                    </a:lnTo>
                    <a:lnTo>
                      <a:pt x="24" y="0"/>
                    </a:lnTo>
                    <a:lnTo>
                      <a:pt x="24" y="1378"/>
                    </a:lnTo>
                    <a:lnTo>
                      <a:pt x="1126" y="1378"/>
                    </a:lnTo>
                    <a:lnTo>
                      <a:pt x="1126" y="1061"/>
                    </a:lnTo>
                    <a:lnTo>
                      <a:pt x="437" y="1061"/>
                    </a:lnTo>
                    <a:lnTo>
                      <a:pt x="437" y="834"/>
                    </a:lnTo>
                    <a:close/>
                    <a:moveTo>
                      <a:pt x="1860" y="0"/>
                    </a:moveTo>
                    <a:lnTo>
                      <a:pt x="1626" y="450"/>
                    </a:lnTo>
                    <a:lnTo>
                      <a:pt x="1393" y="0"/>
                    </a:lnTo>
                    <a:lnTo>
                      <a:pt x="936" y="0"/>
                    </a:lnTo>
                    <a:lnTo>
                      <a:pt x="1417" y="834"/>
                    </a:lnTo>
                    <a:lnTo>
                      <a:pt x="1417" y="1378"/>
                    </a:lnTo>
                    <a:lnTo>
                      <a:pt x="1829" y="1378"/>
                    </a:lnTo>
                    <a:lnTo>
                      <a:pt x="1829" y="834"/>
                    </a:lnTo>
                    <a:lnTo>
                      <a:pt x="2311" y="0"/>
                    </a:lnTo>
                    <a:lnTo>
                      <a:pt x="18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</p:grpSp>
        <p:sp>
          <p:nvSpPr>
            <p:cNvPr id="118" name="Content Placeholder 5">
              <a:extLst>
                <a:ext uri="{FF2B5EF4-FFF2-40B4-BE49-F238E27FC236}">
                  <a16:creationId xmlns:a16="http://schemas.microsoft.com/office/drawing/2014/main" id="{88178862-80FE-4C56-80D9-25DF25690F6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28588" y="-12187"/>
              <a:ext cx="799089" cy="310587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b="1" kern="0" err="1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Context</a:t>
              </a: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 &amp; Scope</a:t>
              </a:r>
            </a:p>
          </p:txBody>
        </p:sp>
        <p:sp>
          <p:nvSpPr>
            <p:cNvPr id="119" name="Content Placeholder 5">
              <a:extLst>
                <a:ext uri="{FF2B5EF4-FFF2-40B4-BE49-F238E27FC236}">
                  <a16:creationId xmlns:a16="http://schemas.microsoft.com/office/drawing/2014/main" id="{6DADBEBD-7F14-44FA-A6DD-5A8A5FB6FF1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653573" y="1246"/>
              <a:ext cx="1008804" cy="283721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en-US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 Timeline</a:t>
              </a:r>
            </a:p>
          </p:txBody>
        </p:sp>
        <p:sp>
          <p:nvSpPr>
            <p:cNvPr id="120" name="Content Placeholder 5">
              <a:extLst>
                <a:ext uri="{FF2B5EF4-FFF2-40B4-BE49-F238E27FC236}">
                  <a16:creationId xmlns:a16="http://schemas.microsoft.com/office/drawing/2014/main" id="{85455306-DECD-4482-BF63-52147CE0044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77810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Detailed Scope &amp; Assumptions</a:t>
              </a:r>
            </a:p>
          </p:txBody>
        </p:sp>
        <p:sp>
          <p:nvSpPr>
            <p:cNvPr id="121" name="Content Placeholder 5">
              <a:extLst>
                <a:ext uri="{FF2B5EF4-FFF2-40B4-BE49-F238E27FC236}">
                  <a16:creationId xmlns:a16="http://schemas.microsoft.com/office/drawing/2014/main" id="{41F8A71D-6597-438E-9663-BECBF53F1E3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97101" y="47457"/>
              <a:ext cx="1279397" cy="191298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</a:rPr>
                <a:t>Proposed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</a:rPr>
                <a:t> Solution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</a:rPr>
                <a:t>Approach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122" name="Content Placeholder 5">
              <a:extLst>
                <a:ext uri="{FF2B5EF4-FFF2-40B4-BE49-F238E27FC236}">
                  <a16:creationId xmlns:a16="http://schemas.microsoft.com/office/drawing/2014/main" id="{3FF6A409-1B45-4B38-8510-07FE7486E29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45922" y="75112"/>
              <a:ext cx="1138227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ject Team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Governance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123" name="Content Placeholder 5">
              <a:extLst>
                <a:ext uri="{FF2B5EF4-FFF2-40B4-BE49-F238E27FC236}">
                  <a16:creationId xmlns:a16="http://schemas.microsoft.com/office/drawing/2014/main" id="{AA3DAB50-F0BD-448A-A023-8C5500CB91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31801" y="75112"/>
              <a:ext cx="1097554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Value Proposition</a:t>
              </a:r>
            </a:p>
          </p:txBody>
        </p:sp>
        <p:sp>
          <p:nvSpPr>
            <p:cNvPr id="124" name="Content Placeholder 5">
              <a:extLst>
                <a:ext uri="{FF2B5EF4-FFF2-40B4-BE49-F238E27FC236}">
                  <a16:creationId xmlns:a16="http://schemas.microsoft.com/office/drawing/2014/main" id="{332FC236-AF4A-47DC-B8FF-CA4F9357A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734717" y="79567"/>
              <a:ext cx="773670" cy="12707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Teams Profiles</a:t>
              </a:r>
            </a:p>
          </p:txBody>
        </p:sp>
        <p:sp>
          <p:nvSpPr>
            <p:cNvPr id="125" name="Content Placeholder 5">
              <a:extLst>
                <a:ext uri="{FF2B5EF4-FFF2-40B4-BE49-F238E27FC236}">
                  <a16:creationId xmlns:a16="http://schemas.microsoft.com/office/drawing/2014/main" id="{FF27ACF5-982C-4CE6-907C-8F9A49047C0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98779" y="54928"/>
              <a:ext cx="866515" cy="1763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Credentials</a:t>
              </a:r>
            </a:p>
          </p:txBody>
        </p:sp>
        <p:sp>
          <p:nvSpPr>
            <p:cNvPr id="36" name="Content Placeholder 5">
              <a:extLst>
                <a:ext uri="{FF2B5EF4-FFF2-40B4-BE49-F238E27FC236}">
                  <a16:creationId xmlns:a16="http://schemas.microsoft.com/office/drawing/2014/main" id="{317047FF-BE61-4A66-A979-3EFEC6C5C51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229765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end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70500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952" y="6327648"/>
            <a:ext cx="536672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501002" y="1488927"/>
            <a:ext cx="311785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396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9001" y="2526765"/>
            <a:ext cx="7056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28" lvl="0" indent="-26732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001" y="4632765"/>
            <a:ext cx="7056000" cy="316838"/>
          </a:xfrm>
        </p:spPr>
        <p:txBody>
          <a:bodyPr lIns="90000" tIns="46800" rIns="90000" bIns="46800"/>
          <a:lstStyle>
            <a:lvl1pPr marL="0" indent="0" algn="l" defTabSz="685457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7328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001" y="4971442"/>
            <a:ext cx="7056000" cy="316838"/>
          </a:xfrm>
        </p:spPr>
        <p:txBody>
          <a:bodyPr lIns="90000" tIns="46800" rIns="90000" bIns="46800"/>
          <a:lstStyle>
            <a:lvl1pPr marL="0" indent="0" algn="l" defTabSz="685457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7328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2602778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4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00389">
              <a:defRPr>
                <a:solidFill>
                  <a:schemeClr val="bg1"/>
                </a:solidFill>
              </a:defRPr>
            </a:lvl2pPr>
            <a:lvl3pPr marL="400779">
              <a:defRPr>
                <a:solidFill>
                  <a:schemeClr val="bg1"/>
                </a:solidFill>
              </a:defRPr>
            </a:lvl3pPr>
            <a:lvl4pPr marL="601168">
              <a:defRPr>
                <a:solidFill>
                  <a:schemeClr val="bg1"/>
                </a:solidFill>
              </a:defRPr>
            </a:lvl4pPr>
            <a:lvl5pPr marL="801557"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Line 11">
            <a:extLst>
              <a:ext uri="{FF2B5EF4-FFF2-40B4-BE49-F238E27FC236}">
                <a16:creationId xmlns:a16="http://schemas.microsoft.com/office/drawing/2014/main" id="{95EDADD0-A4AE-43D1-A8CA-F0D422EBF99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6242400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0DC4E272-5E22-4B3C-94CE-7BFF319FA14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3" y="907750"/>
            <a:ext cx="11011709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B26A883D-CB1B-44DF-B864-E08C3B09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9009D85F-FCA3-430D-9DE7-15726AAD19A7}" type="datetime3">
              <a:rPr lang="en-US" smtClean="0"/>
              <a:t>2 July 2025</a:t>
            </a:fld>
            <a:endParaRPr lang="en-IN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18928-6D8C-4DEF-879C-4C4BB7FFA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D804FC6-AE5A-4130-8CE6-82D0878A8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84153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Line 11">
            <a:extLst>
              <a:ext uri="{FF2B5EF4-FFF2-40B4-BE49-F238E27FC236}">
                <a16:creationId xmlns:a16="http://schemas.microsoft.com/office/drawing/2014/main" id="{7E606BA7-787F-40CD-BB00-3AEC32420A7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6242400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8E9B660A-29E5-49A2-9D87-2D7C78CC114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3" y="907750"/>
            <a:ext cx="11011709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7E05A20-B63F-4056-AEB2-E204776449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E40DEA52-5ACD-455D-A5D0-FA719880D0C9}" type="datetime3">
              <a:rPr lang="en-US" smtClean="0"/>
              <a:t>2 July 2025</a:t>
            </a:fld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49782F-FB67-472E-B457-A8D4FC322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84EC9CE-483F-4F19-937D-371A9A1279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021772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011"/>
            </a:lvl6pPr>
            <a:lvl7pPr>
              <a:defRPr sz="1011"/>
            </a:lvl7pPr>
            <a:lvl8pPr>
              <a:defRPr sz="1011"/>
            </a:lvl8pPr>
            <a:lvl9pPr>
              <a:defRPr sz="1011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2" y="1137919"/>
            <a:ext cx="5384800" cy="48348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049">
                <a:solidFill>
                  <a:schemeClr val="bg1"/>
                </a:solidFill>
              </a:defRPr>
            </a:lvl3pPr>
            <a:lvl4pPr>
              <a:defRPr sz="119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011"/>
            </a:lvl6pPr>
            <a:lvl7pPr>
              <a:defRPr sz="1011"/>
            </a:lvl7pPr>
            <a:lvl8pPr>
              <a:defRPr sz="1011"/>
            </a:lvl8pPr>
            <a:lvl9pPr>
              <a:defRPr sz="1011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0C976817-4856-4880-A98A-B5A5C7C5542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3" y="907750"/>
            <a:ext cx="11011709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AD8D47-C5CC-46B5-80A6-DC3E17F40E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A513D75D-FE2A-4AE4-84E8-26A2D7A851BF}" type="datetime3">
              <a:rPr lang="en-US" smtClean="0"/>
              <a:t>2 July 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B2D722-DDE7-4179-BC15-25906CAE0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4756507-1FEF-43F0-A228-A0F4A38D3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69763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6"/>
            <a:ext cx="5390400" cy="4256075"/>
          </a:xfrm>
        </p:spPr>
        <p:txBody>
          <a:bodyPr/>
          <a:lstStyle>
            <a:lvl1pPr>
              <a:defRPr sz="1123">
                <a:solidFill>
                  <a:schemeClr val="bg1"/>
                </a:solidFill>
              </a:defRPr>
            </a:lvl1pPr>
            <a:lvl2pPr>
              <a:defRPr sz="1011">
                <a:solidFill>
                  <a:schemeClr val="bg1"/>
                </a:solidFill>
              </a:defRPr>
            </a:lvl2pPr>
            <a:lvl3pPr>
              <a:defRPr sz="899">
                <a:solidFill>
                  <a:schemeClr val="bg1"/>
                </a:solidFill>
              </a:defRPr>
            </a:lvl3pPr>
            <a:lvl4pPr>
              <a:defRPr sz="787">
                <a:solidFill>
                  <a:schemeClr val="bg1"/>
                </a:solidFill>
              </a:defRPr>
            </a:lvl4pPr>
            <a:lvl5pPr>
              <a:defRPr sz="675">
                <a:solidFill>
                  <a:schemeClr val="bg1"/>
                </a:solidFill>
              </a:defRPr>
            </a:lvl5pPr>
            <a:lvl6pPr>
              <a:defRPr sz="1011"/>
            </a:lvl6pPr>
            <a:lvl7pPr>
              <a:defRPr sz="1011"/>
            </a:lvl7pPr>
            <a:lvl8pPr>
              <a:defRPr sz="1011"/>
            </a:lvl8pPr>
            <a:lvl9pPr>
              <a:defRPr sz="1011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6"/>
            <a:ext cx="5390400" cy="4256075"/>
          </a:xfrm>
        </p:spPr>
        <p:txBody>
          <a:bodyPr/>
          <a:lstStyle>
            <a:lvl1pPr>
              <a:defRPr sz="1123">
                <a:solidFill>
                  <a:schemeClr val="bg1"/>
                </a:solidFill>
              </a:defRPr>
            </a:lvl1pPr>
            <a:lvl2pPr>
              <a:defRPr sz="1011">
                <a:solidFill>
                  <a:schemeClr val="bg1"/>
                </a:solidFill>
              </a:defRPr>
            </a:lvl2pPr>
            <a:lvl3pPr>
              <a:defRPr sz="899">
                <a:solidFill>
                  <a:schemeClr val="bg1"/>
                </a:solidFill>
              </a:defRPr>
            </a:lvl3pPr>
            <a:lvl4pPr>
              <a:defRPr sz="787">
                <a:solidFill>
                  <a:schemeClr val="bg1"/>
                </a:solidFill>
              </a:defRPr>
            </a:lvl4pPr>
            <a:lvl5pPr>
              <a:defRPr sz="675">
                <a:solidFill>
                  <a:schemeClr val="bg1"/>
                </a:solidFill>
              </a:defRPr>
            </a:lvl5pPr>
            <a:lvl6pPr>
              <a:defRPr sz="1011"/>
            </a:lvl6pPr>
            <a:lvl7pPr>
              <a:defRPr sz="1011"/>
            </a:lvl7pPr>
            <a:lvl8pPr>
              <a:defRPr sz="1011"/>
            </a:lvl8pPr>
            <a:lvl9pPr>
              <a:defRPr sz="1011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Line 10">
            <a:extLst>
              <a:ext uri="{FF2B5EF4-FFF2-40B4-BE49-F238E27FC236}">
                <a16:creationId xmlns:a16="http://schemas.microsoft.com/office/drawing/2014/main" id="{04B06CAE-5FB1-4603-B59C-091CBDD47D4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3" y="907750"/>
            <a:ext cx="11011709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CF6F0C-8419-4816-9E6B-8941D50C588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732F33D8-1A24-4E39-86C5-F6B07A9A5EB7}" type="datetime3">
              <a:rPr lang="en-US" smtClean="0"/>
              <a:t>2 July 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37EFC1-5CA0-4BFB-8363-27F8F3D233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B86835-09D6-4615-BB7C-7F8253C0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99414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7E8263-DCF1-4C67-90D8-C34A99A7A0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8A8D4BB7-1E72-4EB8-993C-631EDB973C7A}" type="datetime3">
              <a:rPr lang="en-US" smtClean="0"/>
              <a:t>2 July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E39A50-9EF9-4531-9496-997ED3A26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A5048-1D32-4032-B513-417B76980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017102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CA287C-1B1C-48E4-A41F-63B310387C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1A9675EF-0993-4A75-8666-036CDF261987}" type="datetime3">
              <a:rPr lang="en-US" smtClean="0"/>
              <a:t>2 July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A876A3-22CA-4258-8697-755EB013E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0498EB-F4E6-41EC-B31B-6FE074BF6C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260447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794857-4245-4B70-83AF-69EE834129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19A29DBD-335A-435A-8745-2F341A9AAC4E}" type="datetime3">
              <a:rPr lang="en-US" smtClean="0"/>
              <a:t>2 July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16D39F-AAFD-4EAB-BBF7-D94D820E8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C8219F-D640-4BE4-BEBF-30B96F2AF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8239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DA18EF-1F4C-4097-BF3F-A4B7A60502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8ADAA37B-3DF7-44DE-ABDD-431420C263D8}" type="datetime3">
              <a:rPr lang="en-US" smtClean="0"/>
              <a:t>2 July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196BC2-80B0-49AE-A845-81937D49D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3F6FC-E1D1-4971-AA75-4FA11D67A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287694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36524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104670"/>
              </p:ext>
            </p:extLst>
          </p:nvPr>
        </p:nvGraphicFramePr>
        <p:xfrm>
          <a:off x="2121" y="1594"/>
          <a:ext cx="211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CB083FE1-E99D-44D7-999D-47CFE928C923}"/>
              </a:ext>
            </a:extLst>
          </p:cNvPr>
          <p:cNvSpPr/>
          <p:nvPr userDrawn="1"/>
        </p:nvSpPr>
        <p:spPr>
          <a:xfrm>
            <a:off x="-792287" y="600412"/>
            <a:ext cx="1181100" cy="0"/>
          </a:xfrm>
          <a:custGeom>
            <a:avLst/>
            <a:gdLst>
              <a:gd name="connsiteX0" fmla="*/ 0 w 1181100"/>
              <a:gd name="connsiteY0" fmla="*/ 0 h 0"/>
              <a:gd name="connsiteX1" fmla="*/ 1181100 w 1181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81100">
                <a:moveTo>
                  <a:pt x="0" y="0"/>
                </a:moveTo>
                <a:lnTo>
                  <a:pt x="1181100" y="0"/>
                </a:lnTo>
              </a:path>
            </a:pathLst>
          </a:cu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ED65D4E-691A-4FBD-BE99-95B51924333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5938" y="478450"/>
            <a:ext cx="11175818" cy="476462"/>
          </a:xfrm>
        </p:spPr>
        <p:txBody>
          <a:bodyPr numCol="1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lang="en-US" sz="1600" b="0" kern="1200" cap="none" baseline="0" noProof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marL="169790" indent="0">
              <a:buNone/>
              <a:defRPr/>
            </a:lvl2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0" name="Rectangle 36">
            <a:extLst>
              <a:ext uri="{FF2B5EF4-FFF2-40B4-BE49-F238E27FC236}">
                <a16:creationId xmlns:a16="http://schemas.microsoft.com/office/drawing/2014/main" id="{B7B7CC29-EB94-49A6-83FA-332151D992B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99441" y="6544316"/>
            <a:ext cx="284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EY Consulting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AD65661-1CC3-4470-ABD3-CD1FFA52200E}"/>
              </a:ext>
            </a:extLst>
          </p:cNvPr>
          <p:cNvGrpSpPr/>
          <p:nvPr userDrawn="1"/>
        </p:nvGrpSpPr>
        <p:grpSpPr>
          <a:xfrm>
            <a:off x="0" y="-2662"/>
            <a:ext cx="12212298" cy="362728"/>
            <a:chOff x="0" y="-12187"/>
            <a:chExt cx="12212298" cy="362728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44F9BC5B-EC1B-49C8-9FD5-67CF5668DFBF}"/>
                </a:ext>
              </a:extLst>
            </p:cNvPr>
            <p:cNvGrpSpPr/>
            <p:nvPr userDrawn="1"/>
          </p:nvGrpSpPr>
          <p:grpSpPr>
            <a:xfrm>
              <a:off x="0" y="1"/>
              <a:ext cx="12192000" cy="350540"/>
              <a:chOff x="0" y="1"/>
              <a:chExt cx="12192000" cy="350540"/>
            </a:xfrm>
          </p:grpSpPr>
          <p:sp>
            <p:nvSpPr>
              <p:cNvPr id="51" name="AutoShape 4">
                <a:extLst>
                  <a:ext uri="{FF2B5EF4-FFF2-40B4-BE49-F238E27FC236}">
                    <a16:creationId xmlns:a16="http://schemas.microsoft.com/office/drawing/2014/main" id="{18501789-5E64-4179-891D-84B4CDD21CB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4680" y="68072"/>
                <a:ext cx="167539" cy="200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A1DA4E7D-70DF-48B7-A8CA-40306A849D03}"/>
                  </a:ext>
                </a:extLst>
              </p:cNvPr>
              <p:cNvGrpSpPr/>
              <p:nvPr userDrawn="1"/>
            </p:nvGrpSpPr>
            <p:grpSpPr>
              <a:xfrm>
                <a:off x="0" y="1"/>
                <a:ext cx="12192000" cy="350540"/>
                <a:chOff x="0" y="1"/>
                <a:chExt cx="12192000" cy="350540"/>
              </a:xfrm>
            </p:grpSpPr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0EA9F501-F950-41E7-A062-BF460AD5F455}"/>
                    </a:ext>
                  </a:extLst>
                </p:cNvPr>
                <p:cNvSpPr/>
                <p:nvPr userDrawn="1"/>
              </p:nvSpPr>
              <p:spPr>
                <a:xfrm>
                  <a:off x="0" y="1"/>
                  <a:ext cx="12192000" cy="350540"/>
                </a:xfrm>
                <a:prstGeom prst="rect">
                  <a:avLst/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24760D1C-A99B-4E04-B215-132E376F5755}"/>
                    </a:ext>
                  </a:extLst>
                </p:cNvPr>
                <p:cNvGrpSpPr/>
                <p:nvPr userDrawn="1"/>
              </p:nvGrpSpPr>
              <p:grpSpPr>
                <a:xfrm>
                  <a:off x="81557" y="51130"/>
                  <a:ext cx="11861822" cy="211888"/>
                  <a:chOff x="81557" y="51130"/>
                  <a:chExt cx="11861822" cy="211888"/>
                </a:xfrm>
              </p:grpSpPr>
              <p:grpSp>
                <p:nvGrpSpPr>
                  <p:cNvPr id="56" name="Group 55">
                    <a:extLst>
                      <a:ext uri="{FF2B5EF4-FFF2-40B4-BE49-F238E27FC236}">
                        <a16:creationId xmlns:a16="http://schemas.microsoft.com/office/drawing/2014/main" id="{DE912F85-439A-441B-9E70-49B288A8A12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81557" y="62687"/>
                    <a:ext cx="167539" cy="200331"/>
                    <a:chOff x="784680" y="68072"/>
                    <a:chExt cx="167539" cy="200331"/>
                  </a:xfrm>
                </p:grpSpPr>
                <p:sp>
                  <p:nvSpPr>
                    <p:cNvPr id="65" name="Freeform 6">
                      <a:extLst>
                        <a:ext uri="{FF2B5EF4-FFF2-40B4-BE49-F238E27FC236}">
                          <a16:creationId xmlns:a16="http://schemas.microsoft.com/office/drawing/2014/main" id="{DCD07F1E-C866-4514-BF92-91723BFE2EB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84680" y="68072"/>
                      <a:ext cx="134278" cy="50020"/>
                    </a:xfrm>
                    <a:custGeom>
                      <a:avLst/>
                      <a:gdLst>
                        <a:gd name="T0" fmla="*/ 2723 w 2723"/>
                        <a:gd name="T1" fmla="*/ 0 h 994"/>
                        <a:gd name="T2" fmla="*/ 0 w 2723"/>
                        <a:gd name="T3" fmla="*/ 994 h 994"/>
                        <a:gd name="T4" fmla="*/ 2723 w 2723"/>
                        <a:gd name="T5" fmla="*/ 513 h 994"/>
                        <a:gd name="T6" fmla="*/ 2723 w 2723"/>
                        <a:gd name="T7" fmla="*/ 0 h 9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723" h="994">
                          <a:moveTo>
                            <a:pt x="2723" y="0"/>
                          </a:moveTo>
                          <a:lnTo>
                            <a:pt x="0" y="994"/>
                          </a:lnTo>
                          <a:lnTo>
                            <a:pt x="2723" y="513"/>
                          </a:lnTo>
                          <a:lnTo>
                            <a:pt x="2723" y="0"/>
                          </a:lnTo>
                          <a:close/>
                        </a:path>
                      </a:pathLst>
                    </a:custGeom>
                    <a:solidFill>
                      <a:srgbClr val="F7DF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  <p:sp>
                  <p:nvSpPr>
                    <p:cNvPr id="66" name="Freeform 7">
                      <a:extLst>
                        <a:ext uri="{FF2B5EF4-FFF2-40B4-BE49-F238E27FC236}">
                          <a16:creationId xmlns:a16="http://schemas.microsoft.com/office/drawing/2014/main" id="{4483FE63-ED26-432F-AD1F-58DA92FFEE67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84680" y="138954"/>
                      <a:ext cx="167539" cy="129449"/>
                    </a:xfrm>
                    <a:custGeom>
                      <a:avLst/>
                      <a:gdLst>
                        <a:gd name="T0" fmla="*/ 256 w 3400"/>
                        <a:gd name="T1" fmla="*/ 1749 h 2577"/>
                        <a:gd name="T2" fmla="*/ 278 w 3400"/>
                        <a:gd name="T3" fmla="*/ 1978 h 2577"/>
                        <a:gd name="T4" fmla="*/ 166 w 3400"/>
                        <a:gd name="T5" fmla="*/ 1993 h 2577"/>
                        <a:gd name="T6" fmla="*/ 386 w 3400"/>
                        <a:gd name="T7" fmla="*/ 1940 h 2577"/>
                        <a:gd name="T8" fmla="*/ 458 w 3400"/>
                        <a:gd name="T9" fmla="*/ 2046 h 2577"/>
                        <a:gd name="T10" fmla="*/ 1255 w 3400"/>
                        <a:gd name="T11" fmla="*/ 1820 h 2577"/>
                        <a:gd name="T12" fmla="*/ 1339 w 3400"/>
                        <a:gd name="T13" fmla="*/ 1914 h 2577"/>
                        <a:gd name="T14" fmla="*/ 767 w 3400"/>
                        <a:gd name="T15" fmla="*/ 1703 h 2577"/>
                        <a:gd name="T16" fmla="*/ 813 w 3400"/>
                        <a:gd name="T17" fmla="*/ 1884 h 2577"/>
                        <a:gd name="T18" fmla="*/ 947 w 3400"/>
                        <a:gd name="T19" fmla="*/ 2042 h 2577"/>
                        <a:gd name="T20" fmla="*/ 916 w 3400"/>
                        <a:gd name="T21" fmla="*/ 1855 h 2577"/>
                        <a:gd name="T22" fmla="*/ 2225 w 3400"/>
                        <a:gd name="T23" fmla="*/ 2049 h 2577"/>
                        <a:gd name="T24" fmla="*/ 2376 w 3400"/>
                        <a:gd name="T25" fmla="*/ 1924 h 2577"/>
                        <a:gd name="T26" fmla="*/ 2312 w 3400"/>
                        <a:gd name="T27" fmla="*/ 1906 h 2577"/>
                        <a:gd name="T28" fmla="*/ 2267 w 3400"/>
                        <a:gd name="T29" fmla="*/ 1855 h 2577"/>
                        <a:gd name="T30" fmla="*/ 1441 w 3400"/>
                        <a:gd name="T31" fmla="*/ 1911 h 2577"/>
                        <a:gd name="T32" fmla="*/ 1591 w 3400"/>
                        <a:gd name="T33" fmla="*/ 2031 h 2577"/>
                        <a:gd name="T34" fmla="*/ 1622 w 3400"/>
                        <a:gd name="T35" fmla="*/ 2119 h 2577"/>
                        <a:gd name="T36" fmla="*/ 1507 w 3400"/>
                        <a:gd name="T37" fmla="*/ 1962 h 2577"/>
                        <a:gd name="T38" fmla="*/ 1902 w 3400"/>
                        <a:gd name="T39" fmla="*/ 1848 h 2577"/>
                        <a:gd name="T40" fmla="*/ 1797 w 3400"/>
                        <a:gd name="T41" fmla="*/ 1958 h 2577"/>
                        <a:gd name="T42" fmla="*/ 2006 w 3400"/>
                        <a:gd name="T43" fmla="*/ 1884 h 2577"/>
                        <a:gd name="T44" fmla="*/ 1857 w 3400"/>
                        <a:gd name="T45" fmla="*/ 1968 h 2577"/>
                        <a:gd name="T46" fmla="*/ 1881 w 3400"/>
                        <a:gd name="T47" fmla="*/ 2002 h 2577"/>
                        <a:gd name="T48" fmla="*/ 2467 w 3400"/>
                        <a:gd name="T49" fmla="*/ 1946 h 2577"/>
                        <a:gd name="T50" fmla="*/ 2452 w 3400"/>
                        <a:gd name="T51" fmla="*/ 1821 h 2577"/>
                        <a:gd name="T52" fmla="*/ 2521 w 3400"/>
                        <a:gd name="T53" fmla="*/ 2055 h 2577"/>
                        <a:gd name="T54" fmla="*/ 2555 w 3400"/>
                        <a:gd name="T55" fmla="*/ 1883 h 2577"/>
                        <a:gd name="T56" fmla="*/ 3202 w 3400"/>
                        <a:gd name="T57" fmla="*/ 1928 h 2577"/>
                        <a:gd name="T58" fmla="*/ 3006 w 3400"/>
                        <a:gd name="T59" fmla="*/ 1854 h 2577"/>
                        <a:gd name="T60" fmla="*/ 3140 w 3400"/>
                        <a:gd name="T61" fmla="*/ 2049 h 2577"/>
                        <a:gd name="T62" fmla="*/ 2905 w 3400"/>
                        <a:gd name="T63" fmla="*/ 1964 h 2577"/>
                        <a:gd name="T64" fmla="*/ 2868 w 3400"/>
                        <a:gd name="T65" fmla="*/ 2041 h 2577"/>
                        <a:gd name="T66" fmla="*/ 2713 w 3400"/>
                        <a:gd name="T67" fmla="*/ 2051 h 2577"/>
                        <a:gd name="T68" fmla="*/ 2747 w 3400"/>
                        <a:gd name="T69" fmla="*/ 1996 h 2577"/>
                        <a:gd name="T70" fmla="*/ 3300 w 3400"/>
                        <a:gd name="T71" fmla="*/ 1805 h 2577"/>
                        <a:gd name="T72" fmla="*/ 1073 w 3400"/>
                        <a:gd name="T73" fmla="*/ 2049 h 2577"/>
                        <a:gd name="T74" fmla="*/ 2660 w 3400"/>
                        <a:gd name="T75" fmla="*/ 2279 h 2577"/>
                        <a:gd name="T76" fmla="*/ 2763 w 3400"/>
                        <a:gd name="T77" fmla="*/ 2480 h 2577"/>
                        <a:gd name="T78" fmla="*/ 2737 w 3400"/>
                        <a:gd name="T79" fmla="*/ 2285 h 2577"/>
                        <a:gd name="T80" fmla="*/ 690 w 3400"/>
                        <a:gd name="T81" fmla="*/ 2289 h 2577"/>
                        <a:gd name="T82" fmla="*/ 740 w 3400"/>
                        <a:gd name="T83" fmla="*/ 2301 h 2577"/>
                        <a:gd name="T84" fmla="*/ 222 w 3400"/>
                        <a:gd name="T85" fmla="*/ 2352 h 2577"/>
                        <a:gd name="T86" fmla="*/ 341 w 3400"/>
                        <a:gd name="T87" fmla="*/ 2395 h 2577"/>
                        <a:gd name="T88" fmla="*/ 554 w 3400"/>
                        <a:gd name="T89" fmla="*/ 2395 h 2577"/>
                        <a:gd name="T90" fmla="*/ 412 w 3400"/>
                        <a:gd name="T91" fmla="*/ 2407 h 2577"/>
                        <a:gd name="T92" fmla="*/ 484 w 3400"/>
                        <a:gd name="T93" fmla="*/ 2407 h 2577"/>
                        <a:gd name="T94" fmla="*/ 2419 w 3400"/>
                        <a:gd name="T95" fmla="*/ 2248 h 2577"/>
                        <a:gd name="T96" fmla="*/ 1758 w 3400"/>
                        <a:gd name="T97" fmla="*/ 2233 h 2577"/>
                        <a:gd name="T98" fmla="*/ 2133 w 3400"/>
                        <a:gd name="T99" fmla="*/ 2255 h 2577"/>
                        <a:gd name="T100" fmla="*/ 2204 w 3400"/>
                        <a:gd name="T101" fmla="*/ 2483 h 2577"/>
                        <a:gd name="T102" fmla="*/ 2269 w 3400"/>
                        <a:gd name="T103" fmla="*/ 2249 h 2577"/>
                        <a:gd name="T104" fmla="*/ 2204 w 3400"/>
                        <a:gd name="T105" fmla="*/ 2284 h 2577"/>
                        <a:gd name="T106" fmla="*/ 845 w 3400"/>
                        <a:gd name="T107" fmla="*/ 2131 h 2577"/>
                        <a:gd name="T108" fmla="*/ 1323 w 3400"/>
                        <a:gd name="T109" fmla="*/ 2244 h 2577"/>
                        <a:gd name="T110" fmla="*/ 1220 w 3400"/>
                        <a:gd name="T111" fmla="*/ 2299 h 2577"/>
                        <a:gd name="T112" fmla="*/ 1410 w 3400"/>
                        <a:gd name="T113" fmla="*/ 2289 h 2577"/>
                        <a:gd name="T114" fmla="*/ 1525 w 3400"/>
                        <a:gd name="T115" fmla="*/ 2477 h 2577"/>
                        <a:gd name="T116" fmla="*/ 1544 w 3400"/>
                        <a:gd name="T117" fmla="*/ 2570 h 2577"/>
                        <a:gd name="T118" fmla="*/ 1491 w 3400"/>
                        <a:gd name="T119" fmla="*/ 2424 h 2577"/>
                        <a:gd name="T120" fmla="*/ 1094 w 3400"/>
                        <a:gd name="T121" fmla="*/ 2341 h 2577"/>
                        <a:gd name="T122" fmla="*/ 437 w 3400"/>
                        <a:gd name="T123" fmla="*/ 1061 h 25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3400" h="2577">
                          <a:moveTo>
                            <a:pt x="283" y="1942"/>
                          </a:moveTo>
                          <a:lnTo>
                            <a:pt x="283" y="1942"/>
                          </a:lnTo>
                          <a:lnTo>
                            <a:pt x="283" y="1934"/>
                          </a:lnTo>
                          <a:lnTo>
                            <a:pt x="282" y="1927"/>
                          </a:lnTo>
                          <a:lnTo>
                            <a:pt x="278" y="1912"/>
                          </a:lnTo>
                          <a:lnTo>
                            <a:pt x="272" y="1900"/>
                          </a:lnTo>
                          <a:lnTo>
                            <a:pt x="265" y="1890"/>
                          </a:lnTo>
                          <a:lnTo>
                            <a:pt x="256" y="1883"/>
                          </a:lnTo>
                          <a:lnTo>
                            <a:pt x="248" y="1877"/>
                          </a:lnTo>
                          <a:lnTo>
                            <a:pt x="241" y="1872"/>
                          </a:lnTo>
                          <a:lnTo>
                            <a:pt x="233" y="1868"/>
                          </a:lnTo>
                          <a:lnTo>
                            <a:pt x="233" y="1868"/>
                          </a:lnTo>
                          <a:lnTo>
                            <a:pt x="242" y="1862"/>
                          </a:lnTo>
                          <a:lnTo>
                            <a:pt x="249" y="1856"/>
                          </a:lnTo>
                          <a:lnTo>
                            <a:pt x="255" y="1849"/>
                          </a:lnTo>
                          <a:lnTo>
                            <a:pt x="261" y="1840"/>
                          </a:lnTo>
                          <a:lnTo>
                            <a:pt x="266" y="1832"/>
                          </a:lnTo>
                          <a:lnTo>
                            <a:pt x="269" y="1822"/>
                          </a:lnTo>
                          <a:lnTo>
                            <a:pt x="271" y="1812"/>
                          </a:lnTo>
                          <a:lnTo>
                            <a:pt x="271" y="1801"/>
                          </a:lnTo>
                          <a:lnTo>
                            <a:pt x="271" y="1801"/>
                          </a:lnTo>
                          <a:lnTo>
                            <a:pt x="271" y="1792"/>
                          </a:lnTo>
                          <a:lnTo>
                            <a:pt x="270" y="1782"/>
                          </a:lnTo>
                          <a:lnTo>
                            <a:pt x="267" y="1773"/>
                          </a:lnTo>
                          <a:lnTo>
                            <a:pt x="265" y="1765"/>
                          </a:lnTo>
                          <a:lnTo>
                            <a:pt x="261" y="1756"/>
                          </a:lnTo>
                          <a:lnTo>
                            <a:pt x="256" y="1749"/>
                          </a:lnTo>
                          <a:lnTo>
                            <a:pt x="250" y="1743"/>
                          </a:lnTo>
                          <a:lnTo>
                            <a:pt x="244" y="1737"/>
                          </a:lnTo>
                          <a:lnTo>
                            <a:pt x="237" y="1732"/>
                          </a:lnTo>
                          <a:lnTo>
                            <a:pt x="230" y="1727"/>
                          </a:lnTo>
                          <a:lnTo>
                            <a:pt x="221" y="1724"/>
                          </a:lnTo>
                          <a:lnTo>
                            <a:pt x="211" y="1720"/>
                          </a:lnTo>
                          <a:lnTo>
                            <a:pt x="202" y="1718"/>
                          </a:lnTo>
                          <a:lnTo>
                            <a:pt x="191" y="1715"/>
                          </a:lnTo>
                          <a:lnTo>
                            <a:pt x="180" y="1715"/>
                          </a:lnTo>
                          <a:lnTo>
                            <a:pt x="168" y="1714"/>
                          </a:lnTo>
                          <a:lnTo>
                            <a:pt x="24" y="1714"/>
                          </a:lnTo>
                          <a:lnTo>
                            <a:pt x="24" y="2049"/>
                          </a:lnTo>
                          <a:lnTo>
                            <a:pt x="166" y="2049"/>
                          </a:lnTo>
                          <a:lnTo>
                            <a:pt x="166" y="2049"/>
                          </a:lnTo>
                          <a:lnTo>
                            <a:pt x="180" y="2049"/>
                          </a:lnTo>
                          <a:lnTo>
                            <a:pt x="192" y="2048"/>
                          </a:lnTo>
                          <a:lnTo>
                            <a:pt x="204" y="2046"/>
                          </a:lnTo>
                          <a:lnTo>
                            <a:pt x="215" y="2042"/>
                          </a:lnTo>
                          <a:lnTo>
                            <a:pt x="226" y="2038"/>
                          </a:lnTo>
                          <a:lnTo>
                            <a:pt x="236" y="2034"/>
                          </a:lnTo>
                          <a:lnTo>
                            <a:pt x="244" y="2028"/>
                          </a:lnTo>
                          <a:lnTo>
                            <a:pt x="252" y="2021"/>
                          </a:lnTo>
                          <a:lnTo>
                            <a:pt x="259" y="2014"/>
                          </a:lnTo>
                          <a:lnTo>
                            <a:pt x="265" y="2006"/>
                          </a:lnTo>
                          <a:lnTo>
                            <a:pt x="271" y="1997"/>
                          </a:lnTo>
                          <a:lnTo>
                            <a:pt x="275" y="1987"/>
                          </a:lnTo>
                          <a:lnTo>
                            <a:pt x="278" y="1978"/>
                          </a:lnTo>
                          <a:lnTo>
                            <a:pt x="281" y="1967"/>
                          </a:lnTo>
                          <a:lnTo>
                            <a:pt x="282" y="1955"/>
                          </a:lnTo>
                          <a:lnTo>
                            <a:pt x="283" y="1942"/>
                          </a:lnTo>
                          <a:lnTo>
                            <a:pt x="283" y="1942"/>
                          </a:lnTo>
                          <a:close/>
                          <a:moveTo>
                            <a:pt x="166" y="1993"/>
                          </a:moveTo>
                          <a:lnTo>
                            <a:pt x="86" y="1993"/>
                          </a:lnTo>
                          <a:lnTo>
                            <a:pt x="86" y="1897"/>
                          </a:lnTo>
                          <a:lnTo>
                            <a:pt x="166" y="1897"/>
                          </a:lnTo>
                          <a:lnTo>
                            <a:pt x="166" y="1897"/>
                          </a:lnTo>
                          <a:lnTo>
                            <a:pt x="179" y="1899"/>
                          </a:lnTo>
                          <a:lnTo>
                            <a:pt x="188" y="1900"/>
                          </a:lnTo>
                          <a:lnTo>
                            <a:pt x="197" y="1904"/>
                          </a:lnTo>
                          <a:lnTo>
                            <a:pt x="204" y="1910"/>
                          </a:lnTo>
                          <a:lnTo>
                            <a:pt x="210" y="1916"/>
                          </a:lnTo>
                          <a:lnTo>
                            <a:pt x="214" y="1924"/>
                          </a:lnTo>
                          <a:lnTo>
                            <a:pt x="216" y="1934"/>
                          </a:lnTo>
                          <a:lnTo>
                            <a:pt x="218" y="1945"/>
                          </a:lnTo>
                          <a:lnTo>
                            <a:pt x="218" y="1945"/>
                          </a:lnTo>
                          <a:lnTo>
                            <a:pt x="216" y="1956"/>
                          </a:lnTo>
                          <a:lnTo>
                            <a:pt x="214" y="1966"/>
                          </a:lnTo>
                          <a:lnTo>
                            <a:pt x="209" y="1974"/>
                          </a:lnTo>
                          <a:lnTo>
                            <a:pt x="204" y="1980"/>
                          </a:lnTo>
                          <a:lnTo>
                            <a:pt x="197" y="1986"/>
                          </a:lnTo>
                          <a:lnTo>
                            <a:pt x="188" y="1990"/>
                          </a:lnTo>
                          <a:lnTo>
                            <a:pt x="177" y="1992"/>
                          </a:lnTo>
                          <a:lnTo>
                            <a:pt x="166" y="1993"/>
                          </a:lnTo>
                          <a:lnTo>
                            <a:pt x="166" y="1993"/>
                          </a:lnTo>
                          <a:close/>
                          <a:moveTo>
                            <a:pt x="165" y="1843"/>
                          </a:moveTo>
                          <a:lnTo>
                            <a:pt x="86" y="1843"/>
                          </a:lnTo>
                          <a:lnTo>
                            <a:pt x="86" y="1771"/>
                          </a:lnTo>
                          <a:lnTo>
                            <a:pt x="163" y="1771"/>
                          </a:lnTo>
                          <a:lnTo>
                            <a:pt x="163" y="1771"/>
                          </a:lnTo>
                          <a:lnTo>
                            <a:pt x="173" y="1772"/>
                          </a:lnTo>
                          <a:lnTo>
                            <a:pt x="182" y="1773"/>
                          </a:lnTo>
                          <a:lnTo>
                            <a:pt x="190" y="1776"/>
                          </a:lnTo>
                          <a:lnTo>
                            <a:pt x="196" y="1780"/>
                          </a:lnTo>
                          <a:lnTo>
                            <a:pt x="201" y="1786"/>
                          </a:lnTo>
                          <a:lnTo>
                            <a:pt x="204" y="1792"/>
                          </a:lnTo>
                          <a:lnTo>
                            <a:pt x="205" y="1799"/>
                          </a:lnTo>
                          <a:lnTo>
                            <a:pt x="207" y="1807"/>
                          </a:lnTo>
                          <a:lnTo>
                            <a:pt x="207" y="1807"/>
                          </a:lnTo>
                          <a:lnTo>
                            <a:pt x="207" y="1814"/>
                          </a:lnTo>
                          <a:lnTo>
                            <a:pt x="205" y="1820"/>
                          </a:lnTo>
                          <a:lnTo>
                            <a:pt x="203" y="1826"/>
                          </a:lnTo>
                          <a:lnTo>
                            <a:pt x="199" y="1831"/>
                          </a:lnTo>
                          <a:lnTo>
                            <a:pt x="193" y="1835"/>
                          </a:lnTo>
                          <a:lnTo>
                            <a:pt x="186" y="1839"/>
                          </a:lnTo>
                          <a:lnTo>
                            <a:pt x="177" y="1842"/>
                          </a:lnTo>
                          <a:lnTo>
                            <a:pt x="165" y="1843"/>
                          </a:lnTo>
                          <a:lnTo>
                            <a:pt x="165" y="1843"/>
                          </a:lnTo>
                          <a:close/>
                          <a:moveTo>
                            <a:pt x="326" y="1944"/>
                          </a:moveTo>
                          <a:lnTo>
                            <a:pt x="326" y="1805"/>
                          </a:lnTo>
                          <a:lnTo>
                            <a:pt x="386" y="1805"/>
                          </a:lnTo>
                          <a:lnTo>
                            <a:pt x="386" y="1940"/>
                          </a:lnTo>
                          <a:lnTo>
                            <a:pt x="386" y="1940"/>
                          </a:lnTo>
                          <a:lnTo>
                            <a:pt x="386" y="1953"/>
                          </a:lnTo>
                          <a:lnTo>
                            <a:pt x="389" y="1967"/>
                          </a:lnTo>
                          <a:lnTo>
                            <a:pt x="392" y="1976"/>
                          </a:lnTo>
                          <a:lnTo>
                            <a:pt x="397" y="1985"/>
                          </a:lnTo>
                          <a:lnTo>
                            <a:pt x="403" y="1991"/>
                          </a:lnTo>
                          <a:lnTo>
                            <a:pt x="411" y="1996"/>
                          </a:lnTo>
                          <a:lnTo>
                            <a:pt x="420" y="1998"/>
                          </a:lnTo>
                          <a:lnTo>
                            <a:pt x="431" y="2000"/>
                          </a:lnTo>
                          <a:lnTo>
                            <a:pt x="431" y="2000"/>
                          </a:lnTo>
                          <a:lnTo>
                            <a:pt x="442" y="1998"/>
                          </a:lnTo>
                          <a:lnTo>
                            <a:pt x="451" y="1996"/>
                          </a:lnTo>
                          <a:lnTo>
                            <a:pt x="459" y="1991"/>
                          </a:lnTo>
                          <a:lnTo>
                            <a:pt x="465" y="1985"/>
                          </a:lnTo>
                          <a:lnTo>
                            <a:pt x="470" y="1976"/>
                          </a:lnTo>
                          <a:lnTo>
                            <a:pt x="474" y="1966"/>
                          </a:lnTo>
                          <a:lnTo>
                            <a:pt x="476" y="1953"/>
                          </a:lnTo>
                          <a:lnTo>
                            <a:pt x="476" y="1940"/>
                          </a:lnTo>
                          <a:lnTo>
                            <a:pt x="476" y="1805"/>
                          </a:lnTo>
                          <a:lnTo>
                            <a:pt x="537" y="1805"/>
                          </a:lnTo>
                          <a:lnTo>
                            <a:pt x="537" y="2049"/>
                          </a:lnTo>
                          <a:lnTo>
                            <a:pt x="476" y="2049"/>
                          </a:lnTo>
                          <a:lnTo>
                            <a:pt x="476" y="2030"/>
                          </a:lnTo>
                          <a:lnTo>
                            <a:pt x="476" y="2030"/>
                          </a:lnTo>
                          <a:lnTo>
                            <a:pt x="471" y="2036"/>
                          </a:lnTo>
                          <a:lnTo>
                            <a:pt x="464" y="2041"/>
                          </a:lnTo>
                          <a:lnTo>
                            <a:pt x="458" y="2046"/>
                          </a:lnTo>
                          <a:lnTo>
                            <a:pt x="451" y="2048"/>
                          </a:lnTo>
                          <a:lnTo>
                            <a:pt x="444" y="2052"/>
                          </a:lnTo>
                          <a:lnTo>
                            <a:pt x="435" y="2053"/>
                          </a:lnTo>
                          <a:lnTo>
                            <a:pt x="427" y="2054"/>
                          </a:lnTo>
                          <a:lnTo>
                            <a:pt x="418" y="2055"/>
                          </a:lnTo>
                          <a:lnTo>
                            <a:pt x="418" y="2055"/>
                          </a:lnTo>
                          <a:lnTo>
                            <a:pt x="403" y="2054"/>
                          </a:lnTo>
                          <a:lnTo>
                            <a:pt x="391" y="2052"/>
                          </a:lnTo>
                          <a:lnTo>
                            <a:pt x="380" y="2048"/>
                          </a:lnTo>
                          <a:lnTo>
                            <a:pt x="369" y="2043"/>
                          </a:lnTo>
                          <a:lnTo>
                            <a:pt x="361" y="2037"/>
                          </a:lnTo>
                          <a:lnTo>
                            <a:pt x="354" y="2031"/>
                          </a:lnTo>
                          <a:lnTo>
                            <a:pt x="348" y="2023"/>
                          </a:lnTo>
                          <a:lnTo>
                            <a:pt x="341" y="2014"/>
                          </a:lnTo>
                          <a:lnTo>
                            <a:pt x="338" y="2006"/>
                          </a:lnTo>
                          <a:lnTo>
                            <a:pt x="334" y="1997"/>
                          </a:lnTo>
                          <a:lnTo>
                            <a:pt x="329" y="1978"/>
                          </a:lnTo>
                          <a:lnTo>
                            <a:pt x="327" y="1959"/>
                          </a:lnTo>
                          <a:lnTo>
                            <a:pt x="326" y="1944"/>
                          </a:lnTo>
                          <a:lnTo>
                            <a:pt x="326" y="1944"/>
                          </a:lnTo>
                          <a:close/>
                          <a:moveTo>
                            <a:pt x="1249" y="2049"/>
                          </a:moveTo>
                          <a:lnTo>
                            <a:pt x="1188" y="2049"/>
                          </a:lnTo>
                          <a:lnTo>
                            <a:pt x="1188" y="1805"/>
                          </a:lnTo>
                          <a:lnTo>
                            <a:pt x="1249" y="1805"/>
                          </a:lnTo>
                          <a:lnTo>
                            <a:pt x="1249" y="1826"/>
                          </a:lnTo>
                          <a:lnTo>
                            <a:pt x="1249" y="1826"/>
                          </a:lnTo>
                          <a:lnTo>
                            <a:pt x="1255" y="1820"/>
                          </a:lnTo>
                          <a:lnTo>
                            <a:pt x="1261" y="1814"/>
                          </a:lnTo>
                          <a:lnTo>
                            <a:pt x="1269" y="1810"/>
                          </a:lnTo>
                          <a:lnTo>
                            <a:pt x="1276" y="1806"/>
                          </a:lnTo>
                          <a:lnTo>
                            <a:pt x="1284" y="1803"/>
                          </a:lnTo>
                          <a:lnTo>
                            <a:pt x="1292" y="1801"/>
                          </a:lnTo>
                          <a:lnTo>
                            <a:pt x="1301" y="1800"/>
                          </a:lnTo>
                          <a:lnTo>
                            <a:pt x="1310" y="1799"/>
                          </a:lnTo>
                          <a:lnTo>
                            <a:pt x="1310" y="1799"/>
                          </a:lnTo>
                          <a:lnTo>
                            <a:pt x="1321" y="1800"/>
                          </a:lnTo>
                          <a:lnTo>
                            <a:pt x="1331" y="1801"/>
                          </a:lnTo>
                          <a:lnTo>
                            <a:pt x="1340" y="1804"/>
                          </a:lnTo>
                          <a:lnTo>
                            <a:pt x="1349" y="1806"/>
                          </a:lnTo>
                          <a:lnTo>
                            <a:pt x="1357" y="1810"/>
                          </a:lnTo>
                          <a:lnTo>
                            <a:pt x="1365" y="1816"/>
                          </a:lnTo>
                          <a:lnTo>
                            <a:pt x="1371" y="1821"/>
                          </a:lnTo>
                          <a:lnTo>
                            <a:pt x="1377" y="1828"/>
                          </a:lnTo>
                          <a:lnTo>
                            <a:pt x="1383" y="1835"/>
                          </a:lnTo>
                          <a:lnTo>
                            <a:pt x="1386" y="1844"/>
                          </a:lnTo>
                          <a:lnTo>
                            <a:pt x="1391" y="1852"/>
                          </a:lnTo>
                          <a:lnTo>
                            <a:pt x="1394" y="1862"/>
                          </a:lnTo>
                          <a:lnTo>
                            <a:pt x="1396" y="1873"/>
                          </a:lnTo>
                          <a:lnTo>
                            <a:pt x="1399" y="1885"/>
                          </a:lnTo>
                          <a:lnTo>
                            <a:pt x="1400" y="1897"/>
                          </a:lnTo>
                          <a:lnTo>
                            <a:pt x="1400" y="1911"/>
                          </a:lnTo>
                          <a:lnTo>
                            <a:pt x="1400" y="2049"/>
                          </a:lnTo>
                          <a:lnTo>
                            <a:pt x="1339" y="2049"/>
                          </a:lnTo>
                          <a:lnTo>
                            <a:pt x="1339" y="1914"/>
                          </a:lnTo>
                          <a:lnTo>
                            <a:pt x="1339" y="1914"/>
                          </a:lnTo>
                          <a:lnTo>
                            <a:pt x="1339" y="1900"/>
                          </a:lnTo>
                          <a:lnTo>
                            <a:pt x="1337" y="1888"/>
                          </a:lnTo>
                          <a:lnTo>
                            <a:pt x="1333" y="1878"/>
                          </a:lnTo>
                          <a:lnTo>
                            <a:pt x="1328" y="1869"/>
                          </a:lnTo>
                          <a:lnTo>
                            <a:pt x="1322" y="1863"/>
                          </a:lnTo>
                          <a:lnTo>
                            <a:pt x="1315" y="1859"/>
                          </a:lnTo>
                          <a:lnTo>
                            <a:pt x="1306" y="1856"/>
                          </a:lnTo>
                          <a:lnTo>
                            <a:pt x="1295" y="1855"/>
                          </a:lnTo>
                          <a:lnTo>
                            <a:pt x="1295" y="1855"/>
                          </a:lnTo>
                          <a:lnTo>
                            <a:pt x="1284" y="1856"/>
                          </a:lnTo>
                          <a:lnTo>
                            <a:pt x="1275" y="1859"/>
                          </a:lnTo>
                          <a:lnTo>
                            <a:pt x="1267" y="1863"/>
                          </a:lnTo>
                          <a:lnTo>
                            <a:pt x="1261" y="1869"/>
                          </a:lnTo>
                          <a:lnTo>
                            <a:pt x="1255" y="1878"/>
                          </a:lnTo>
                          <a:lnTo>
                            <a:pt x="1252" y="1889"/>
                          </a:lnTo>
                          <a:lnTo>
                            <a:pt x="1249" y="1901"/>
                          </a:lnTo>
                          <a:lnTo>
                            <a:pt x="1249" y="1914"/>
                          </a:lnTo>
                          <a:lnTo>
                            <a:pt x="1249" y="2049"/>
                          </a:lnTo>
                          <a:close/>
                          <a:moveTo>
                            <a:pt x="653" y="1927"/>
                          </a:moveTo>
                          <a:lnTo>
                            <a:pt x="653" y="2049"/>
                          </a:lnTo>
                          <a:lnTo>
                            <a:pt x="592" y="2049"/>
                          </a:lnTo>
                          <a:lnTo>
                            <a:pt x="592" y="1805"/>
                          </a:lnTo>
                          <a:lnTo>
                            <a:pt x="653" y="1805"/>
                          </a:lnTo>
                          <a:lnTo>
                            <a:pt x="653" y="1927"/>
                          </a:lnTo>
                          <a:close/>
                          <a:moveTo>
                            <a:pt x="706" y="1733"/>
                          </a:moveTo>
                          <a:lnTo>
                            <a:pt x="767" y="1703"/>
                          </a:lnTo>
                          <a:lnTo>
                            <a:pt x="767" y="1924"/>
                          </a:lnTo>
                          <a:lnTo>
                            <a:pt x="767" y="2049"/>
                          </a:lnTo>
                          <a:lnTo>
                            <a:pt x="706" y="2049"/>
                          </a:lnTo>
                          <a:lnTo>
                            <a:pt x="706" y="1733"/>
                          </a:lnTo>
                          <a:close/>
                          <a:moveTo>
                            <a:pt x="959" y="1822"/>
                          </a:moveTo>
                          <a:lnTo>
                            <a:pt x="959" y="1822"/>
                          </a:lnTo>
                          <a:lnTo>
                            <a:pt x="954" y="1816"/>
                          </a:lnTo>
                          <a:lnTo>
                            <a:pt x="948" y="1812"/>
                          </a:lnTo>
                          <a:lnTo>
                            <a:pt x="941" y="1807"/>
                          </a:lnTo>
                          <a:lnTo>
                            <a:pt x="934" y="1805"/>
                          </a:lnTo>
                          <a:lnTo>
                            <a:pt x="927" y="1803"/>
                          </a:lnTo>
                          <a:lnTo>
                            <a:pt x="920" y="1800"/>
                          </a:lnTo>
                          <a:lnTo>
                            <a:pt x="905" y="1799"/>
                          </a:lnTo>
                          <a:lnTo>
                            <a:pt x="905" y="1799"/>
                          </a:lnTo>
                          <a:lnTo>
                            <a:pt x="894" y="1800"/>
                          </a:lnTo>
                          <a:lnTo>
                            <a:pt x="883" y="1801"/>
                          </a:lnTo>
                          <a:lnTo>
                            <a:pt x="874" y="1804"/>
                          </a:lnTo>
                          <a:lnTo>
                            <a:pt x="865" y="1807"/>
                          </a:lnTo>
                          <a:lnTo>
                            <a:pt x="857" y="1812"/>
                          </a:lnTo>
                          <a:lnTo>
                            <a:pt x="848" y="1818"/>
                          </a:lnTo>
                          <a:lnTo>
                            <a:pt x="841" y="1826"/>
                          </a:lnTo>
                          <a:lnTo>
                            <a:pt x="835" y="1833"/>
                          </a:lnTo>
                          <a:lnTo>
                            <a:pt x="829" y="1842"/>
                          </a:lnTo>
                          <a:lnTo>
                            <a:pt x="824" y="1851"/>
                          </a:lnTo>
                          <a:lnTo>
                            <a:pt x="819" y="1861"/>
                          </a:lnTo>
                          <a:lnTo>
                            <a:pt x="815" y="1872"/>
                          </a:lnTo>
                          <a:lnTo>
                            <a:pt x="813" y="1884"/>
                          </a:lnTo>
                          <a:lnTo>
                            <a:pt x="811" y="1897"/>
                          </a:lnTo>
                          <a:lnTo>
                            <a:pt x="809" y="1911"/>
                          </a:lnTo>
                          <a:lnTo>
                            <a:pt x="809" y="1924"/>
                          </a:lnTo>
                          <a:lnTo>
                            <a:pt x="809" y="1924"/>
                          </a:lnTo>
                          <a:lnTo>
                            <a:pt x="809" y="1940"/>
                          </a:lnTo>
                          <a:lnTo>
                            <a:pt x="811" y="1953"/>
                          </a:lnTo>
                          <a:lnTo>
                            <a:pt x="813" y="1967"/>
                          </a:lnTo>
                          <a:lnTo>
                            <a:pt x="815" y="1979"/>
                          </a:lnTo>
                          <a:lnTo>
                            <a:pt x="819" y="1991"/>
                          </a:lnTo>
                          <a:lnTo>
                            <a:pt x="823" y="2002"/>
                          </a:lnTo>
                          <a:lnTo>
                            <a:pt x="828" y="2012"/>
                          </a:lnTo>
                          <a:lnTo>
                            <a:pt x="834" y="2020"/>
                          </a:lnTo>
                          <a:lnTo>
                            <a:pt x="841" y="2029"/>
                          </a:lnTo>
                          <a:lnTo>
                            <a:pt x="847" y="2035"/>
                          </a:lnTo>
                          <a:lnTo>
                            <a:pt x="855" y="2041"/>
                          </a:lnTo>
                          <a:lnTo>
                            <a:pt x="864" y="2046"/>
                          </a:lnTo>
                          <a:lnTo>
                            <a:pt x="872" y="2049"/>
                          </a:lnTo>
                          <a:lnTo>
                            <a:pt x="882" y="2053"/>
                          </a:lnTo>
                          <a:lnTo>
                            <a:pt x="893" y="2054"/>
                          </a:lnTo>
                          <a:lnTo>
                            <a:pt x="904" y="2055"/>
                          </a:lnTo>
                          <a:lnTo>
                            <a:pt x="904" y="2055"/>
                          </a:lnTo>
                          <a:lnTo>
                            <a:pt x="911" y="2054"/>
                          </a:lnTo>
                          <a:lnTo>
                            <a:pt x="919" y="2053"/>
                          </a:lnTo>
                          <a:lnTo>
                            <a:pt x="926" y="2052"/>
                          </a:lnTo>
                          <a:lnTo>
                            <a:pt x="933" y="2049"/>
                          </a:lnTo>
                          <a:lnTo>
                            <a:pt x="939" y="2046"/>
                          </a:lnTo>
                          <a:lnTo>
                            <a:pt x="947" y="2042"/>
                          </a:lnTo>
                          <a:lnTo>
                            <a:pt x="953" y="2037"/>
                          </a:lnTo>
                          <a:lnTo>
                            <a:pt x="959" y="2031"/>
                          </a:lnTo>
                          <a:lnTo>
                            <a:pt x="959" y="2049"/>
                          </a:lnTo>
                          <a:lnTo>
                            <a:pt x="1020" y="2049"/>
                          </a:lnTo>
                          <a:lnTo>
                            <a:pt x="1020" y="1703"/>
                          </a:lnTo>
                          <a:lnTo>
                            <a:pt x="959" y="1733"/>
                          </a:lnTo>
                          <a:lnTo>
                            <a:pt x="959" y="1822"/>
                          </a:lnTo>
                          <a:close/>
                          <a:moveTo>
                            <a:pt x="916" y="2000"/>
                          </a:moveTo>
                          <a:lnTo>
                            <a:pt x="916" y="2000"/>
                          </a:lnTo>
                          <a:lnTo>
                            <a:pt x="909" y="1998"/>
                          </a:lnTo>
                          <a:lnTo>
                            <a:pt x="900" y="1996"/>
                          </a:lnTo>
                          <a:lnTo>
                            <a:pt x="893" y="1992"/>
                          </a:lnTo>
                          <a:lnTo>
                            <a:pt x="886" y="1985"/>
                          </a:lnTo>
                          <a:lnTo>
                            <a:pt x="880" y="1975"/>
                          </a:lnTo>
                          <a:lnTo>
                            <a:pt x="875" y="1962"/>
                          </a:lnTo>
                          <a:lnTo>
                            <a:pt x="871" y="1945"/>
                          </a:lnTo>
                          <a:lnTo>
                            <a:pt x="870" y="1923"/>
                          </a:lnTo>
                          <a:lnTo>
                            <a:pt x="870" y="1923"/>
                          </a:lnTo>
                          <a:lnTo>
                            <a:pt x="871" y="1904"/>
                          </a:lnTo>
                          <a:lnTo>
                            <a:pt x="875" y="1889"/>
                          </a:lnTo>
                          <a:lnTo>
                            <a:pt x="880" y="1877"/>
                          </a:lnTo>
                          <a:lnTo>
                            <a:pt x="886" y="1868"/>
                          </a:lnTo>
                          <a:lnTo>
                            <a:pt x="892" y="1861"/>
                          </a:lnTo>
                          <a:lnTo>
                            <a:pt x="900" y="1857"/>
                          </a:lnTo>
                          <a:lnTo>
                            <a:pt x="908" y="1855"/>
                          </a:lnTo>
                          <a:lnTo>
                            <a:pt x="916" y="1855"/>
                          </a:lnTo>
                          <a:lnTo>
                            <a:pt x="916" y="1855"/>
                          </a:lnTo>
                          <a:lnTo>
                            <a:pt x="924" y="1855"/>
                          </a:lnTo>
                          <a:lnTo>
                            <a:pt x="931" y="1857"/>
                          </a:lnTo>
                          <a:lnTo>
                            <a:pt x="938" y="1860"/>
                          </a:lnTo>
                          <a:lnTo>
                            <a:pt x="943" y="1863"/>
                          </a:lnTo>
                          <a:lnTo>
                            <a:pt x="948" y="1867"/>
                          </a:lnTo>
                          <a:lnTo>
                            <a:pt x="953" y="1871"/>
                          </a:lnTo>
                          <a:lnTo>
                            <a:pt x="959" y="1879"/>
                          </a:lnTo>
                          <a:lnTo>
                            <a:pt x="959" y="1975"/>
                          </a:lnTo>
                          <a:lnTo>
                            <a:pt x="959" y="1975"/>
                          </a:lnTo>
                          <a:lnTo>
                            <a:pt x="951" y="1984"/>
                          </a:lnTo>
                          <a:lnTo>
                            <a:pt x="943" y="1991"/>
                          </a:lnTo>
                          <a:lnTo>
                            <a:pt x="938" y="1995"/>
                          </a:lnTo>
                          <a:lnTo>
                            <a:pt x="931" y="1997"/>
                          </a:lnTo>
                          <a:lnTo>
                            <a:pt x="925" y="1998"/>
                          </a:lnTo>
                          <a:lnTo>
                            <a:pt x="916" y="2000"/>
                          </a:lnTo>
                          <a:lnTo>
                            <a:pt x="916" y="2000"/>
                          </a:lnTo>
                          <a:close/>
                          <a:moveTo>
                            <a:pt x="2278" y="1799"/>
                          </a:moveTo>
                          <a:lnTo>
                            <a:pt x="2278" y="1799"/>
                          </a:lnTo>
                          <a:lnTo>
                            <a:pt x="2272" y="1800"/>
                          </a:lnTo>
                          <a:lnTo>
                            <a:pt x="2265" y="1801"/>
                          </a:lnTo>
                          <a:lnTo>
                            <a:pt x="2250" y="1805"/>
                          </a:lnTo>
                          <a:lnTo>
                            <a:pt x="2237" y="1812"/>
                          </a:lnTo>
                          <a:lnTo>
                            <a:pt x="2225" y="1822"/>
                          </a:lnTo>
                          <a:lnTo>
                            <a:pt x="2225" y="1709"/>
                          </a:lnTo>
                          <a:lnTo>
                            <a:pt x="2164" y="1739"/>
                          </a:lnTo>
                          <a:lnTo>
                            <a:pt x="2164" y="2049"/>
                          </a:lnTo>
                          <a:lnTo>
                            <a:pt x="2225" y="2049"/>
                          </a:lnTo>
                          <a:lnTo>
                            <a:pt x="2225" y="2031"/>
                          </a:lnTo>
                          <a:lnTo>
                            <a:pt x="2225" y="2031"/>
                          </a:lnTo>
                          <a:lnTo>
                            <a:pt x="2230" y="2037"/>
                          </a:lnTo>
                          <a:lnTo>
                            <a:pt x="2237" y="2042"/>
                          </a:lnTo>
                          <a:lnTo>
                            <a:pt x="2243" y="2046"/>
                          </a:lnTo>
                          <a:lnTo>
                            <a:pt x="2250" y="2049"/>
                          </a:lnTo>
                          <a:lnTo>
                            <a:pt x="2257" y="2052"/>
                          </a:lnTo>
                          <a:lnTo>
                            <a:pt x="2265" y="2053"/>
                          </a:lnTo>
                          <a:lnTo>
                            <a:pt x="2272" y="2054"/>
                          </a:lnTo>
                          <a:lnTo>
                            <a:pt x="2280" y="2055"/>
                          </a:lnTo>
                          <a:lnTo>
                            <a:pt x="2280" y="2055"/>
                          </a:lnTo>
                          <a:lnTo>
                            <a:pt x="2291" y="2054"/>
                          </a:lnTo>
                          <a:lnTo>
                            <a:pt x="2302" y="2053"/>
                          </a:lnTo>
                          <a:lnTo>
                            <a:pt x="2311" y="2051"/>
                          </a:lnTo>
                          <a:lnTo>
                            <a:pt x="2321" y="2046"/>
                          </a:lnTo>
                          <a:lnTo>
                            <a:pt x="2329" y="2041"/>
                          </a:lnTo>
                          <a:lnTo>
                            <a:pt x="2337" y="2036"/>
                          </a:lnTo>
                          <a:lnTo>
                            <a:pt x="2344" y="2029"/>
                          </a:lnTo>
                          <a:lnTo>
                            <a:pt x="2350" y="2021"/>
                          </a:lnTo>
                          <a:lnTo>
                            <a:pt x="2356" y="2012"/>
                          </a:lnTo>
                          <a:lnTo>
                            <a:pt x="2361" y="2002"/>
                          </a:lnTo>
                          <a:lnTo>
                            <a:pt x="2365" y="1991"/>
                          </a:lnTo>
                          <a:lnTo>
                            <a:pt x="2368" y="1980"/>
                          </a:lnTo>
                          <a:lnTo>
                            <a:pt x="2372" y="1968"/>
                          </a:lnTo>
                          <a:lnTo>
                            <a:pt x="2373" y="1955"/>
                          </a:lnTo>
                          <a:lnTo>
                            <a:pt x="2374" y="1940"/>
                          </a:lnTo>
                          <a:lnTo>
                            <a:pt x="2376" y="1924"/>
                          </a:lnTo>
                          <a:lnTo>
                            <a:pt x="2376" y="1924"/>
                          </a:lnTo>
                          <a:lnTo>
                            <a:pt x="2374" y="1911"/>
                          </a:lnTo>
                          <a:lnTo>
                            <a:pt x="2373" y="1897"/>
                          </a:lnTo>
                          <a:lnTo>
                            <a:pt x="2371" y="1884"/>
                          </a:lnTo>
                          <a:lnTo>
                            <a:pt x="2368" y="1872"/>
                          </a:lnTo>
                          <a:lnTo>
                            <a:pt x="2365" y="1861"/>
                          </a:lnTo>
                          <a:lnTo>
                            <a:pt x="2360" y="1851"/>
                          </a:lnTo>
                          <a:lnTo>
                            <a:pt x="2355" y="1842"/>
                          </a:lnTo>
                          <a:lnTo>
                            <a:pt x="2349" y="1833"/>
                          </a:lnTo>
                          <a:lnTo>
                            <a:pt x="2343" y="1826"/>
                          </a:lnTo>
                          <a:lnTo>
                            <a:pt x="2336" y="1818"/>
                          </a:lnTo>
                          <a:lnTo>
                            <a:pt x="2327" y="1812"/>
                          </a:lnTo>
                          <a:lnTo>
                            <a:pt x="2319" y="1807"/>
                          </a:lnTo>
                          <a:lnTo>
                            <a:pt x="2310" y="1804"/>
                          </a:lnTo>
                          <a:lnTo>
                            <a:pt x="2300" y="1801"/>
                          </a:lnTo>
                          <a:lnTo>
                            <a:pt x="2289" y="1800"/>
                          </a:lnTo>
                          <a:lnTo>
                            <a:pt x="2278" y="1799"/>
                          </a:lnTo>
                          <a:lnTo>
                            <a:pt x="2278" y="1799"/>
                          </a:lnTo>
                          <a:close/>
                          <a:moveTo>
                            <a:pt x="2267" y="1855"/>
                          </a:moveTo>
                          <a:lnTo>
                            <a:pt x="2267" y="1855"/>
                          </a:lnTo>
                          <a:lnTo>
                            <a:pt x="2276" y="1856"/>
                          </a:lnTo>
                          <a:lnTo>
                            <a:pt x="2284" y="1859"/>
                          </a:lnTo>
                          <a:lnTo>
                            <a:pt x="2292" y="1863"/>
                          </a:lnTo>
                          <a:lnTo>
                            <a:pt x="2299" y="1871"/>
                          </a:lnTo>
                          <a:lnTo>
                            <a:pt x="2305" y="1879"/>
                          </a:lnTo>
                          <a:lnTo>
                            <a:pt x="2309" y="1891"/>
                          </a:lnTo>
                          <a:lnTo>
                            <a:pt x="2312" y="1906"/>
                          </a:lnTo>
                          <a:lnTo>
                            <a:pt x="2314" y="1923"/>
                          </a:lnTo>
                          <a:lnTo>
                            <a:pt x="2314" y="1923"/>
                          </a:lnTo>
                          <a:lnTo>
                            <a:pt x="2312" y="1941"/>
                          </a:lnTo>
                          <a:lnTo>
                            <a:pt x="2310" y="1957"/>
                          </a:lnTo>
                          <a:lnTo>
                            <a:pt x="2308" y="1969"/>
                          </a:lnTo>
                          <a:lnTo>
                            <a:pt x="2303" y="1980"/>
                          </a:lnTo>
                          <a:lnTo>
                            <a:pt x="2295" y="1989"/>
                          </a:lnTo>
                          <a:lnTo>
                            <a:pt x="2288" y="1995"/>
                          </a:lnTo>
                          <a:lnTo>
                            <a:pt x="2280" y="1998"/>
                          </a:lnTo>
                          <a:lnTo>
                            <a:pt x="2269" y="2000"/>
                          </a:lnTo>
                          <a:lnTo>
                            <a:pt x="2269" y="2000"/>
                          </a:lnTo>
                          <a:lnTo>
                            <a:pt x="2260" y="1998"/>
                          </a:lnTo>
                          <a:lnTo>
                            <a:pt x="2253" y="1997"/>
                          </a:lnTo>
                          <a:lnTo>
                            <a:pt x="2247" y="1993"/>
                          </a:lnTo>
                          <a:lnTo>
                            <a:pt x="2241" y="1991"/>
                          </a:lnTo>
                          <a:lnTo>
                            <a:pt x="2231" y="1983"/>
                          </a:lnTo>
                          <a:lnTo>
                            <a:pt x="2225" y="1976"/>
                          </a:lnTo>
                          <a:lnTo>
                            <a:pt x="2225" y="1879"/>
                          </a:lnTo>
                          <a:lnTo>
                            <a:pt x="2225" y="1879"/>
                          </a:lnTo>
                          <a:lnTo>
                            <a:pt x="2229" y="1874"/>
                          </a:lnTo>
                          <a:lnTo>
                            <a:pt x="2233" y="1869"/>
                          </a:lnTo>
                          <a:lnTo>
                            <a:pt x="2238" y="1865"/>
                          </a:lnTo>
                          <a:lnTo>
                            <a:pt x="2243" y="1861"/>
                          </a:lnTo>
                          <a:lnTo>
                            <a:pt x="2249" y="1859"/>
                          </a:lnTo>
                          <a:lnTo>
                            <a:pt x="2255" y="1856"/>
                          </a:lnTo>
                          <a:lnTo>
                            <a:pt x="2261" y="1855"/>
                          </a:lnTo>
                          <a:lnTo>
                            <a:pt x="2267" y="1855"/>
                          </a:lnTo>
                          <a:lnTo>
                            <a:pt x="2267" y="1855"/>
                          </a:lnTo>
                          <a:close/>
                          <a:moveTo>
                            <a:pt x="1591" y="1822"/>
                          </a:moveTo>
                          <a:lnTo>
                            <a:pt x="1591" y="1822"/>
                          </a:lnTo>
                          <a:lnTo>
                            <a:pt x="1586" y="1817"/>
                          </a:lnTo>
                          <a:lnTo>
                            <a:pt x="1580" y="1812"/>
                          </a:lnTo>
                          <a:lnTo>
                            <a:pt x="1572" y="1809"/>
                          </a:lnTo>
                          <a:lnTo>
                            <a:pt x="1566" y="1805"/>
                          </a:lnTo>
                          <a:lnTo>
                            <a:pt x="1559" y="1803"/>
                          </a:lnTo>
                          <a:lnTo>
                            <a:pt x="1552" y="1800"/>
                          </a:lnTo>
                          <a:lnTo>
                            <a:pt x="1544" y="1800"/>
                          </a:lnTo>
                          <a:lnTo>
                            <a:pt x="1537" y="1799"/>
                          </a:lnTo>
                          <a:lnTo>
                            <a:pt x="1537" y="1799"/>
                          </a:lnTo>
                          <a:lnTo>
                            <a:pt x="1526" y="1800"/>
                          </a:lnTo>
                          <a:lnTo>
                            <a:pt x="1515" y="1801"/>
                          </a:lnTo>
                          <a:lnTo>
                            <a:pt x="1506" y="1804"/>
                          </a:lnTo>
                          <a:lnTo>
                            <a:pt x="1497" y="1807"/>
                          </a:lnTo>
                          <a:lnTo>
                            <a:pt x="1489" y="1812"/>
                          </a:lnTo>
                          <a:lnTo>
                            <a:pt x="1480" y="1818"/>
                          </a:lnTo>
                          <a:lnTo>
                            <a:pt x="1473" y="1826"/>
                          </a:lnTo>
                          <a:lnTo>
                            <a:pt x="1467" y="1833"/>
                          </a:lnTo>
                          <a:lnTo>
                            <a:pt x="1461" y="1842"/>
                          </a:lnTo>
                          <a:lnTo>
                            <a:pt x="1456" y="1851"/>
                          </a:lnTo>
                          <a:lnTo>
                            <a:pt x="1451" y="1861"/>
                          </a:lnTo>
                          <a:lnTo>
                            <a:pt x="1447" y="1872"/>
                          </a:lnTo>
                          <a:lnTo>
                            <a:pt x="1445" y="1884"/>
                          </a:lnTo>
                          <a:lnTo>
                            <a:pt x="1442" y="1897"/>
                          </a:lnTo>
                          <a:lnTo>
                            <a:pt x="1441" y="1911"/>
                          </a:lnTo>
                          <a:lnTo>
                            <a:pt x="1441" y="1924"/>
                          </a:lnTo>
                          <a:lnTo>
                            <a:pt x="1441" y="1924"/>
                          </a:lnTo>
                          <a:lnTo>
                            <a:pt x="1441" y="1940"/>
                          </a:lnTo>
                          <a:lnTo>
                            <a:pt x="1442" y="1953"/>
                          </a:lnTo>
                          <a:lnTo>
                            <a:pt x="1445" y="1967"/>
                          </a:lnTo>
                          <a:lnTo>
                            <a:pt x="1447" y="1979"/>
                          </a:lnTo>
                          <a:lnTo>
                            <a:pt x="1451" y="1991"/>
                          </a:lnTo>
                          <a:lnTo>
                            <a:pt x="1455" y="2002"/>
                          </a:lnTo>
                          <a:lnTo>
                            <a:pt x="1461" y="2012"/>
                          </a:lnTo>
                          <a:lnTo>
                            <a:pt x="1465" y="2020"/>
                          </a:lnTo>
                          <a:lnTo>
                            <a:pt x="1473" y="2029"/>
                          </a:lnTo>
                          <a:lnTo>
                            <a:pt x="1479" y="2035"/>
                          </a:lnTo>
                          <a:lnTo>
                            <a:pt x="1487" y="2041"/>
                          </a:lnTo>
                          <a:lnTo>
                            <a:pt x="1496" y="2046"/>
                          </a:lnTo>
                          <a:lnTo>
                            <a:pt x="1504" y="2049"/>
                          </a:lnTo>
                          <a:lnTo>
                            <a:pt x="1514" y="2053"/>
                          </a:lnTo>
                          <a:lnTo>
                            <a:pt x="1525" y="2054"/>
                          </a:lnTo>
                          <a:lnTo>
                            <a:pt x="1536" y="2054"/>
                          </a:lnTo>
                          <a:lnTo>
                            <a:pt x="1536" y="2054"/>
                          </a:lnTo>
                          <a:lnTo>
                            <a:pt x="1543" y="2054"/>
                          </a:lnTo>
                          <a:lnTo>
                            <a:pt x="1551" y="2053"/>
                          </a:lnTo>
                          <a:lnTo>
                            <a:pt x="1558" y="2052"/>
                          </a:lnTo>
                          <a:lnTo>
                            <a:pt x="1565" y="2049"/>
                          </a:lnTo>
                          <a:lnTo>
                            <a:pt x="1572" y="2046"/>
                          </a:lnTo>
                          <a:lnTo>
                            <a:pt x="1578" y="2041"/>
                          </a:lnTo>
                          <a:lnTo>
                            <a:pt x="1585" y="2037"/>
                          </a:lnTo>
                          <a:lnTo>
                            <a:pt x="1591" y="2031"/>
                          </a:lnTo>
                          <a:lnTo>
                            <a:pt x="1591" y="2037"/>
                          </a:lnTo>
                          <a:lnTo>
                            <a:pt x="1591" y="2037"/>
                          </a:lnTo>
                          <a:lnTo>
                            <a:pt x="1591" y="2047"/>
                          </a:lnTo>
                          <a:lnTo>
                            <a:pt x="1589" y="2058"/>
                          </a:lnTo>
                          <a:lnTo>
                            <a:pt x="1587" y="2069"/>
                          </a:lnTo>
                          <a:lnTo>
                            <a:pt x="1585" y="2074"/>
                          </a:lnTo>
                          <a:lnTo>
                            <a:pt x="1581" y="2079"/>
                          </a:lnTo>
                          <a:lnTo>
                            <a:pt x="1577" y="2083"/>
                          </a:lnTo>
                          <a:lnTo>
                            <a:pt x="1572" y="2088"/>
                          </a:lnTo>
                          <a:lnTo>
                            <a:pt x="1565" y="2092"/>
                          </a:lnTo>
                          <a:lnTo>
                            <a:pt x="1558" y="2094"/>
                          </a:lnTo>
                          <a:lnTo>
                            <a:pt x="1549" y="2098"/>
                          </a:lnTo>
                          <a:lnTo>
                            <a:pt x="1538" y="2099"/>
                          </a:lnTo>
                          <a:lnTo>
                            <a:pt x="1526" y="2102"/>
                          </a:lnTo>
                          <a:lnTo>
                            <a:pt x="1513" y="2102"/>
                          </a:lnTo>
                          <a:lnTo>
                            <a:pt x="1510" y="2102"/>
                          </a:lnTo>
                          <a:lnTo>
                            <a:pt x="1531" y="2149"/>
                          </a:lnTo>
                          <a:lnTo>
                            <a:pt x="1532" y="2149"/>
                          </a:lnTo>
                          <a:lnTo>
                            <a:pt x="1532" y="2149"/>
                          </a:lnTo>
                          <a:lnTo>
                            <a:pt x="1547" y="2149"/>
                          </a:lnTo>
                          <a:lnTo>
                            <a:pt x="1560" y="2147"/>
                          </a:lnTo>
                          <a:lnTo>
                            <a:pt x="1574" y="2144"/>
                          </a:lnTo>
                          <a:lnTo>
                            <a:pt x="1585" y="2141"/>
                          </a:lnTo>
                          <a:lnTo>
                            <a:pt x="1595" y="2137"/>
                          </a:lnTo>
                          <a:lnTo>
                            <a:pt x="1605" y="2132"/>
                          </a:lnTo>
                          <a:lnTo>
                            <a:pt x="1614" y="2125"/>
                          </a:lnTo>
                          <a:lnTo>
                            <a:pt x="1622" y="2119"/>
                          </a:lnTo>
                          <a:lnTo>
                            <a:pt x="1630" y="2110"/>
                          </a:lnTo>
                          <a:lnTo>
                            <a:pt x="1634" y="2100"/>
                          </a:lnTo>
                          <a:lnTo>
                            <a:pt x="1640" y="2091"/>
                          </a:lnTo>
                          <a:lnTo>
                            <a:pt x="1644" y="2080"/>
                          </a:lnTo>
                          <a:lnTo>
                            <a:pt x="1648" y="2068"/>
                          </a:lnTo>
                          <a:lnTo>
                            <a:pt x="1650" y="2055"/>
                          </a:lnTo>
                          <a:lnTo>
                            <a:pt x="1651" y="2042"/>
                          </a:lnTo>
                          <a:lnTo>
                            <a:pt x="1651" y="2026"/>
                          </a:lnTo>
                          <a:lnTo>
                            <a:pt x="1651" y="1805"/>
                          </a:lnTo>
                          <a:lnTo>
                            <a:pt x="1591" y="1805"/>
                          </a:lnTo>
                          <a:lnTo>
                            <a:pt x="1591" y="1822"/>
                          </a:lnTo>
                          <a:close/>
                          <a:moveTo>
                            <a:pt x="1591" y="1879"/>
                          </a:moveTo>
                          <a:lnTo>
                            <a:pt x="1591" y="1975"/>
                          </a:lnTo>
                          <a:lnTo>
                            <a:pt x="1591" y="1975"/>
                          </a:lnTo>
                          <a:lnTo>
                            <a:pt x="1583" y="1984"/>
                          </a:lnTo>
                          <a:lnTo>
                            <a:pt x="1574" y="1992"/>
                          </a:lnTo>
                          <a:lnTo>
                            <a:pt x="1569" y="1995"/>
                          </a:lnTo>
                          <a:lnTo>
                            <a:pt x="1563" y="1997"/>
                          </a:lnTo>
                          <a:lnTo>
                            <a:pt x="1555" y="1998"/>
                          </a:lnTo>
                          <a:lnTo>
                            <a:pt x="1548" y="2000"/>
                          </a:lnTo>
                          <a:lnTo>
                            <a:pt x="1548" y="2000"/>
                          </a:lnTo>
                          <a:lnTo>
                            <a:pt x="1540" y="1998"/>
                          </a:lnTo>
                          <a:lnTo>
                            <a:pt x="1532" y="1996"/>
                          </a:lnTo>
                          <a:lnTo>
                            <a:pt x="1524" y="1991"/>
                          </a:lnTo>
                          <a:lnTo>
                            <a:pt x="1518" y="1985"/>
                          </a:lnTo>
                          <a:lnTo>
                            <a:pt x="1512" y="1975"/>
                          </a:lnTo>
                          <a:lnTo>
                            <a:pt x="1507" y="1962"/>
                          </a:lnTo>
                          <a:lnTo>
                            <a:pt x="1503" y="1945"/>
                          </a:lnTo>
                          <a:lnTo>
                            <a:pt x="1502" y="1923"/>
                          </a:lnTo>
                          <a:lnTo>
                            <a:pt x="1502" y="1923"/>
                          </a:lnTo>
                          <a:lnTo>
                            <a:pt x="1503" y="1904"/>
                          </a:lnTo>
                          <a:lnTo>
                            <a:pt x="1507" y="1889"/>
                          </a:lnTo>
                          <a:lnTo>
                            <a:pt x="1512" y="1877"/>
                          </a:lnTo>
                          <a:lnTo>
                            <a:pt x="1518" y="1868"/>
                          </a:lnTo>
                          <a:lnTo>
                            <a:pt x="1524" y="1861"/>
                          </a:lnTo>
                          <a:lnTo>
                            <a:pt x="1532" y="1857"/>
                          </a:lnTo>
                          <a:lnTo>
                            <a:pt x="1540" y="1855"/>
                          </a:lnTo>
                          <a:lnTo>
                            <a:pt x="1548" y="1855"/>
                          </a:lnTo>
                          <a:lnTo>
                            <a:pt x="1548" y="1855"/>
                          </a:lnTo>
                          <a:lnTo>
                            <a:pt x="1555" y="1855"/>
                          </a:lnTo>
                          <a:lnTo>
                            <a:pt x="1563" y="1857"/>
                          </a:lnTo>
                          <a:lnTo>
                            <a:pt x="1570" y="1860"/>
                          </a:lnTo>
                          <a:lnTo>
                            <a:pt x="1575" y="1862"/>
                          </a:lnTo>
                          <a:lnTo>
                            <a:pt x="1580" y="1867"/>
                          </a:lnTo>
                          <a:lnTo>
                            <a:pt x="1585" y="1871"/>
                          </a:lnTo>
                          <a:lnTo>
                            <a:pt x="1591" y="1879"/>
                          </a:lnTo>
                          <a:lnTo>
                            <a:pt x="1591" y="1879"/>
                          </a:lnTo>
                          <a:close/>
                          <a:moveTo>
                            <a:pt x="1840" y="1865"/>
                          </a:moveTo>
                          <a:lnTo>
                            <a:pt x="1840" y="1865"/>
                          </a:lnTo>
                          <a:lnTo>
                            <a:pt x="1854" y="1857"/>
                          </a:lnTo>
                          <a:lnTo>
                            <a:pt x="1869" y="1852"/>
                          </a:lnTo>
                          <a:lnTo>
                            <a:pt x="1885" y="1849"/>
                          </a:lnTo>
                          <a:lnTo>
                            <a:pt x="1902" y="1848"/>
                          </a:lnTo>
                          <a:lnTo>
                            <a:pt x="1902" y="1848"/>
                          </a:lnTo>
                          <a:lnTo>
                            <a:pt x="1913" y="1849"/>
                          </a:lnTo>
                          <a:lnTo>
                            <a:pt x="1921" y="1850"/>
                          </a:lnTo>
                          <a:lnTo>
                            <a:pt x="1928" y="1852"/>
                          </a:lnTo>
                          <a:lnTo>
                            <a:pt x="1935" y="1857"/>
                          </a:lnTo>
                          <a:lnTo>
                            <a:pt x="1939" y="1862"/>
                          </a:lnTo>
                          <a:lnTo>
                            <a:pt x="1943" y="1868"/>
                          </a:lnTo>
                          <a:lnTo>
                            <a:pt x="1945" y="1874"/>
                          </a:lnTo>
                          <a:lnTo>
                            <a:pt x="1945" y="1883"/>
                          </a:lnTo>
                          <a:lnTo>
                            <a:pt x="1945" y="1900"/>
                          </a:lnTo>
                          <a:lnTo>
                            <a:pt x="1945" y="1900"/>
                          </a:lnTo>
                          <a:lnTo>
                            <a:pt x="1935" y="1895"/>
                          </a:lnTo>
                          <a:lnTo>
                            <a:pt x="1921" y="1891"/>
                          </a:lnTo>
                          <a:lnTo>
                            <a:pt x="1908" y="1889"/>
                          </a:lnTo>
                          <a:lnTo>
                            <a:pt x="1893" y="1888"/>
                          </a:lnTo>
                          <a:lnTo>
                            <a:pt x="1893" y="1888"/>
                          </a:lnTo>
                          <a:lnTo>
                            <a:pt x="1876" y="1889"/>
                          </a:lnTo>
                          <a:lnTo>
                            <a:pt x="1859" y="1893"/>
                          </a:lnTo>
                          <a:lnTo>
                            <a:pt x="1843" y="1897"/>
                          </a:lnTo>
                          <a:lnTo>
                            <a:pt x="1835" y="1901"/>
                          </a:lnTo>
                          <a:lnTo>
                            <a:pt x="1828" y="1906"/>
                          </a:lnTo>
                          <a:lnTo>
                            <a:pt x="1822" y="1911"/>
                          </a:lnTo>
                          <a:lnTo>
                            <a:pt x="1815" y="1917"/>
                          </a:lnTo>
                          <a:lnTo>
                            <a:pt x="1809" y="1923"/>
                          </a:lnTo>
                          <a:lnTo>
                            <a:pt x="1805" y="1930"/>
                          </a:lnTo>
                          <a:lnTo>
                            <a:pt x="1801" y="1939"/>
                          </a:lnTo>
                          <a:lnTo>
                            <a:pt x="1798" y="1948"/>
                          </a:lnTo>
                          <a:lnTo>
                            <a:pt x="1797" y="1958"/>
                          </a:lnTo>
                          <a:lnTo>
                            <a:pt x="1796" y="1968"/>
                          </a:lnTo>
                          <a:lnTo>
                            <a:pt x="1796" y="1968"/>
                          </a:lnTo>
                          <a:lnTo>
                            <a:pt x="1797" y="1980"/>
                          </a:lnTo>
                          <a:lnTo>
                            <a:pt x="1798" y="1991"/>
                          </a:lnTo>
                          <a:lnTo>
                            <a:pt x="1801" y="2000"/>
                          </a:lnTo>
                          <a:lnTo>
                            <a:pt x="1805" y="2009"/>
                          </a:lnTo>
                          <a:lnTo>
                            <a:pt x="1808" y="2017"/>
                          </a:lnTo>
                          <a:lnTo>
                            <a:pt x="1814" y="2024"/>
                          </a:lnTo>
                          <a:lnTo>
                            <a:pt x="1819" y="2030"/>
                          </a:lnTo>
                          <a:lnTo>
                            <a:pt x="1826" y="2036"/>
                          </a:lnTo>
                          <a:lnTo>
                            <a:pt x="1832" y="2041"/>
                          </a:lnTo>
                          <a:lnTo>
                            <a:pt x="1840" y="2045"/>
                          </a:lnTo>
                          <a:lnTo>
                            <a:pt x="1856" y="2051"/>
                          </a:lnTo>
                          <a:lnTo>
                            <a:pt x="1871" y="2054"/>
                          </a:lnTo>
                          <a:lnTo>
                            <a:pt x="1887" y="2055"/>
                          </a:lnTo>
                          <a:lnTo>
                            <a:pt x="1887" y="2055"/>
                          </a:lnTo>
                          <a:lnTo>
                            <a:pt x="1901" y="2053"/>
                          </a:lnTo>
                          <a:lnTo>
                            <a:pt x="1909" y="2052"/>
                          </a:lnTo>
                          <a:lnTo>
                            <a:pt x="1916" y="2049"/>
                          </a:lnTo>
                          <a:lnTo>
                            <a:pt x="1925" y="2046"/>
                          </a:lnTo>
                          <a:lnTo>
                            <a:pt x="1932" y="2041"/>
                          </a:lnTo>
                          <a:lnTo>
                            <a:pt x="1939" y="2036"/>
                          </a:lnTo>
                          <a:lnTo>
                            <a:pt x="1945" y="2030"/>
                          </a:lnTo>
                          <a:lnTo>
                            <a:pt x="1945" y="2049"/>
                          </a:lnTo>
                          <a:lnTo>
                            <a:pt x="2006" y="2049"/>
                          </a:lnTo>
                          <a:lnTo>
                            <a:pt x="2006" y="1884"/>
                          </a:lnTo>
                          <a:lnTo>
                            <a:pt x="2006" y="1884"/>
                          </a:lnTo>
                          <a:lnTo>
                            <a:pt x="2006" y="1874"/>
                          </a:lnTo>
                          <a:lnTo>
                            <a:pt x="2005" y="1866"/>
                          </a:lnTo>
                          <a:lnTo>
                            <a:pt x="2003" y="1857"/>
                          </a:lnTo>
                          <a:lnTo>
                            <a:pt x="2000" y="1849"/>
                          </a:lnTo>
                          <a:lnTo>
                            <a:pt x="1995" y="1842"/>
                          </a:lnTo>
                          <a:lnTo>
                            <a:pt x="1992" y="1834"/>
                          </a:lnTo>
                          <a:lnTo>
                            <a:pt x="1986" y="1828"/>
                          </a:lnTo>
                          <a:lnTo>
                            <a:pt x="1979" y="1822"/>
                          </a:lnTo>
                          <a:lnTo>
                            <a:pt x="1973" y="1817"/>
                          </a:lnTo>
                          <a:lnTo>
                            <a:pt x="1966" y="1812"/>
                          </a:lnTo>
                          <a:lnTo>
                            <a:pt x="1958" y="1809"/>
                          </a:lnTo>
                          <a:lnTo>
                            <a:pt x="1949" y="1805"/>
                          </a:lnTo>
                          <a:lnTo>
                            <a:pt x="1939" y="1803"/>
                          </a:lnTo>
                          <a:lnTo>
                            <a:pt x="1930" y="1801"/>
                          </a:lnTo>
                          <a:lnTo>
                            <a:pt x="1919" y="1800"/>
                          </a:lnTo>
                          <a:lnTo>
                            <a:pt x="1908" y="1799"/>
                          </a:lnTo>
                          <a:lnTo>
                            <a:pt x="1908" y="1799"/>
                          </a:lnTo>
                          <a:lnTo>
                            <a:pt x="1894" y="1800"/>
                          </a:lnTo>
                          <a:lnTo>
                            <a:pt x="1883" y="1800"/>
                          </a:lnTo>
                          <a:lnTo>
                            <a:pt x="1871" y="1803"/>
                          </a:lnTo>
                          <a:lnTo>
                            <a:pt x="1859" y="1805"/>
                          </a:lnTo>
                          <a:lnTo>
                            <a:pt x="1848" y="1809"/>
                          </a:lnTo>
                          <a:lnTo>
                            <a:pt x="1837" y="1812"/>
                          </a:lnTo>
                          <a:lnTo>
                            <a:pt x="1826" y="1817"/>
                          </a:lnTo>
                          <a:lnTo>
                            <a:pt x="1815" y="1823"/>
                          </a:lnTo>
                          <a:lnTo>
                            <a:pt x="1840" y="1865"/>
                          </a:lnTo>
                          <a:close/>
                          <a:moveTo>
                            <a:pt x="1857" y="1968"/>
                          </a:moveTo>
                          <a:lnTo>
                            <a:pt x="1857" y="1968"/>
                          </a:lnTo>
                          <a:lnTo>
                            <a:pt x="1857" y="1961"/>
                          </a:lnTo>
                          <a:lnTo>
                            <a:pt x="1859" y="1953"/>
                          </a:lnTo>
                          <a:lnTo>
                            <a:pt x="1863" y="1947"/>
                          </a:lnTo>
                          <a:lnTo>
                            <a:pt x="1868" y="1942"/>
                          </a:lnTo>
                          <a:lnTo>
                            <a:pt x="1874" y="1939"/>
                          </a:lnTo>
                          <a:lnTo>
                            <a:pt x="1881" y="1936"/>
                          </a:lnTo>
                          <a:lnTo>
                            <a:pt x="1890" y="1934"/>
                          </a:lnTo>
                          <a:lnTo>
                            <a:pt x="1898" y="1934"/>
                          </a:lnTo>
                          <a:lnTo>
                            <a:pt x="1898" y="1934"/>
                          </a:lnTo>
                          <a:lnTo>
                            <a:pt x="1911" y="1934"/>
                          </a:lnTo>
                          <a:lnTo>
                            <a:pt x="1924" y="1936"/>
                          </a:lnTo>
                          <a:lnTo>
                            <a:pt x="1935" y="1940"/>
                          </a:lnTo>
                          <a:lnTo>
                            <a:pt x="1945" y="1946"/>
                          </a:lnTo>
                          <a:lnTo>
                            <a:pt x="1945" y="1979"/>
                          </a:lnTo>
                          <a:lnTo>
                            <a:pt x="1945" y="1979"/>
                          </a:lnTo>
                          <a:lnTo>
                            <a:pt x="1943" y="1984"/>
                          </a:lnTo>
                          <a:lnTo>
                            <a:pt x="1938" y="1989"/>
                          </a:lnTo>
                          <a:lnTo>
                            <a:pt x="1933" y="1993"/>
                          </a:lnTo>
                          <a:lnTo>
                            <a:pt x="1927" y="1997"/>
                          </a:lnTo>
                          <a:lnTo>
                            <a:pt x="1921" y="2001"/>
                          </a:lnTo>
                          <a:lnTo>
                            <a:pt x="1914" y="2003"/>
                          </a:lnTo>
                          <a:lnTo>
                            <a:pt x="1907" y="2004"/>
                          </a:lnTo>
                          <a:lnTo>
                            <a:pt x="1898" y="2006"/>
                          </a:lnTo>
                          <a:lnTo>
                            <a:pt x="1898" y="2006"/>
                          </a:lnTo>
                          <a:lnTo>
                            <a:pt x="1890" y="2004"/>
                          </a:lnTo>
                          <a:lnTo>
                            <a:pt x="1881" y="2002"/>
                          </a:lnTo>
                          <a:lnTo>
                            <a:pt x="1874" y="2000"/>
                          </a:lnTo>
                          <a:lnTo>
                            <a:pt x="1868" y="1995"/>
                          </a:lnTo>
                          <a:lnTo>
                            <a:pt x="1863" y="1990"/>
                          </a:lnTo>
                          <a:lnTo>
                            <a:pt x="1859" y="1984"/>
                          </a:lnTo>
                          <a:lnTo>
                            <a:pt x="1858" y="1976"/>
                          </a:lnTo>
                          <a:lnTo>
                            <a:pt x="1857" y="1968"/>
                          </a:lnTo>
                          <a:lnTo>
                            <a:pt x="1857" y="1968"/>
                          </a:lnTo>
                          <a:close/>
                          <a:moveTo>
                            <a:pt x="2569" y="1979"/>
                          </a:moveTo>
                          <a:lnTo>
                            <a:pt x="2569" y="1979"/>
                          </a:lnTo>
                          <a:lnTo>
                            <a:pt x="2560" y="1986"/>
                          </a:lnTo>
                          <a:lnTo>
                            <a:pt x="2549" y="1992"/>
                          </a:lnTo>
                          <a:lnTo>
                            <a:pt x="2543" y="1995"/>
                          </a:lnTo>
                          <a:lnTo>
                            <a:pt x="2536" y="1997"/>
                          </a:lnTo>
                          <a:lnTo>
                            <a:pt x="2529" y="1998"/>
                          </a:lnTo>
                          <a:lnTo>
                            <a:pt x="2521" y="2000"/>
                          </a:lnTo>
                          <a:lnTo>
                            <a:pt x="2521" y="2000"/>
                          </a:lnTo>
                          <a:lnTo>
                            <a:pt x="2515" y="1998"/>
                          </a:lnTo>
                          <a:lnTo>
                            <a:pt x="2508" y="1998"/>
                          </a:lnTo>
                          <a:lnTo>
                            <a:pt x="2500" y="1996"/>
                          </a:lnTo>
                          <a:lnTo>
                            <a:pt x="2490" y="1991"/>
                          </a:lnTo>
                          <a:lnTo>
                            <a:pt x="2481" y="1985"/>
                          </a:lnTo>
                          <a:lnTo>
                            <a:pt x="2478" y="1980"/>
                          </a:lnTo>
                          <a:lnTo>
                            <a:pt x="2474" y="1975"/>
                          </a:lnTo>
                          <a:lnTo>
                            <a:pt x="2472" y="1969"/>
                          </a:lnTo>
                          <a:lnTo>
                            <a:pt x="2469" y="1962"/>
                          </a:lnTo>
                          <a:lnTo>
                            <a:pt x="2468" y="1955"/>
                          </a:lnTo>
                          <a:lnTo>
                            <a:pt x="2467" y="1946"/>
                          </a:lnTo>
                          <a:lnTo>
                            <a:pt x="2616" y="1946"/>
                          </a:lnTo>
                          <a:lnTo>
                            <a:pt x="2616" y="1946"/>
                          </a:lnTo>
                          <a:lnTo>
                            <a:pt x="2617" y="1928"/>
                          </a:lnTo>
                          <a:lnTo>
                            <a:pt x="2617" y="1928"/>
                          </a:lnTo>
                          <a:lnTo>
                            <a:pt x="2617" y="1913"/>
                          </a:lnTo>
                          <a:lnTo>
                            <a:pt x="2615" y="1900"/>
                          </a:lnTo>
                          <a:lnTo>
                            <a:pt x="2614" y="1886"/>
                          </a:lnTo>
                          <a:lnTo>
                            <a:pt x="2610" y="1874"/>
                          </a:lnTo>
                          <a:lnTo>
                            <a:pt x="2607" y="1863"/>
                          </a:lnTo>
                          <a:lnTo>
                            <a:pt x="2602" y="1852"/>
                          </a:lnTo>
                          <a:lnTo>
                            <a:pt x="2596" y="1843"/>
                          </a:lnTo>
                          <a:lnTo>
                            <a:pt x="2589" y="1834"/>
                          </a:lnTo>
                          <a:lnTo>
                            <a:pt x="2582" y="1826"/>
                          </a:lnTo>
                          <a:lnTo>
                            <a:pt x="2575" y="1820"/>
                          </a:lnTo>
                          <a:lnTo>
                            <a:pt x="2566" y="1814"/>
                          </a:lnTo>
                          <a:lnTo>
                            <a:pt x="2557" y="1809"/>
                          </a:lnTo>
                          <a:lnTo>
                            <a:pt x="2547" y="1805"/>
                          </a:lnTo>
                          <a:lnTo>
                            <a:pt x="2537" y="1801"/>
                          </a:lnTo>
                          <a:lnTo>
                            <a:pt x="2526" y="1800"/>
                          </a:lnTo>
                          <a:lnTo>
                            <a:pt x="2514" y="1799"/>
                          </a:lnTo>
                          <a:lnTo>
                            <a:pt x="2514" y="1799"/>
                          </a:lnTo>
                          <a:lnTo>
                            <a:pt x="2503" y="1800"/>
                          </a:lnTo>
                          <a:lnTo>
                            <a:pt x="2492" y="1801"/>
                          </a:lnTo>
                          <a:lnTo>
                            <a:pt x="2481" y="1805"/>
                          </a:lnTo>
                          <a:lnTo>
                            <a:pt x="2470" y="1809"/>
                          </a:lnTo>
                          <a:lnTo>
                            <a:pt x="2461" y="1814"/>
                          </a:lnTo>
                          <a:lnTo>
                            <a:pt x="2452" y="1821"/>
                          </a:lnTo>
                          <a:lnTo>
                            <a:pt x="2444" y="1827"/>
                          </a:lnTo>
                          <a:lnTo>
                            <a:pt x="2436" y="1835"/>
                          </a:lnTo>
                          <a:lnTo>
                            <a:pt x="2429" y="1844"/>
                          </a:lnTo>
                          <a:lnTo>
                            <a:pt x="2423" y="1854"/>
                          </a:lnTo>
                          <a:lnTo>
                            <a:pt x="2418" y="1865"/>
                          </a:lnTo>
                          <a:lnTo>
                            <a:pt x="2413" y="1876"/>
                          </a:lnTo>
                          <a:lnTo>
                            <a:pt x="2410" y="1888"/>
                          </a:lnTo>
                          <a:lnTo>
                            <a:pt x="2407" y="1901"/>
                          </a:lnTo>
                          <a:lnTo>
                            <a:pt x="2406" y="1913"/>
                          </a:lnTo>
                          <a:lnTo>
                            <a:pt x="2405" y="1928"/>
                          </a:lnTo>
                          <a:lnTo>
                            <a:pt x="2405" y="1928"/>
                          </a:lnTo>
                          <a:lnTo>
                            <a:pt x="2406" y="1941"/>
                          </a:lnTo>
                          <a:lnTo>
                            <a:pt x="2407" y="1955"/>
                          </a:lnTo>
                          <a:lnTo>
                            <a:pt x="2410" y="1968"/>
                          </a:lnTo>
                          <a:lnTo>
                            <a:pt x="2413" y="1980"/>
                          </a:lnTo>
                          <a:lnTo>
                            <a:pt x="2418" y="1991"/>
                          </a:lnTo>
                          <a:lnTo>
                            <a:pt x="2423" y="2002"/>
                          </a:lnTo>
                          <a:lnTo>
                            <a:pt x="2429" y="2012"/>
                          </a:lnTo>
                          <a:lnTo>
                            <a:pt x="2436" y="2020"/>
                          </a:lnTo>
                          <a:lnTo>
                            <a:pt x="2445" y="2028"/>
                          </a:lnTo>
                          <a:lnTo>
                            <a:pt x="2453" y="2035"/>
                          </a:lnTo>
                          <a:lnTo>
                            <a:pt x="2463" y="2041"/>
                          </a:lnTo>
                          <a:lnTo>
                            <a:pt x="2473" y="2046"/>
                          </a:lnTo>
                          <a:lnTo>
                            <a:pt x="2484" y="2049"/>
                          </a:lnTo>
                          <a:lnTo>
                            <a:pt x="2496" y="2053"/>
                          </a:lnTo>
                          <a:lnTo>
                            <a:pt x="2508" y="2054"/>
                          </a:lnTo>
                          <a:lnTo>
                            <a:pt x="2521" y="2055"/>
                          </a:lnTo>
                          <a:lnTo>
                            <a:pt x="2521" y="2055"/>
                          </a:lnTo>
                          <a:lnTo>
                            <a:pt x="2534" y="2054"/>
                          </a:lnTo>
                          <a:lnTo>
                            <a:pt x="2545" y="2053"/>
                          </a:lnTo>
                          <a:lnTo>
                            <a:pt x="2557" y="2049"/>
                          </a:lnTo>
                          <a:lnTo>
                            <a:pt x="2568" y="2046"/>
                          </a:lnTo>
                          <a:lnTo>
                            <a:pt x="2579" y="2040"/>
                          </a:lnTo>
                          <a:lnTo>
                            <a:pt x="2588" y="2034"/>
                          </a:lnTo>
                          <a:lnTo>
                            <a:pt x="2598" y="2025"/>
                          </a:lnTo>
                          <a:lnTo>
                            <a:pt x="2608" y="2017"/>
                          </a:lnTo>
                          <a:lnTo>
                            <a:pt x="2569" y="1979"/>
                          </a:lnTo>
                          <a:close/>
                          <a:moveTo>
                            <a:pt x="2468" y="1901"/>
                          </a:moveTo>
                          <a:lnTo>
                            <a:pt x="2468" y="1901"/>
                          </a:lnTo>
                          <a:lnTo>
                            <a:pt x="2469" y="1890"/>
                          </a:lnTo>
                          <a:lnTo>
                            <a:pt x="2472" y="1880"/>
                          </a:lnTo>
                          <a:lnTo>
                            <a:pt x="2475" y="1872"/>
                          </a:lnTo>
                          <a:lnTo>
                            <a:pt x="2481" y="1865"/>
                          </a:lnTo>
                          <a:lnTo>
                            <a:pt x="2487" y="1859"/>
                          </a:lnTo>
                          <a:lnTo>
                            <a:pt x="2495" y="1855"/>
                          </a:lnTo>
                          <a:lnTo>
                            <a:pt x="2503" y="1851"/>
                          </a:lnTo>
                          <a:lnTo>
                            <a:pt x="2513" y="1851"/>
                          </a:lnTo>
                          <a:lnTo>
                            <a:pt x="2513" y="1851"/>
                          </a:lnTo>
                          <a:lnTo>
                            <a:pt x="2524" y="1852"/>
                          </a:lnTo>
                          <a:lnTo>
                            <a:pt x="2534" y="1855"/>
                          </a:lnTo>
                          <a:lnTo>
                            <a:pt x="2541" y="1860"/>
                          </a:lnTo>
                          <a:lnTo>
                            <a:pt x="2547" y="1867"/>
                          </a:lnTo>
                          <a:lnTo>
                            <a:pt x="2552" y="1874"/>
                          </a:lnTo>
                          <a:lnTo>
                            <a:pt x="2555" y="1883"/>
                          </a:lnTo>
                          <a:lnTo>
                            <a:pt x="2558" y="1893"/>
                          </a:lnTo>
                          <a:lnTo>
                            <a:pt x="2559" y="1901"/>
                          </a:lnTo>
                          <a:lnTo>
                            <a:pt x="2468" y="1901"/>
                          </a:lnTo>
                          <a:close/>
                          <a:moveTo>
                            <a:pt x="3153" y="1979"/>
                          </a:moveTo>
                          <a:lnTo>
                            <a:pt x="3153" y="1979"/>
                          </a:lnTo>
                          <a:lnTo>
                            <a:pt x="3144" y="1986"/>
                          </a:lnTo>
                          <a:lnTo>
                            <a:pt x="3134" y="1992"/>
                          </a:lnTo>
                          <a:lnTo>
                            <a:pt x="3127" y="1995"/>
                          </a:lnTo>
                          <a:lnTo>
                            <a:pt x="3121" y="1997"/>
                          </a:lnTo>
                          <a:lnTo>
                            <a:pt x="3113" y="1998"/>
                          </a:lnTo>
                          <a:lnTo>
                            <a:pt x="3105" y="2000"/>
                          </a:lnTo>
                          <a:lnTo>
                            <a:pt x="3105" y="2000"/>
                          </a:lnTo>
                          <a:lnTo>
                            <a:pt x="3099" y="1998"/>
                          </a:lnTo>
                          <a:lnTo>
                            <a:pt x="3091" y="1998"/>
                          </a:lnTo>
                          <a:lnTo>
                            <a:pt x="3083" y="1996"/>
                          </a:lnTo>
                          <a:lnTo>
                            <a:pt x="3074" y="1991"/>
                          </a:lnTo>
                          <a:lnTo>
                            <a:pt x="3066" y="1985"/>
                          </a:lnTo>
                          <a:lnTo>
                            <a:pt x="3062" y="1980"/>
                          </a:lnTo>
                          <a:lnTo>
                            <a:pt x="3059" y="1975"/>
                          </a:lnTo>
                          <a:lnTo>
                            <a:pt x="3056" y="1969"/>
                          </a:lnTo>
                          <a:lnTo>
                            <a:pt x="3054" y="1962"/>
                          </a:lnTo>
                          <a:lnTo>
                            <a:pt x="3051" y="1955"/>
                          </a:lnTo>
                          <a:lnTo>
                            <a:pt x="3050" y="1946"/>
                          </a:lnTo>
                          <a:lnTo>
                            <a:pt x="3201" y="1946"/>
                          </a:lnTo>
                          <a:lnTo>
                            <a:pt x="3201" y="1946"/>
                          </a:lnTo>
                          <a:lnTo>
                            <a:pt x="3202" y="1928"/>
                          </a:lnTo>
                          <a:lnTo>
                            <a:pt x="3202" y="1928"/>
                          </a:lnTo>
                          <a:lnTo>
                            <a:pt x="3201" y="1913"/>
                          </a:lnTo>
                          <a:lnTo>
                            <a:pt x="3199" y="1900"/>
                          </a:lnTo>
                          <a:lnTo>
                            <a:pt x="3197" y="1886"/>
                          </a:lnTo>
                          <a:lnTo>
                            <a:pt x="3195" y="1874"/>
                          </a:lnTo>
                          <a:lnTo>
                            <a:pt x="3190" y="1863"/>
                          </a:lnTo>
                          <a:lnTo>
                            <a:pt x="3185" y="1852"/>
                          </a:lnTo>
                          <a:lnTo>
                            <a:pt x="3180" y="1843"/>
                          </a:lnTo>
                          <a:lnTo>
                            <a:pt x="3174" y="1834"/>
                          </a:lnTo>
                          <a:lnTo>
                            <a:pt x="3167" y="1826"/>
                          </a:lnTo>
                          <a:lnTo>
                            <a:pt x="3158" y="1820"/>
                          </a:lnTo>
                          <a:lnTo>
                            <a:pt x="3150" y="1814"/>
                          </a:lnTo>
                          <a:lnTo>
                            <a:pt x="3141" y="1809"/>
                          </a:lnTo>
                          <a:lnTo>
                            <a:pt x="3131" y="1805"/>
                          </a:lnTo>
                          <a:lnTo>
                            <a:pt x="3121" y="1801"/>
                          </a:lnTo>
                          <a:lnTo>
                            <a:pt x="3110" y="1800"/>
                          </a:lnTo>
                          <a:lnTo>
                            <a:pt x="3099" y="1799"/>
                          </a:lnTo>
                          <a:lnTo>
                            <a:pt x="3099" y="1799"/>
                          </a:lnTo>
                          <a:lnTo>
                            <a:pt x="3086" y="1800"/>
                          </a:lnTo>
                          <a:lnTo>
                            <a:pt x="3076" y="1801"/>
                          </a:lnTo>
                          <a:lnTo>
                            <a:pt x="3065" y="1805"/>
                          </a:lnTo>
                          <a:lnTo>
                            <a:pt x="3055" y="1809"/>
                          </a:lnTo>
                          <a:lnTo>
                            <a:pt x="3045" y="1814"/>
                          </a:lnTo>
                          <a:lnTo>
                            <a:pt x="3035" y="1821"/>
                          </a:lnTo>
                          <a:lnTo>
                            <a:pt x="3028" y="1827"/>
                          </a:lnTo>
                          <a:lnTo>
                            <a:pt x="3020" y="1835"/>
                          </a:lnTo>
                          <a:lnTo>
                            <a:pt x="3012" y="1844"/>
                          </a:lnTo>
                          <a:lnTo>
                            <a:pt x="3006" y="1854"/>
                          </a:lnTo>
                          <a:lnTo>
                            <a:pt x="3001" y="1865"/>
                          </a:lnTo>
                          <a:lnTo>
                            <a:pt x="2997" y="1876"/>
                          </a:lnTo>
                          <a:lnTo>
                            <a:pt x="2994" y="1888"/>
                          </a:lnTo>
                          <a:lnTo>
                            <a:pt x="2990" y="1901"/>
                          </a:lnTo>
                          <a:lnTo>
                            <a:pt x="2989" y="1913"/>
                          </a:lnTo>
                          <a:lnTo>
                            <a:pt x="2989" y="1928"/>
                          </a:lnTo>
                          <a:lnTo>
                            <a:pt x="2989" y="1928"/>
                          </a:lnTo>
                          <a:lnTo>
                            <a:pt x="2989" y="1941"/>
                          </a:lnTo>
                          <a:lnTo>
                            <a:pt x="2990" y="1955"/>
                          </a:lnTo>
                          <a:lnTo>
                            <a:pt x="2993" y="1968"/>
                          </a:lnTo>
                          <a:lnTo>
                            <a:pt x="2997" y="1980"/>
                          </a:lnTo>
                          <a:lnTo>
                            <a:pt x="3001" y="1991"/>
                          </a:lnTo>
                          <a:lnTo>
                            <a:pt x="3008" y="2002"/>
                          </a:lnTo>
                          <a:lnTo>
                            <a:pt x="3014" y="2012"/>
                          </a:lnTo>
                          <a:lnTo>
                            <a:pt x="3021" y="2020"/>
                          </a:lnTo>
                          <a:lnTo>
                            <a:pt x="3028" y="2028"/>
                          </a:lnTo>
                          <a:lnTo>
                            <a:pt x="3037" y="2035"/>
                          </a:lnTo>
                          <a:lnTo>
                            <a:pt x="3046" y="2041"/>
                          </a:lnTo>
                          <a:lnTo>
                            <a:pt x="3057" y="2046"/>
                          </a:lnTo>
                          <a:lnTo>
                            <a:pt x="3068" y="2049"/>
                          </a:lnTo>
                          <a:lnTo>
                            <a:pt x="3079" y="2053"/>
                          </a:lnTo>
                          <a:lnTo>
                            <a:pt x="3093" y="2054"/>
                          </a:lnTo>
                          <a:lnTo>
                            <a:pt x="3105" y="2055"/>
                          </a:lnTo>
                          <a:lnTo>
                            <a:pt x="3105" y="2055"/>
                          </a:lnTo>
                          <a:lnTo>
                            <a:pt x="3117" y="2054"/>
                          </a:lnTo>
                          <a:lnTo>
                            <a:pt x="3129" y="2053"/>
                          </a:lnTo>
                          <a:lnTo>
                            <a:pt x="3140" y="2049"/>
                          </a:lnTo>
                          <a:lnTo>
                            <a:pt x="3151" y="2046"/>
                          </a:lnTo>
                          <a:lnTo>
                            <a:pt x="3162" y="2040"/>
                          </a:lnTo>
                          <a:lnTo>
                            <a:pt x="3173" y="2034"/>
                          </a:lnTo>
                          <a:lnTo>
                            <a:pt x="3182" y="2025"/>
                          </a:lnTo>
                          <a:lnTo>
                            <a:pt x="3191" y="2017"/>
                          </a:lnTo>
                          <a:lnTo>
                            <a:pt x="3153" y="1979"/>
                          </a:lnTo>
                          <a:close/>
                          <a:moveTo>
                            <a:pt x="3051" y="1901"/>
                          </a:moveTo>
                          <a:lnTo>
                            <a:pt x="3051" y="1901"/>
                          </a:lnTo>
                          <a:lnTo>
                            <a:pt x="3052" y="1890"/>
                          </a:lnTo>
                          <a:lnTo>
                            <a:pt x="3056" y="1880"/>
                          </a:lnTo>
                          <a:lnTo>
                            <a:pt x="3060" y="1872"/>
                          </a:lnTo>
                          <a:lnTo>
                            <a:pt x="3065" y="1865"/>
                          </a:lnTo>
                          <a:lnTo>
                            <a:pt x="3072" y="1859"/>
                          </a:lnTo>
                          <a:lnTo>
                            <a:pt x="3079" y="1855"/>
                          </a:lnTo>
                          <a:lnTo>
                            <a:pt x="3088" y="1851"/>
                          </a:lnTo>
                          <a:lnTo>
                            <a:pt x="3097" y="1851"/>
                          </a:lnTo>
                          <a:lnTo>
                            <a:pt x="3097" y="1851"/>
                          </a:lnTo>
                          <a:lnTo>
                            <a:pt x="3108" y="1852"/>
                          </a:lnTo>
                          <a:lnTo>
                            <a:pt x="3117" y="1855"/>
                          </a:lnTo>
                          <a:lnTo>
                            <a:pt x="3125" y="1860"/>
                          </a:lnTo>
                          <a:lnTo>
                            <a:pt x="3131" y="1867"/>
                          </a:lnTo>
                          <a:lnTo>
                            <a:pt x="3136" y="1874"/>
                          </a:lnTo>
                          <a:lnTo>
                            <a:pt x="3140" y="1883"/>
                          </a:lnTo>
                          <a:lnTo>
                            <a:pt x="3142" y="1893"/>
                          </a:lnTo>
                          <a:lnTo>
                            <a:pt x="3144" y="1901"/>
                          </a:lnTo>
                          <a:lnTo>
                            <a:pt x="3051" y="1901"/>
                          </a:lnTo>
                          <a:close/>
                          <a:moveTo>
                            <a:pt x="2905" y="1964"/>
                          </a:moveTo>
                          <a:lnTo>
                            <a:pt x="2905" y="1964"/>
                          </a:lnTo>
                          <a:lnTo>
                            <a:pt x="2905" y="1973"/>
                          </a:lnTo>
                          <a:lnTo>
                            <a:pt x="2907" y="1979"/>
                          </a:lnTo>
                          <a:lnTo>
                            <a:pt x="2909" y="1985"/>
                          </a:lnTo>
                          <a:lnTo>
                            <a:pt x="2912" y="1990"/>
                          </a:lnTo>
                          <a:lnTo>
                            <a:pt x="2915" y="1993"/>
                          </a:lnTo>
                          <a:lnTo>
                            <a:pt x="2920" y="1996"/>
                          </a:lnTo>
                          <a:lnTo>
                            <a:pt x="2925" y="1997"/>
                          </a:lnTo>
                          <a:lnTo>
                            <a:pt x="2932" y="1997"/>
                          </a:lnTo>
                          <a:lnTo>
                            <a:pt x="2932" y="1997"/>
                          </a:lnTo>
                          <a:lnTo>
                            <a:pt x="2941" y="1997"/>
                          </a:lnTo>
                          <a:lnTo>
                            <a:pt x="2950" y="1995"/>
                          </a:lnTo>
                          <a:lnTo>
                            <a:pt x="2960" y="1991"/>
                          </a:lnTo>
                          <a:lnTo>
                            <a:pt x="2969" y="1986"/>
                          </a:lnTo>
                          <a:lnTo>
                            <a:pt x="2961" y="2043"/>
                          </a:lnTo>
                          <a:lnTo>
                            <a:pt x="2961" y="2043"/>
                          </a:lnTo>
                          <a:lnTo>
                            <a:pt x="2950" y="2048"/>
                          </a:lnTo>
                          <a:lnTo>
                            <a:pt x="2937" y="2052"/>
                          </a:lnTo>
                          <a:lnTo>
                            <a:pt x="2924" y="2054"/>
                          </a:lnTo>
                          <a:lnTo>
                            <a:pt x="2910" y="2055"/>
                          </a:lnTo>
                          <a:lnTo>
                            <a:pt x="2910" y="2055"/>
                          </a:lnTo>
                          <a:lnTo>
                            <a:pt x="2902" y="2054"/>
                          </a:lnTo>
                          <a:lnTo>
                            <a:pt x="2893" y="2053"/>
                          </a:lnTo>
                          <a:lnTo>
                            <a:pt x="2886" y="2051"/>
                          </a:lnTo>
                          <a:lnTo>
                            <a:pt x="2880" y="2048"/>
                          </a:lnTo>
                          <a:lnTo>
                            <a:pt x="2874" y="2045"/>
                          </a:lnTo>
                          <a:lnTo>
                            <a:pt x="2868" y="2041"/>
                          </a:lnTo>
                          <a:lnTo>
                            <a:pt x="2864" y="2036"/>
                          </a:lnTo>
                          <a:lnTo>
                            <a:pt x="2859" y="2030"/>
                          </a:lnTo>
                          <a:lnTo>
                            <a:pt x="2853" y="2019"/>
                          </a:lnTo>
                          <a:lnTo>
                            <a:pt x="2848" y="2006"/>
                          </a:lnTo>
                          <a:lnTo>
                            <a:pt x="2846" y="1993"/>
                          </a:lnTo>
                          <a:lnTo>
                            <a:pt x="2845" y="1980"/>
                          </a:lnTo>
                          <a:lnTo>
                            <a:pt x="2845" y="1861"/>
                          </a:lnTo>
                          <a:lnTo>
                            <a:pt x="2807" y="1861"/>
                          </a:lnTo>
                          <a:lnTo>
                            <a:pt x="2807" y="1805"/>
                          </a:lnTo>
                          <a:lnTo>
                            <a:pt x="2845" y="1805"/>
                          </a:lnTo>
                          <a:lnTo>
                            <a:pt x="2845" y="1742"/>
                          </a:lnTo>
                          <a:lnTo>
                            <a:pt x="2905" y="1711"/>
                          </a:lnTo>
                          <a:lnTo>
                            <a:pt x="2905" y="1805"/>
                          </a:lnTo>
                          <a:lnTo>
                            <a:pt x="2960" y="1805"/>
                          </a:lnTo>
                          <a:lnTo>
                            <a:pt x="2960" y="1861"/>
                          </a:lnTo>
                          <a:lnTo>
                            <a:pt x="2905" y="1861"/>
                          </a:lnTo>
                          <a:lnTo>
                            <a:pt x="2905" y="1964"/>
                          </a:lnTo>
                          <a:close/>
                          <a:moveTo>
                            <a:pt x="2788" y="2043"/>
                          </a:moveTo>
                          <a:lnTo>
                            <a:pt x="2788" y="2043"/>
                          </a:lnTo>
                          <a:lnTo>
                            <a:pt x="2777" y="2048"/>
                          </a:lnTo>
                          <a:lnTo>
                            <a:pt x="2764" y="2052"/>
                          </a:lnTo>
                          <a:lnTo>
                            <a:pt x="2751" y="2054"/>
                          </a:lnTo>
                          <a:lnTo>
                            <a:pt x="2738" y="2055"/>
                          </a:lnTo>
                          <a:lnTo>
                            <a:pt x="2738" y="2055"/>
                          </a:lnTo>
                          <a:lnTo>
                            <a:pt x="2728" y="2054"/>
                          </a:lnTo>
                          <a:lnTo>
                            <a:pt x="2721" y="2053"/>
                          </a:lnTo>
                          <a:lnTo>
                            <a:pt x="2713" y="2051"/>
                          </a:lnTo>
                          <a:lnTo>
                            <a:pt x="2706" y="2048"/>
                          </a:lnTo>
                          <a:lnTo>
                            <a:pt x="2701" y="2045"/>
                          </a:lnTo>
                          <a:lnTo>
                            <a:pt x="2695" y="2041"/>
                          </a:lnTo>
                          <a:lnTo>
                            <a:pt x="2690" y="2036"/>
                          </a:lnTo>
                          <a:lnTo>
                            <a:pt x="2687" y="2030"/>
                          </a:lnTo>
                          <a:lnTo>
                            <a:pt x="2679" y="2019"/>
                          </a:lnTo>
                          <a:lnTo>
                            <a:pt x="2676" y="2006"/>
                          </a:lnTo>
                          <a:lnTo>
                            <a:pt x="2672" y="1993"/>
                          </a:lnTo>
                          <a:lnTo>
                            <a:pt x="2672" y="1980"/>
                          </a:lnTo>
                          <a:lnTo>
                            <a:pt x="2672" y="1861"/>
                          </a:lnTo>
                          <a:lnTo>
                            <a:pt x="2634" y="1861"/>
                          </a:lnTo>
                          <a:lnTo>
                            <a:pt x="2634" y="1805"/>
                          </a:lnTo>
                          <a:lnTo>
                            <a:pt x="2672" y="1805"/>
                          </a:lnTo>
                          <a:lnTo>
                            <a:pt x="2672" y="1742"/>
                          </a:lnTo>
                          <a:lnTo>
                            <a:pt x="2733" y="1711"/>
                          </a:lnTo>
                          <a:lnTo>
                            <a:pt x="2733" y="1805"/>
                          </a:lnTo>
                          <a:lnTo>
                            <a:pt x="2784" y="1805"/>
                          </a:lnTo>
                          <a:lnTo>
                            <a:pt x="2784" y="1861"/>
                          </a:lnTo>
                          <a:lnTo>
                            <a:pt x="2733" y="1861"/>
                          </a:lnTo>
                          <a:lnTo>
                            <a:pt x="2733" y="1964"/>
                          </a:lnTo>
                          <a:lnTo>
                            <a:pt x="2733" y="1964"/>
                          </a:lnTo>
                          <a:lnTo>
                            <a:pt x="2733" y="1973"/>
                          </a:lnTo>
                          <a:lnTo>
                            <a:pt x="2734" y="1979"/>
                          </a:lnTo>
                          <a:lnTo>
                            <a:pt x="2737" y="1985"/>
                          </a:lnTo>
                          <a:lnTo>
                            <a:pt x="2739" y="1990"/>
                          </a:lnTo>
                          <a:lnTo>
                            <a:pt x="2743" y="1993"/>
                          </a:lnTo>
                          <a:lnTo>
                            <a:pt x="2747" y="1996"/>
                          </a:lnTo>
                          <a:lnTo>
                            <a:pt x="2752" y="1997"/>
                          </a:lnTo>
                          <a:lnTo>
                            <a:pt x="2758" y="1997"/>
                          </a:lnTo>
                          <a:lnTo>
                            <a:pt x="2758" y="1997"/>
                          </a:lnTo>
                          <a:lnTo>
                            <a:pt x="2768" y="1997"/>
                          </a:lnTo>
                          <a:lnTo>
                            <a:pt x="2778" y="1995"/>
                          </a:lnTo>
                          <a:lnTo>
                            <a:pt x="2786" y="1991"/>
                          </a:lnTo>
                          <a:lnTo>
                            <a:pt x="2795" y="1986"/>
                          </a:lnTo>
                          <a:lnTo>
                            <a:pt x="2788" y="2043"/>
                          </a:lnTo>
                          <a:close/>
                          <a:moveTo>
                            <a:pt x="3384" y="1873"/>
                          </a:moveTo>
                          <a:lnTo>
                            <a:pt x="3384" y="1873"/>
                          </a:lnTo>
                          <a:lnTo>
                            <a:pt x="3376" y="1867"/>
                          </a:lnTo>
                          <a:lnTo>
                            <a:pt x="3366" y="1863"/>
                          </a:lnTo>
                          <a:lnTo>
                            <a:pt x="3355" y="1861"/>
                          </a:lnTo>
                          <a:lnTo>
                            <a:pt x="3344" y="1860"/>
                          </a:lnTo>
                          <a:lnTo>
                            <a:pt x="3344" y="1860"/>
                          </a:lnTo>
                          <a:lnTo>
                            <a:pt x="3334" y="1861"/>
                          </a:lnTo>
                          <a:lnTo>
                            <a:pt x="3325" y="1863"/>
                          </a:lnTo>
                          <a:lnTo>
                            <a:pt x="3317" y="1868"/>
                          </a:lnTo>
                          <a:lnTo>
                            <a:pt x="3311" y="1874"/>
                          </a:lnTo>
                          <a:lnTo>
                            <a:pt x="3306" y="1882"/>
                          </a:lnTo>
                          <a:lnTo>
                            <a:pt x="3304" y="1891"/>
                          </a:lnTo>
                          <a:lnTo>
                            <a:pt x="3302" y="1904"/>
                          </a:lnTo>
                          <a:lnTo>
                            <a:pt x="3300" y="1917"/>
                          </a:lnTo>
                          <a:lnTo>
                            <a:pt x="3300" y="2049"/>
                          </a:lnTo>
                          <a:lnTo>
                            <a:pt x="3241" y="2049"/>
                          </a:lnTo>
                          <a:lnTo>
                            <a:pt x="3241" y="1805"/>
                          </a:lnTo>
                          <a:lnTo>
                            <a:pt x="3300" y="1805"/>
                          </a:lnTo>
                          <a:lnTo>
                            <a:pt x="3300" y="1826"/>
                          </a:lnTo>
                          <a:lnTo>
                            <a:pt x="3300" y="1826"/>
                          </a:lnTo>
                          <a:lnTo>
                            <a:pt x="3306" y="1820"/>
                          </a:lnTo>
                          <a:lnTo>
                            <a:pt x="3313" y="1814"/>
                          </a:lnTo>
                          <a:lnTo>
                            <a:pt x="3319" y="1810"/>
                          </a:lnTo>
                          <a:lnTo>
                            <a:pt x="3326" y="1806"/>
                          </a:lnTo>
                          <a:lnTo>
                            <a:pt x="3332" y="1803"/>
                          </a:lnTo>
                          <a:lnTo>
                            <a:pt x="3339" y="1801"/>
                          </a:lnTo>
                          <a:lnTo>
                            <a:pt x="3347" y="1800"/>
                          </a:lnTo>
                          <a:lnTo>
                            <a:pt x="3355" y="1799"/>
                          </a:lnTo>
                          <a:lnTo>
                            <a:pt x="3355" y="1799"/>
                          </a:lnTo>
                          <a:lnTo>
                            <a:pt x="3367" y="1800"/>
                          </a:lnTo>
                          <a:lnTo>
                            <a:pt x="3379" y="1804"/>
                          </a:lnTo>
                          <a:lnTo>
                            <a:pt x="3390" y="1807"/>
                          </a:lnTo>
                          <a:lnTo>
                            <a:pt x="3400" y="1814"/>
                          </a:lnTo>
                          <a:lnTo>
                            <a:pt x="3384" y="1873"/>
                          </a:lnTo>
                          <a:close/>
                          <a:moveTo>
                            <a:pt x="653" y="1747"/>
                          </a:moveTo>
                          <a:lnTo>
                            <a:pt x="653" y="1770"/>
                          </a:lnTo>
                          <a:lnTo>
                            <a:pt x="592" y="1770"/>
                          </a:lnTo>
                          <a:lnTo>
                            <a:pt x="592" y="1709"/>
                          </a:lnTo>
                          <a:lnTo>
                            <a:pt x="653" y="1709"/>
                          </a:lnTo>
                          <a:lnTo>
                            <a:pt x="653" y="1747"/>
                          </a:lnTo>
                          <a:close/>
                          <a:moveTo>
                            <a:pt x="1073" y="1805"/>
                          </a:moveTo>
                          <a:lnTo>
                            <a:pt x="1134" y="1805"/>
                          </a:lnTo>
                          <a:lnTo>
                            <a:pt x="1134" y="1930"/>
                          </a:lnTo>
                          <a:lnTo>
                            <a:pt x="1134" y="2049"/>
                          </a:lnTo>
                          <a:lnTo>
                            <a:pt x="1073" y="2049"/>
                          </a:lnTo>
                          <a:lnTo>
                            <a:pt x="1073" y="1805"/>
                          </a:lnTo>
                          <a:close/>
                          <a:moveTo>
                            <a:pt x="1134" y="1739"/>
                          </a:moveTo>
                          <a:lnTo>
                            <a:pt x="1134" y="1770"/>
                          </a:lnTo>
                          <a:lnTo>
                            <a:pt x="1073" y="1770"/>
                          </a:lnTo>
                          <a:lnTo>
                            <a:pt x="1073" y="1709"/>
                          </a:lnTo>
                          <a:lnTo>
                            <a:pt x="1134" y="1709"/>
                          </a:lnTo>
                          <a:lnTo>
                            <a:pt x="1134" y="1739"/>
                          </a:lnTo>
                          <a:close/>
                          <a:moveTo>
                            <a:pt x="2796" y="2250"/>
                          </a:moveTo>
                          <a:lnTo>
                            <a:pt x="2796" y="2250"/>
                          </a:lnTo>
                          <a:lnTo>
                            <a:pt x="2790" y="2245"/>
                          </a:lnTo>
                          <a:lnTo>
                            <a:pt x="2784" y="2240"/>
                          </a:lnTo>
                          <a:lnTo>
                            <a:pt x="2778" y="2237"/>
                          </a:lnTo>
                          <a:lnTo>
                            <a:pt x="2771" y="2233"/>
                          </a:lnTo>
                          <a:lnTo>
                            <a:pt x="2764" y="2231"/>
                          </a:lnTo>
                          <a:lnTo>
                            <a:pt x="2757" y="2229"/>
                          </a:lnTo>
                          <a:lnTo>
                            <a:pt x="2741" y="2227"/>
                          </a:lnTo>
                          <a:lnTo>
                            <a:pt x="2741" y="2227"/>
                          </a:lnTo>
                          <a:lnTo>
                            <a:pt x="2730" y="2228"/>
                          </a:lnTo>
                          <a:lnTo>
                            <a:pt x="2721" y="2229"/>
                          </a:lnTo>
                          <a:lnTo>
                            <a:pt x="2711" y="2233"/>
                          </a:lnTo>
                          <a:lnTo>
                            <a:pt x="2701" y="2237"/>
                          </a:lnTo>
                          <a:lnTo>
                            <a:pt x="2693" y="2241"/>
                          </a:lnTo>
                          <a:lnTo>
                            <a:pt x="2685" y="2246"/>
                          </a:lnTo>
                          <a:lnTo>
                            <a:pt x="2678" y="2254"/>
                          </a:lnTo>
                          <a:lnTo>
                            <a:pt x="2671" y="2261"/>
                          </a:lnTo>
                          <a:lnTo>
                            <a:pt x="2666" y="2269"/>
                          </a:lnTo>
                          <a:lnTo>
                            <a:pt x="2660" y="2279"/>
                          </a:lnTo>
                          <a:lnTo>
                            <a:pt x="2656" y="2289"/>
                          </a:lnTo>
                          <a:lnTo>
                            <a:pt x="2653" y="2301"/>
                          </a:lnTo>
                          <a:lnTo>
                            <a:pt x="2649" y="2312"/>
                          </a:lnTo>
                          <a:lnTo>
                            <a:pt x="2648" y="2325"/>
                          </a:lnTo>
                          <a:lnTo>
                            <a:pt x="2647" y="2339"/>
                          </a:lnTo>
                          <a:lnTo>
                            <a:pt x="2645" y="2353"/>
                          </a:lnTo>
                          <a:lnTo>
                            <a:pt x="2645" y="2353"/>
                          </a:lnTo>
                          <a:lnTo>
                            <a:pt x="2647" y="2368"/>
                          </a:lnTo>
                          <a:lnTo>
                            <a:pt x="2648" y="2381"/>
                          </a:lnTo>
                          <a:lnTo>
                            <a:pt x="2649" y="2395"/>
                          </a:lnTo>
                          <a:lnTo>
                            <a:pt x="2653" y="2408"/>
                          </a:lnTo>
                          <a:lnTo>
                            <a:pt x="2655" y="2419"/>
                          </a:lnTo>
                          <a:lnTo>
                            <a:pt x="2660" y="2430"/>
                          </a:lnTo>
                          <a:lnTo>
                            <a:pt x="2665" y="2440"/>
                          </a:lnTo>
                          <a:lnTo>
                            <a:pt x="2671" y="2448"/>
                          </a:lnTo>
                          <a:lnTo>
                            <a:pt x="2677" y="2457"/>
                          </a:lnTo>
                          <a:lnTo>
                            <a:pt x="2684" y="2463"/>
                          </a:lnTo>
                          <a:lnTo>
                            <a:pt x="2692" y="2469"/>
                          </a:lnTo>
                          <a:lnTo>
                            <a:pt x="2700" y="2474"/>
                          </a:lnTo>
                          <a:lnTo>
                            <a:pt x="2710" y="2479"/>
                          </a:lnTo>
                          <a:lnTo>
                            <a:pt x="2720" y="2481"/>
                          </a:lnTo>
                          <a:lnTo>
                            <a:pt x="2729" y="2482"/>
                          </a:lnTo>
                          <a:lnTo>
                            <a:pt x="2740" y="2483"/>
                          </a:lnTo>
                          <a:lnTo>
                            <a:pt x="2740" y="2483"/>
                          </a:lnTo>
                          <a:lnTo>
                            <a:pt x="2747" y="2482"/>
                          </a:lnTo>
                          <a:lnTo>
                            <a:pt x="2756" y="2481"/>
                          </a:lnTo>
                          <a:lnTo>
                            <a:pt x="2763" y="2480"/>
                          </a:lnTo>
                          <a:lnTo>
                            <a:pt x="2769" y="2477"/>
                          </a:lnTo>
                          <a:lnTo>
                            <a:pt x="2777" y="2474"/>
                          </a:lnTo>
                          <a:lnTo>
                            <a:pt x="2784" y="2470"/>
                          </a:lnTo>
                          <a:lnTo>
                            <a:pt x="2790" y="2465"/>
                          </a:lnTo>
                          <a:lnTo>
                            <a:pt x="2796" y="2459"/>
                          </a:lnTo>
                          <a:lnTo>
                            <a:pt x="2796" y="2477"/>
                          </a:lnTo>
                          <a:lnTo>
                            <a:pt x="2857" y="2477"/>
                          </a:lnTo>
                          <a:lnTo>
                            <a:pt x="2857" y="2131"/>
                          </a:lnTo>
                          <a:lnTo>
                            <a:pt x="2796" y="2161"/>
                          </a:lnTo>
                          <a:lnTo>
                            <a:pt x="2796" y="2250"/>
                          </a:lnTo>
                          <a:close/>
                          <a:moveTo>
                            <a:pt x="2754" y="2427"/>
                          </a:moveTo>
                          <a:lnTo>
                            <a:pt x="2754" y="2427"/>
                          </a:lnTo>
                          <a:lnTo>
                            <a:pt x="2745" y="2426"/>
                          </a:lnTo>
                          <a:lnTo>
                            <a:pt x="2738" y="2424"/>
                          </a:lnTo>
                          <a:lnTo>
                            <a:pt x="2729" y="2420"/>
                          </a:lnTo>
                          <a:lnTo>
                            <a:pt x="2722" y="2413"/>
                          </a:lnTo>
                          <a:lnTo>
                            <a:pt x="2716" y="2403"/>
                          </a:lnTo>
                          <a:lnTo>
                            <a:pt x="2711" y="2390"/>
                          </a:lnTo>
                          <a:lnTo>
                            <a:pt x="2709" y="2373"/>
                          </a:lnTo>
                          <a:lnTo>
                            <a:pt x="2707" y="2351"/>
                          </a:lnTo>
                          <a:lnTo>
                            <a:pt x="2707" y="2351"/>
                          </a:lnTo>
                          <a:lnTo>
                            <a:pt x="2709" y="2333"/>
                          </a:lnTo>
                          <a:lnTo>
                            <a:pt x="2711" y="2317"/>
                          </a:lnTo>
                          <a:lnTo>
                            <a:pt x="2716" y="2305"/>
                          </a:lnTo>
                          <a:lnTo>
                            <a:pt x="2722" y="2296"/>
                          </a:lnTo>
                          <a:lnTo>
                            <a:pt x="2729" y="2290"/>
                          </a:lnTo>
                          <a:lnTo>
                            <a:pt x="2737" y="2285"/>
                          </a:lnTo>
                          <a:lnTo>
                            <a:pt x="2745" y="2284"/>
                          </a:lnTo>
                          <a:lnTo>
                            <a:pt x="2752" y="2283"/>
                          </a:lnTo>
                          <a:lnTo>
                            <a:pt x="2752" y="2283"/>
                          </a:lnTo>
                          <a:lnTo>
                            <a:pt x="2761" y="2284"/>
                          </a:lnTo>
                          <a:lnTo>
                            <a:pt x="2768" y="2285"/>
                          </a:lnTo>
                          <a:lnTo>
                            <a:pt x="2774" y="2288"/>
                          </a:lnTo>
                          <a:lnTo>
                            <a:pt x="2780" y="2291"/>
                          </a:lnTo>
                          <a:lnTo>
                            <a:pt x="2785" y="2295"/>
                          </a:lnTo>
                          <a:lnTo>
                            <a:pt x="2790" y="2299"/>
                          </a:lnTo>
                          <a:lnTo>
                            <a:pt x="2796" y="2307"/>
                          </a:lnTo>
                          <a:lnTo>
                            <a:pt x="2796" y="2403"/>
                          </a:lnTo>
                          <a:lnTo>
                            <a:pt x="2796" y="2403"/>
                          </a:lnTo>
                          <a:lnTo>
                            <a:pt x="2789" y="2412"/>
                          </a:lnTo>
                          <a:lnTo>
                            <a:pt x="2780" y="2419"/>
                          </a:lnTo>
                          <a:lnTo>
                            <a:pt x="2774" y="2423"/>
                          </a:lnTo>
                          <a:lnTo>
                            <a:pt x="2768" y="2425"/>
                          </a:lnTo>
                          <a:lnTo>
                            <a:pt x="2761" y="2426"/>
                          </a:lnTo>
                          <a:lnTo>
                            <a:pt x="2754" y="2427"/>
                          </a:lnTo>
                          <a:lnTo>
                            <a:pt x="2754" y="2427"/>
                          </a:lnTo>
                          <a:close/>
                          <a:moveTo>
                            <a:pt x="740" y="2301"/>
                          </a:moveTo>
                          <a:lnTo>
                            <a:pt x="740" y="2301"/>
                          </a:lnTo>
                          <a:lnTo>
                            <a:pt x="732" y="2296"/>
                          </a:lnTo>
                          <a:lnTo>
                            <a:pt x="722" y="2291"/>
                          </a:lnTo>
                          <a:lnTo>
                            <a:pt x="711" y="2289"/>
                          </a:lnTo>
                          <a:lnTo>
                            <a:pt x="700" y="2288"/>
                          </a:lnTo>
                          <a:lnTo>
                            <a:pt x="700" y="2288"/>
                          </a:lnTo>
                          <a:lnTo>
                            <a:pt x="690" y="2289"/>
                          </a:lnTo>
                          <a:lnTo>
                            <a:pt x="680" y="2291"/>
                          </a:lnTo>
                          <a:lnTo>
                            <a:pt x="673" y="2296"/>
                          </a:lnTo>
                          <a:lnTo>
                            <a:pt x="667" y="2302"/>
                          </a:lnTo>
                          <a:lnTo>
                            <a:pt x="662" y="2310"/>
                          </a:lnTo>
                          <a:lnTo>
                            <a:pt x="660" y="2319"/>
                          </a:lnTo>
                          <a:lnTo>
                            <a:pt x="657" y="2331"/>
                          </a:lnTo>
                          <a:lnTo>
                            <a:pt x="656" y="2345"/>
                          </a:lnTo>
                          <a:lnTo>
                            <a:pt x="656" y="2477"/>
                          </a:lnTo>
                          <a:lnTo>
                            <a:pt x="597" y="2477"/>
                          </a:lnTo>
                          <a:lnTo>
                            <a:pt x="597" y="2233"/>
                          </a:lnTo>
                          <a:lnTo>
                            <a:pt x="656" y="2233"/>
                          </a:lnTo>
                          <a:lnTo>
                            <a:pt x="656" y="2254"/>
                          </a:lnTo>
                          <a:lnTo>
                            <a:pt x="656" y="2254"/>
                          </a:lnTo>
                          <a:lnTo>
                            <a:pt x="662" y="2248"/>
                          </a:lnTo>
                          <a:lnTo>
                            <a:pt x="668" y="2241"/>
                          </a:lnTo>
                          <a:lnTo>
                            <a:pt x="674" y="2238"/>
                          </a:lnTo>
                          <a:lnTo>
                            <a:pt x="682" y="2234"/>
                          </a:lnTo>
                          <a:lnTo>
                            <a:pt x="688" y="2231"/>
                          </a:lnTo>
                          <a:lnTo>
                            <a:pt x="695" y="2229"/>
                          </a:lnTo>
                          <a:lnTo>
                            <a:pt x="704" y="2228"/>
                          </a:lnTo>
                          <a:lnTo>
                            <a:pt x="711" y="2227"/>
                          </a:lnTo>
                          <a:lnTo>
                            <a:pt x="711" y="2227"/>
                          </a:lnTo>
                          <a:lnTo>
                            <a:pt x="723" y="2228"/>
                          </a:lnTo>
                          <a:lnTo>
                            <a:pt x="735" y="2232"/>
                          </a:lnTo>
                          <a:lnTo>
                            <a:pt x="747" y="2237"/>
                          </a:lnTo>
                          <a:lnTo>
                            <a:pt x="757" y="2243"/>
                          </a:lnTo>
                          <a:lnTo>
                            <a:pt x="740" y="2301"/>
                          </a:lnTo>
                          <a:close/>
                          <a:moveTo>
                            <a:pt x="265" y="2233"/>
                          </a:moveTo>
                          <a:lnTo>
                            <a:pt x="324" y="2233"/>
                          </a:lnTo>
                          <a:lnTo>
                            <a:pt x="255" y="2477"/>
                          </a:lnTo>
                          <a:lnTo>
                            <a:pt x="203" y="2477"/>
                          </a:lnTo>
                          <a:lnTo>
                            <a:pt x="176" y="2376"/>
                          </a:lnTo>
                          <a:lnTo>
                            <a:pt x="176" y="2376"/>
                          </a:lnTo>
                          <a:lnTo>
                            <a:pt x="163" y="2323"/>
                          </a:lnTo>
                          <a:lnTo>
                            <a:pt x="163" y="2323"/>
                          </a:lnTo>
                          <a:lnTo>
                            <a:pt x="157" y="2348"/>
                          </a:lnTo>
                          <a:lnTo>
                            <a:pt x="149" y="2378"/>
                          </a:lnTo>
                          <a:lnTo>
                            <a:pt x="122" y="2477"/>
                          </a:lnTo>
                          <a:lnTo>
                            <a:pt x="69" y="2477"/>
                          </a:lnTo>
                          <a:lnTo>
                            <a:pt x="69" y="2476"/>
                          </a:lnTo>
                          <a:lnTo>
                            <a:pt x="0" y="2233"/>
                          </a:lnTo>
                          <a:lnTo>
                            <a:pt x="63" y="2233"/>
                          </a:lnTo>
                          <a:lnTo>
                            <a:pt x="85" y="2324"/>
                          </a:lnTo>
                          <a:lnTo>
                            <a:pt x="85" y="2324"/>
                          </a:lnTo>
                          <a:lnTo>
                            <a:pt x="91" y="2353"/>
                          </a:lnTo>
                          <a:lnTo>
                            <a:pt x="97" y="2384"/>
                          </a:lnTo>
                          <a:lnTo>
                            <a:pt x="97" y="2384"/>
                          </a:lnTo>
                          <a:lnTo>
                            <a:pt x="105" y="2353"/>
                          </a:lnTo>
                          <a:lnTo>
                            <a:pt x="112" y="2323"/>
                          </a:lnTo>
                          <a:lnTo>
                            <a:pt x="137" y="2233"/>
                          </a:lnTo>
                          <a:lnTo>
                            <a:pt x="190" y="2233"/>
                          </a:lnTo>
                          <a:lnTo>
                            <a:pt x="215" y="2323"/>
                          </a:lnTo>
                          <a:lnTo>
                            <a:pt x="215" y="2323"/>
                          </a:lnTo>
                          <a:lnTo>
                            <a:pt x="222" y="2352"/>
                          </a:lnTo>
                          <a:lnTo>
                            <a:pt x="230" y="2385"/>
                          </a:lnTo>
                          <a:lnTo>
                            <a:pt x="230" y="2385"/>
                          </a:lnTo>
                          <a:lnTo>
                            <a:pt x="235" y="2357"/>
                          </a:lnTo>
                          <a:lnTo>
                            <a:pt x="242" y="2323"/>
                          </a:lnTo>
                          <a:lnTo>
                            <a:pt x="265" y="2233"/>
                          </a:lnTo>
                          <a:close/>
                          <a:moveTo>
                            <a:pt x="447" y="2227"/>
                          </a:moveTo>
                          <a:lnTo>
                            <a:pt x="447" y="2227"/>
                          </a:lnTo>
                          <a:lnTo>
                            <a:pt x="436" y="2228"/>
                          </a:lnTo>
                          <a:lnTo>
                            <a:pt x="424" y="2229"/>
                          </a:lnTo>
                          <a:lnTo>
                            <a:pt x="413" y="2233"/>
                          </a:lnTo>
                          <a:lnTo>
                            <a:pt x="403" y="2237"/>
                          </a:lnTo>
                          <a:lnTo>
                            <a:pt x="394" y="2241"/>
                          </a:lnTo>
                          <a:lnTo>
                            <a:pt x="384" y="2248"/>
                          </a:lnTo>
                          <a:lnTo>
                            <a:pt x="375" y="2255"/>
                          </a:lnTo>
                          <a:lnTo>
                            <a:pt x="368" y="2263"/>
                          </a:lnTo>
                          <a:lnTo>
                            <a:pt x="361" y="2272"/>
                          </a:lnTo>
                          <a:lnTo>
                            <a:pt x="355" y="2282"/>
                          </a:lnTo>
                          <a:lnTo>
                            <a:pt x="349" y="2293"/>
                          </a:lnTo>
                          <a:lnTo>
                            <a:pt x="345" y="2303"/>
                          </a:lnTo>
                          <a:lnTo>
                            <a:pt x="341" y="2316"/>
                          </a:lnTo>
                          <a:lnTo>
                            <a:pt x="339" y="2328"/>
                          </a:lnTo>
                          <a:lnTo>
                            <a:pt x="337" y="2341"/>
                          </a:lnTo>
                          <a:lnTo>
                            <a:pt x="337" y="2356"/>
                          </a:lnTo>
                          <a:lnTo>
                            <a:pt x="337" y="2356"/>
                          </a:lnTo>
                          <a:lnTo>
                            <a:pt x="337" y="2369"/>
                          </a:lnTo>
                          <a:lnTo>
                            <a:pt x="339" y="2382"/>
                          </a:lnTo>
                          <a:lnTo>
                            <a:pt x="341" y="2395"/>
                          </a:lnTo>
                          <a:lnTo>
                            <a:pt x="345" y="2407"/>
                          </a:lnTo>
                          <a:lnTo>
                            <a:pt x="349" y="2418"/>
                          </a:lnTo>
                          <a:lnTo>
                            <a:pt x="355" y="2429"/>
                          </a:lnTo>
                          <a:lnTo>
                            <a:pt x="361" y="2438"/>
                          </a:lnTo>
                          <a:lnTo>
                            <a:pt x="368" y="2447"/>
                          </a:lnTo>
                          <a:lnTo>
                            <a:pt x="375" y="2455"/>
                          </a:lnTo>
                          <a:lnTo>
                            <a:pt x="384" y="2463"/>
                          </a:lnTo>
                          <a:lnTo>
                            <a:pt x="394" y="2469"/>
                          </a:lnTo>
                          <a:lnTo>
                            <a:pt x="403" y="2474"/>
                          </a:lnTo>
                          <a:lnTo>
                            <a:pt x="413" y="2477"/>
                          </a:lnTo>
                          <a:lnTo>
                            <a:pt x="424" y="2481"/>
                          </a:lnTo>
                          <a:lnTo>
                            <a:pt x="436" y="2482"/>
                          </a:lnTo>
                          <a:lnTo>
                            <a:pt x="447" y="2483"/>
                          </a:lnTo>
                          <a:lnTo>
                            <a:pt x="447" y="2483"/>
                          </a:lnTo>
                          <a:lnTo>
                            <a:pt x="459" y="2482"/>
                          </a:lnTo>
                          <a:lnTo>
                            <a:pt x="471" y="2481"/>
                          </a:lnTo>
                          <a:lnTo>
                            <a:pt x="482" y="2477"/>
                          </a:lnTo>
                          <a:lnTo>
                            <a:pt x="492" y="2474"/>
                          </a:lnTo>
                          <a:lnTo>
                            <a:pt x="502" y="2469"/>
                          </a:lnTo>
                          <a:lnTo>
                            <a:pt x="512" y="2463"/>
                          </a:lnTo>
                          <a:lnTo>
                            <a:pt x="520" y="2455"/>
                          </a:lnTo>
                          <a:lnTo>
                            <a:pt x="527" y="2447"/>
                          </a:lnTo>
                          <a:lnTo>
                            <a:pt x="535" y="2438"/>
                          </a:lnTo>
                          <a:lnTo>
                            <a:pt x="541" y="2429"/>
                          </a:lnTo>
                          <a:lnTo>
                            <a:pt x="546" y="2418"/>
                          </a:lnTo>
                          <a:lnTo>
                            <a:pt x="550" y="2407"/>
                          </a:lnTo>
                          <a:lnTo>
                            <a:pt x="554" y="2395"/>
                          </a:lnTo>
                          <a:lnTo>
                            <a:pt x="557" y="2382"/>
                          </a:lnTo>
                          <a:lnTo>
                            <a:pt x="559" y="2369"/>
                          </a:lnTo>
                          <a:lnTo>
                            <a:pt x="559" y="2356"/>
                          </a:lnTo>
                          <a:lnTo>
                            <a:pt x="559" y="2356"/>
                          </a:lnTo>
                          <a:lnTo>
                            <a:pt x="559" y="2341"/>
                          </a:lnTo>
                          <a:lnTo>
                            <a:pt x="557" y="2328"/>
                          </a:lnTo>
                          <a:lnTo>
                            <a:pt x="554" y="2316"/>
                          </a:lnTo>
                          <a:lnTo>
                            <a:pt x="550" y="2303"/>
                          </a:lnTo>
                          <a:lnTo>
                            <a:pt x="546" y="2293"/>
                          </a:lnTo>
                          <a:lnTo>
                            <a:pt x="541" y="2282"/>
                          </a:lnTo>
                          <a:lnTo>
                            <a:pt x="535" y="2272"/>
                          </a:lnTo>
                          <a:lnTo>
                            <a:pt x="527" y="2263"/>
                          </a:lnTo>
                          <a:lnTo>
                            <a:pt x="520" y="2255"/>
                          </a:lnTo>
                          <a:lnTo>
                            <a:pt x="512" y="2248"/>
                          </a:lnTo>
                          <a:lnTo>
                            <a:pt x="502" y="2241"/>
                          </a:lnTo>
                          <a:lnTo>
                            <a:pt x="492" y="2237"/>
                          </a:lnTo>
                          <a:lnTo>
                            <a:pt x="482" y="2233"/>
                          </a:lnTo>
                          <a:lnTo>
                            <a:pt x="471" y="2229"/>
                          </a:lnTo>
                          <a:lnTo>
                            <a:pt x="459" y="2228"/>
                          </a:lnTo>
                          <a:lnTo>
                            <a:pt x="447" y="2227"/>
                          </a:lnTo>
                          <a:lnTo>
                            <a:pt x="447" y="2227"/>
                          </a:lnTo>
                          <a:close/>
                          <a:moveTo>
                            <a:pt x="447" y="2426"/>
                          </a:moveTo>
                          <a:lnTo>
                            <a:pt x="447" y="2426"/>
                          </a:lnTo>
                          <a:lnTo>
                            <a:pt x="436" y="2425"/>
                          </a:lnTo>
                          <a:lnTo>
                            <a:pt x="427" y="2421"/>
                          </a:lnTo>
                          <a:lnTo>
                            <a:pt x="419" y="2415"/>
                          </a:lnTo>
                          <a:lnTo>
                            <a:pt x="412" y="2407"/>
                          </a:lnTo>
                          <a:lnTo>
                            <a:pt x="406" y="2397"/>
                          </a:lnTo>
                          <a:lnTo>
                            <a:pt x="401" y="2385"/>
                          </a:lnTo>
                          <a:lnTo>
                            <a:pt x="399" y="2370"/>
                          </a:lnTo>
                          <a:lnTo>
                            <a:pt x="399" y="2356"/>
                          </a:lnTo>
                          <a:lnTo>
                            <a:pt x="399" y="2356"/>
                          </a:lnTo>
                          <a:lnTo>
                            <a:pt x="399" y="2340"/>
                          </a:lnTo>
                          <a:lnTo>
                            <a:pt x="401" y="2325"/>
                          </a:lnTo>
                          <a:lnTo>
                            <a:pt x="406" y="2314"/>
                          </a:lnTo>
                          <a:lnTo>
                            <a:pt x="412" y="2303"/>
                          </a:lnTo>
                          <a:lnTo>
                            <a:pt x="419" y="2295"/>
                          </a:lnTo>
                          <a:lnTo>
                            <a:pt x="427" y="2289"/>
                          </a:lnTo>
                          <a:lnTo>
                            <a:pt x="436" y="2285"/>
                          </a:lnTo>
                          <a:lnTo>
                            <a:pt x="447" y="2284"/>
                          </a:lnTo>
                          <a:lnTo>
                            <a:pt x="447" y="2284"/>
                          </a:lnTo>
                          <a:lnTo>
                            <a:pt x="458" y="2285"/>
                          </a:lnTo>
                          <a:lnTo>
                            <a:pt x="468" y="2289"/>
                          </a:lnTo>
                          <a:lnTo>
                            <a:pt x="476" y="2295"/>
                          </a:lnTo>
                          <a:lnTo>
                            <a:pt x="484" y="2303"/>
                          </a:lnTo>
                          <a:lnTo>
                            <a:pt x="490" y="2314"/>
                          </a:lnTo>
                          <a:lnTo>
                            <a:pt x="493" y="2325"/>
                          </a:lnTo>
                          <a:lnTo>
                            <a:pt x="496" y="2340"/>
                          </a:lnTo>
                          <a:lnTo>
                            <a:pt x="497" y="2356"/>
                          </a:lnTo>
                          <a:lnTo>
                            <a:pt x="497" y="2356"/>
                          </a:lnTo>
                          <a:lnTo>
                            <a:pt x="496" y="2370"/>
                          </a:lnTo>
                          <a:lnTo>
                            <a:pt x="493" y="2385"/>
                          </a:lnTo>
                          <a:lnTo>
                            <a:pt x="490" y="2397"/>
                          </a:lnTo>
                          <a:lnTo>
                            <a:pt x="484" y="2407"/>
                          </a:lnTo>
                          <a:lnTo>
                            <a:pt x="476" y="2415"/>
                          </a:lnTo>
                          <a:lnTo>
                            <a:pt x="468" y="2421"/>
                          </a:lnTo>
                          <a:lnTo>
                            <a:pt x="458" y="2425"/>
                          </a:lnTo>
                          <a:lnTo>
                            <a:pt x="447" y="2426"/>
                          </a:lnTo>
                          <a:lnTo>
                            <a:pt x="447" y="2426"/>
                          </a:lnTo>
                          <a:close/>
                          <a:moveTo>
                            <a:pt x="2498" y="2301"/>
                          </a:moveTo>
                          <a:lnTo>
                            <a:pt x="2498" y="2301"/>
                          </a:lnTo>
                          <a:lnTo>
                            <a:pt x="2489" y="2296"/>
                          </a:lnTo>
                          <a:lnTo>
                            <a:pt x="2479" y="2291"/>
                          </a:lnTo>
                          <a:lnTo>
                            <a:pt x="2468" y="2289"/>
                          </a:lnTo>
                          <a:lnTo>
                            <a:pt x="2458" y="2288"/>
                          </a:lnTo>
                          <a:lnTo>
                            <a:pt x="2458" y="2288"/>
                          </a:lnTo>
                          <a:lnTo>
                            <a:pt x="2447" y="2289"/>
                          </a:lnTo>
                          <a:lnTo>
                            <a:pt x="2439" y="2291"/>
                          </a:lnTo>
                          <a:lnTo>
                            <a:pt x="2432" y="2296"/>
                          </a:lnTo>
                          <a:lnTo>
                            <a:pt x="2425" y="2302"/>
                          </a:lnTo>
                          <a:lnTo>
                            <a:pt x="2421" y="2310"/>
                          </a:lnTo>
                          <a:lnTo>
                            <a:pt x="2417" y="2319"/>
                          </a:lnTo>
                          <a:lnTo>
                            <a:pt x="2415" y="2331"/>
                          </a:lnTo>
                          <a:lnTo>
                            <a:pt x="2415" y="2345"/>
                          </a:lnTo>
                          <a:lnTo>
                            <a:pt x="2415" y="2477"/>
                          </a:lnTo>
                          <a:lnTo>
                            <a:pt x="2354" y="2477"/>
                          </a:lnTo>
                          <a:lnTo>
                            <a:pt x="2354" y="2233"/>
                          </a:lnTo>
                          <a:lnTo>
                            <a:pt x="2415" y="2233"/>
                          </a:lnTo>
                          <a:lnTo>
                            <a:pt x="2415" y="2254"/>
                          </a:lnTo>
                          <a:lnTo>
                            <a:pt x="2415" y="2254"/>
                          </a:lnTo>
                          <a:lnTo>
                            <a:pt x="2419" y="2248"/>
                          </a:lnTo>
                          <a:lnTo>
                            <a:pt x="2425" y="2241"/>
                          </a:lnTo>
                          <a:lnTo>
                            <a:pt x="2432" y="2238"/>
                          </a:lnTo>
                          <a:lnTo>
                            <a:pt x="2439" y="2234"/>
                          </a:lnTo>
                          <a:lnTo>
                            <a:pt x="2446" y="2231"/>
                          </a:lnTo>
                          <a:lnTo>
                            <a:pt x="2453" y="2229"/>
                          </a:lnTo>
                          <a:lnTo>
                            <a:pt x="2461" y="2228"/>
                          </a:lnTo>
                          <a:lnTo>
                            <a:pt x="2468" y="2227"/>
                          </a:lnTo>
                          <a:lnTo>
                            <a:pt x="2468" y="2227"/>
                          </a:lnTo>
                          <a:lnTo>
                            <a:pt x="2480" y="2228"/>
                          </a:lnTo>
                          <a:lnTo>
                            <a:pt x="2492" y="2232"/>
                          </a:lnTo>
                          <a:lnTo>
                            <a:pt x="2504" y="2237"/>
                          </a:lnTo>
                          <a:lnTo>
                            <a:pt x="2514" y="2243"/>
                          </a:lnTo>
                          <a:lnTo>
                            <a:pt x="2498" y="2301"/>
                          </a:lnTo>
                          <a:close/>
                          <a:moveTo>
                            <a:pt x="2022" y="2233"/>
                          </a:moveTo>
                          <a:lnTo>
                            <a:pt x="2082" y="2233"/>
                          </a:lnTo>
                          <a:lnTo>
                            <a:pt x="2012" y="2477"/>
                          </a:lnTo>
                          <a:lnTo>
                            <a:pt x="1960" y="2477"/>
                          </a:lnTo>
                          <a:lnTo>
                            <a:pt x="1933" y="2376"/>
                          </a:lnTo>
                          <a:lnTo>
                            <a:pt x="1933" y="2376"/>
                          </a:lnTo>
                          <a:lnTo>
                            <a:pt x="1920" y="2323"/>
                          </a:lnTo>
                          <a:lnTo>
                            <a:pt x="1920" y="2323"/>
                          </a:lnTo>
                          <a:lnTo>
                            <a:pt x="1914" y="2348"/>
                          </a:lnTo>
                          <a:lnTo>
                            <a:pt x="1907" y="2378"/>
                          </a:lnTo>
                          <a:lnTo>
                            <a:pt x="1880" y="2477"/>
                          </a:lnTo>
                          <a:lnTo>
                            <a:pt x="1828" y="2477"/>
                          </a:lnTo>
                          <a:lnTo>
                            <a:pt x="1826" y="2476"/>
                          </a:lnTo>
                          <a:lnTo>
                            <a:pt x="1758" y="2233"/>
                          </a:lnTo>
                          <a:lnTo>
                            <a:pt x="1820" y="2233"/>
                          </a:lnTo>
                          <a:lnTo>
                            <a:pt x="1843" y="2324"/>
                          </a:lnTo>
                          <a:lnTo>
                            <a:pt x="1843" y="2324"/>
                          </a:lnTo>
                          <a:lnTo>
                            <a:pt x="1849" y="2353"/>
                          </a:lnTo>
                          <a:lnTo>
                            <a:pt x="1856" y="2384"/>
                          </a:lnTo>
                          <a:lnTo>
                            <a:pt x="1856" y="2384"/>
                          </a:lnTo>
                          <a:lnTo>
                            <a:pt x="1862" y="2353"/>
                          </a:lnTo>
                          <a:lnTo>
                            <a:pt x="1870" y="2323"/>
                          </a:lnTo>
                          <a:lnTo>
                            <a:pt x="1896" y="2233"/>
                          </a:lnTo>
                          <a:lnTo>
                            <a:pt x="1947" y="2233"/>
                          </a:lnTo>
                          <a:lnTo>
                            <a:pt x="1972" y="2323"/>
                          </a:lnTo>
                          <a:lnTo>
                            <a:pt x="1972" y="2323"/>
                          </a:lnTo>
                          <a:lnTo>
                            <a:pt x="1979" y="2352"/>
                          </a:lnTo>
                          <a:lnTo>
                            <a:pt x="1987" y="2385"/>
                          </a:lnTo>
                          <a:lnTo>
                            <a:pt x="1987" y="2385"/>
                          </a:lnTo>
                          <a:lnTo>
                            <a:pt x="1993" y="2357"/>
                          </a:lnTo>
                          <a:lnTo>
                            <a:pt x="2000" y="2323"/>
                          </a:lnTo>
                          <a:lnTo>
                            <a:pt x="2022" y="2233"/>
                          </a:lnTo>
                          <a:close/>
                          <a:moveTo>
                            <a:pt x="2204" y="2227"/>
                          </a:moveTo>
                          <a:lnTo>
                            <a:pt x="2204" y="2227"/>
                          </a:lnTo>
                          <a:lnTo>
                            <a:pt x="2193" y="2228"/>
                          </a:lnTo>
                          <a:lnTo>
                            <a:pt x="2181" y="2229"/>
                          </a:lnTo>
                          <a:lnTo>
                            <a:pt x="2170" y="2233"/>
                          </a:lnTo>
                          <a:lnTo>
                            <a:pt x="2161" y="2237"/>
                          </a:lnTo>
                          <a:lnTo>
                            <a:pt x="2151" y="2241"/>
                          </a:lnTo>
                          <a:lnTo>
                            <a:pt x="2141" y="2249"/>
                          </a:lnTo>
                          <a:lnTo>
                            <a:pt x="2133" y="2255"/>
                          </a:lnTo>
                          <a:lnTo>
                            <a:pt x="2125" y="2263"/>
                          </a:lnTo>
                          <a:lnTo>
                            <a:pt x="2118" y="2272"/>
                          </a:lnTo>
                          <a:lnTo>
                            <a:pt x="2112" y="2282"/>
                          </a:lnTo>
                          <a:lnTo>
                            <a:pt x="2106" y="2293"/>
                          </a:lnTo>
                          <a:lnTo>
                            <a:pt x="2102" y="2303"/>
                          </a:lnTo>
                          <a:lnTo>
                            <a:pt x="2099" y="2316"/>
                          </a:lnTo>
                          <a:lnTo>
                            <a:pt x="2095" y="2329"/>
                          </a:lnTo>
                          <a:lnTo>
                            <a:pt x="2094" y="2341"/>
                          </a:lnTo>
                          <a:lnTo>
                            <a:pt x="2094" y="2356"/>
                          </a:lnTo>
                          <a:lnTo>
                            <a:pt x="2094" y="2356"/>
                          </a:lnTo>
                          <a:lnTo>
                            <a:pt x="2094" y="2369"/>
                          </a:lnTo>
                          <a:lnTo>
                            <a:pt x="2095" y="2382"/>
                          </a:lnTo>
                          <a:lnTo>
                            <a:pt x="2099" y="2395"/>
                          </a:lnTo>
                          <a:lnTo>
                            <a:pt x="2102" y="2407"/>
                          </a:lnTo>
                          <a:lnTo>
                            <a:pt x="2106" y="2418"/>
                          </a:lnTo>
                          <a:lnTo>
                            <a:pt x="2112" y="2429"/>
                          </a:lnTo>
                          <a:lnTo>
                            <a:pt x="2118" y="2438"/>
                          </a:lnTo>
                          <a:lnTo>
                            <a:pt x="2125" y="2447"/>
                          </a:lnTo>
                          <a:lnTo>
                            <a:pt x="2133" y="2455"/>
                          </a:lnTo>
                          <a:lnTo>
                            <a:pt x="2141" y="2463"/>
                          </a:lnTo>
                          <a:lnTo>
                            <a:pt x="2151" y="2469"/>
                          </a:lnTo>
                          <a:lnTo>
                            <a:pt x="2161" y="2474"/>
                          </a:lnTo>
                          <a:lnTo>
                            <a:pt x="2170" y="2477"/>
                          </a:lnTo>
                          <a:lnTo>
                            <a:pt x="2181" y="2481"/>
                          </a:lnTo>
                          <a:lnTo>
                            <a:pt x="2193" y="2482"/>
                          </a:lnTo>
                          <a:lnTo>
                            <a:pt x="2204" y="2483"/>
                          </a:lnTo>
                          <a:lnTo>
                            <a:pt x="2204" y="2483"/>
                          </a:lnTo>
                          <a:lnTo>
                            <a:pt x="2216" y="2482"/>
                          </a:lnTo>
                          <a:lnTo>
                            <a:pt x="2229" y="2481"/>
                          </a:lnTo>
                          <a:lnTo>
                            <a:pt x="2240" y="2477"/>
                          </a:lnTo>
                          <a:lnTo>
                            <a:pt x="2249" y="2474"/>
                          </a:lnTo>
                          <a:lnTo>
                            <a:pt x="2259" y="2469"/>
                          </a:lnTo>
                          <a:lnTo>
                            <a:pt x="2269" y="2463"/>
                          </a:lnTo>
                          <a:lnTo>
                            <a:pt x="2277" y="2455"/>
                          </a:lnTo>
                          <a:lnTo>
                            <a:pt x="2284" y="2447"/>
                          </a:lnTo>
                          <a:lnTo>
                            <a:pt x="2292" y="2438"/>
                          </a:lnTo>
                          <a:lnTo>
                            <a:pt x="2298" y="2429"/>
                          </a:lnTo>
                          <a:lnTo>
                            <a:pt x="2303" y="2418"/>
                          </a:lnTo>
                          <a:lnTo>
                            <a:pt x="2308" y="2407"/>
                          </a:lnTo>
                          <a:lnTo>
                            <a:pt x="2311" y="2395"/>
                          </a:lnTo>
                          <a:lnTo>
                            <a:pt x="2314" y="2382"/>
                          </a:lnTo>
                          <a:lnTo>
                            <a:pt x="2316" y="2369"/>
                          </a:lnTo>
                          <a:lnTo>
                            <a:pt x="2316" y="2356"/>
                          </a:lnTo>
                          <a:lnTo>
                            <a:pt x="2316" y="2356"/>
                          </a:lnTo>
                          <a:lnTo>
                            <a:pt x="2316" y="2341"/>
                          </a:lnTo>
                          <a:lnTo>
                            <a:pt x="2314" y="2329"/>
                          </a:lnTo>
                          <a:lnTo>
                            <a:pt x="2311" y="2316"/>
                          </a:lnTo>
                          <a:lnTo>
                            <a:pt x="2308" y="2303"/>
                          </a:lnTo>
                          <a:lnTo>
                            <a:pt x="2303" y="2293"/>
                          </a:lnTo>
                          <a:lnTo>
                            <a:pt x="2298" y="2282"/>
                          </a:lnTo>
                          <a:lnTo>
                            <a:pt x="2292" y="2272"/>
                          </a:lnTo>
                          <a:lnTo>
                            <a:pt x="2284" y="2263"/>
                          </a:lnTo>
                          <a:lnTo>
                            <a:pt x="2277" y="2255"/>
                          </a:lnTo>
                          <a:lnTo>
                            <a:pt x="2269" y="2249"/>
                          </a:lnTo>
                          <a:lnTo>
                            <a:pt x="2259" y="2241"/>
                          </a:lnTo>
                          <a:lnTo>
                            <a:pt x="2249" y="2237"/>
                          </a:lnTo>
                          <a:lnTo>
                            <a:pt x="2240" y="2233"/>
                          </a:lnTo>
                          <a:lnTo>
                            <a:pt x="2229" y="2229"/>
                          </a:lnTo>
                          <a:lnTo>
                            <a:pt x="2216" y="2228"/>
                          </a:lnTo>
                          <a:lnTo>
                            <a:pt x="2204" y="2227"/>
                          </a:lnTo>
                          <a:lnTo>
                            <a:pt x="2204" y="2227"/>
                          </a:lnTo>
                          <a:close/>
                          <a:moveTo>
                            <a:pt x="2204" y="2426"/>
                          </a:moveTo>
                          <a:lnTo>
                            <a:pt x="2204" y="2426"/>
                          </a:lnTo>
                          <a:lnTo>
                            <a:pt x="2193" y="2425"/>
                          </a:lnTo>
                          <a:lnTo>
                            <a:pt x="2185" y="2421"/>
                          </a:lnTo>
                          <a:lnTo>
                            <a:pt x="2176" y="2415"/>
                          </a:lnTo>
                          <a:lnTo>
                            <a:pt x="2169" y="2407"/>
                          </a:lnTo>
                          <a:lnTo>
                            <a:pt x="2163" y="2397"/>
                          </a:lnTo>
                          <a:lnTo>
                            <a:pt x="2158" y="2385"/>
                          </a:lnTo>
                          <a:lnTo>
                            <a:pt x="2156" y="2370"/>
                          </a:lnTo>
                          <a:lnTo>
                            <a:pt x="2156" y="2356"/>
                          </a:lnTo>
                          <a:lnTo>
                            <a:pt x="2156" y="2356"/>
                          </a:lnTo>
                          <a:lnTo>
                            <a:pt x="2156" y="2340"/>
                          </a:lnTo>
                          <a:lnTo>
                            <a:pt x="2158" y="2327"/>
                          </a:lnTo>
                          <a:lnTo>
                            <a:pt x="2163" y="2314"/>
                          </a:lnTo>
                          <a:lnTo>
                            <a:pt x="2169" y="2303"/>
                          </a:lnTo>
                          <a:lnTo>
                            <a:pt x="2176" y="2295"/>
                          </a:lnTo>
                          <a:lnTo>
                            <a:pt x="2185" y="2289"/>
                          </a:lnTo>
                          <a:lnTo>
                            <a:pt x="2193" y="2285"/>
                          </a:lnTo>
                          <a:lnTo>
                            <a:pt x="2204" y="2284"/>
                          </a:lnTo>
                          <a:lnTo>
                            <a:pt x="2204" y="2284"/>
                          </a:lnTo>
                          <a:lnTo>
                            <a:pt x="2215" y="2285"/>
                          </a:lnTo>
                          <a:lnTo>
                            <a:pt x="2225" y="2289"/>
                          </a:lnTo>
                          <a:lnTo>
                            <a:pt x="2233" y="2295"/>
                          </a:lnTo>
                          <a:lnTo>
                            <a:pt x="2241" y="2303"/>
                          </a:lnTo>
                          <a:lnTo>
                            <a:pt x="2247" y="2314"/>
                          </a:lnTo>
                          <a:lnTo>
                            <a:pt x="2250" y="2327"/>
                          </a:lnTo>
                          <a:lnTo>
                            <a:pt x="2253" y="2340"/>
                          </a:lnTo>
                          <a:lnTo>
                            <a:pt x="2254" y="2356"/>
                          </a:lnTo>
                          <a:lnTo>
                            <a:pt x="2254" y="2356"/>
                          </a:lnTo>
                          <a:lnTo>
                            <a:pt x="2253" y="2370"/>
                          </a:lnTo>
                          <a:lnTo>
                            <a:pt x="2250" y="2385"/>
                          </a:lnTo>
                          <a:lnTo>
                            <a:pt x="2247" y="2397"/>
                          </a:lnTo>
                          <a:lnTo>
                            <a:pt x="2241" y="2407"/>
                          </a:lnTo>
                          <a:lnTo>
                            <a:pt x="2233" y="2415"/>
                          </a:lnTo>
                          <a:lnTo>
                            <a:pt x="2225" y="2421"/>
                          </a:lnTo>
                          <a:lnTo>
                            <a:pt x="2215" y="2425"/>
                          </a:lnTo>
                          <a:lnTo>
                            <a:pt x="2204" y="2426"/>
                          </a:lnTo>
                          <a:lnTo>
                            <a:pt x="2204" y="2426"/>
                          </a:lnTo>
                          <a:close/>
                          <a:moveTo>
                            <a:pt x="921" y="2313"/>
                          </a:moveTo>
                          <a:lnTo>
                            <a:pt x="995" y="2477"/>
                          </a:lnTo>
                          <a:lnTo>
                            <a:pt x="928" y="2477"/>
                          </a:lnTo>
                          <a:lnTo>
                            <a:pt x="877" y="2364"/>
                          </a:lnTo>
                          <a:lnTo>
                            <a:pt x="845" y="2404"/>
                          </a:lnTo>
                          <a:lnTo>
                            <a:pt x="845" y="2477"/>
                          </a:lnTo>
                          <a:lnTo>
                            <a:pt x="785" y="2477"/>
                          </a:lnTo>
                          <a:lnTo>
                            <a:pt x="785" y="2161"/>
                          </a:lnTo>
                          <a:lnTo>
                            <a:pt x="845" y="2131"/>
                          </a:lnTo>
                          <a:lnTo>
                            <a:pt x="845" y="2327"/>
                          </a:lnTo>
                          <a:lnTo>
                            <a:pt x="845" y="2327"/>
                          </a:lnTo>
                          <a:lnTo>
                            <a:pt x="868" y="2295"/>
                          </a:lnTo>
                          <a:lnTo>
                            <a:pt x="916" y="2233"/>
                          </a:lnTo>
                          <a:lnTo>
                            <a:pt x="987" y="2233"/>
                          </a:lnTo>
                          <a:lnTo>
                            <a:pt x="921" y="2313"/>
                          </a:lnTo>
                          <a:close/>
                          <a:moveTo>
                            <a:pt x="1208" y="2477"/>
                          </a:moveTo>
                          <a:lnTo>
                            <a:pt x="1147" y="2477"/>
                          </a:lnTo>
                          <a:lnTo>
                            <a:pt x="1147" y="2233"/>
                          </a:lnTo>
                          <a:lnTo>
                            <a:pt x="1208" y="2233"/>
                          </a:lnTo>
                          <a:lnTo>
                            <a:pt x="1208" y="2254"/>
                          </a:lnTo>
                          <a:lnTo>
                            <a:pt x="1208" y="2254"/>
                          </a:lnTo>
                          <a:lnTo>
                            <a:pt x="1214" y="2248"/>
                          </a:lnTo>
                          <a:lnTo>
                            <a:pt x="1220" y="2243"/>
                          </a:lnTo>
                          <a:lnTo>
                            <a:pt x="1227" y="2238"/>
                          </a:lnTo>
                          <a:lnTo>
                            <a:pt x="1235" y="2234"/>
                          </a:lnTo>
                          <a:lnTo>
                            <a:pt x="1243" y="2232"/>
                          </a:lnTo>
                          <a:lnTo>
                            <a:pt x="1252" y="2229"/>
                          </a:lnTo>
                          <a:lnTo>
                            <a:pt x="1260" y="2228"/>
                          </a:lnTo>
                          <a:lnTo>
                            <a:pt x="1270" y="2227"/>
                          </a:lnTo>
                          <a:lnTo>
                            <a:pt x="1270" y="2227"/>
                          </a:lnTo>
                          <a:lnTo>
                            <a:pt x="1281" y="2228"/>
                          </a:lnTo>
                          <a:lnTo>
                            <a:pt x="1290" y="2229"/>
                          </a:lnTo>
                          <a:lnTo>
                            <a:pt x="1299" y="2232"/>
                          </a:lnTo>
                          <a:lnTo>
                            <a:pt x="1309" y="2234"/>
                          </a:lnTo>
                          <a:lnTo>
                            <a:pt x="1316" y="2239"/>
                          </a:lnTo>
                          <a:lnTo>
                            <a:pt x="1323" y="2244"/>
                          </a:lnTo>
                          <a:lnTo>
                            <a:pt x="1331" y="2249"/>
                          </a:lnTo>
                          <a:lnTo>
                            <a:pt x="1337" y="2256"/>
                          </a:lnTo>
                          <a:lnTo>
                            <a:pt x="1342" y="2263"/>
                          </a:lnTo>
                          <a:lnTo>
                            <a:pt x="1346" y="2272"/>
                          </a:lnTo>
                          <a:lnTo>
                            <a:pt x="1350" y="2280"/>
                          </a:lnTo>
                          <a:lnTo>
                            <a:pt x="1354" y="2291"/>
                          </a:lnTo>
                          <a:lnTo>
                            <a:pt x="1356" y="2302"/>
                          </a:lnTo>
                          <a:lnTo>
                            <a:pt x="1357" y="2313"/>
                          </a:lnTo>
                          <a:lnTo>
                            <a:pt x="1359" y="2325"/>
                          </a:lnTo>
                          <a:lnTo>
                            <a:pt x="1360" y="2339"/>
                          </a:lnTo>
                          <a:lnTo>
                            <a:pt x="1360" y="2477"/>
                          </a:lnTo>
                          <a:lnTo>
                            <a:pt x="1299" y="2477"/>
                          </a:lnTo>
                          <a:lnTo>
                            <a:pt x="1299" y="2342"/>
                          </a:lnTo>
                          <a:lnTo>
                            <a:pt x="1299" y="2342"/>
                          </a:lnTo>
                          <a:lnTo>
                            <a:pt x="1298" y="2329"/>
                          </a:lnTo>
                          <a:lnTo>
                            <a:pt x="1297" y="2316"/>
                          </a:lnTo>
                          <a:lnTo>
                            <a:pt x="1293" y="2306"/>
                          </a:lnTo>
                          <a:lnTo>
                            <a:pt x="1288" y="2297"/>
                          </a:lnTo>
                          <a:lnTo>
                            <a:pt x="1282" y="2291"/>
                          </a:lnTo>
                          <a:lnTo>
                            <a:pt x="1275" y="2286"/>
                          </a:lnTo>
                          <a:lnTo>
                            <a:pt x="1265" y="2284"/>
                          </a:lnTo>
                          <a:lnTo>
                            <a:pt x="1254" y="2283"/>
                          </a:lnTo>
                          <a:lnTo>
                            <a:pt x="1254" y="2283"/>
                          </a:lnTo>
                          <a:lnTo>
                            <a:pt x="1244" y="2284"/>
                          </a:lnTo>
                          <a:lnTo>
                            <a:pt x="1235" y="2286"/>
                          </a:lnTo>
                          <a:lnTo>
                            <a:pt x="1226" y="2291"/>
                          </a:lnTo>
                          <a:lnTo>
                            <a:pt x="1220" y="2299"/>
                          </a:lnTo>
                          <a:lnTo>
                            <a:pt x="1215" y="2306"/>
                          </a:lnTo>
                          <a:lnTo>
                            <a:pt x="1212" y="2317"/>
                          </a:lnTo>
                          <a:lnTo>
                            <a:pt x="1209" y="2329"/>
                          </a:lnTo>
                          <a:lnTo>
                            <a:pt x="1208" y="2342"/>
                          </a:lnTo>
                          <a:lnTo>
                            <a:pt x="1208" y="2477"/>
                          </a:lnTo>
                          <a:close/>
                          <a:moveTo>
                            <a:pt x="1551" y="2250"/>
                          </a:moveTo>
                          <a:lnTo>
                            <a:pt x="1551" y="2250"/>
                          </a:lnTo>
                          <a:lnTo>
                            <a:pt x="1544" y="2245"/>
                          </a:lnTo>
                          <a:lnTo>
                            <a:pt x="1538" y="2240"/>
                          </a:lnTo>
                          <a:lnTo>
                            <a:pt x="1532" y="2237"/>
                          </a:lnTo>
                          <a:lnTo>
                            <a:pt x="1525" y="2233"/>
                          </a:lnTo>
                          <a:lnTo>
                            <a:pt x="1518" y="2231"/>
                          </a:lnTo>
                          <a:lnTo>
                            <a:pt x="1510" y="2229"/>
                          </a:lnTo>
                          <a:lnTo>
                            <a:pt x="1503" y="2228"/>
                          </a:lnTo>
                          <a:lnTo>
                            <a:pt x="1496" y="2227"/>
                          </a:lnTo>
                          <a:lnTo>
                            <a:pt x="1496" y="2227"/>
                          </a:lnTo>
                          <a:lnTo>
                            <a:pt x="1485" y="2228"/>
                          </a:lnTo>
                          <a:lnTo>
                            <a:pt x="1475" y="2229"/>
                          </a:lnTo>
                          <a:lnTo>
                            <a:pt x="1465" y="2232"/>
                          </a:lnTo>
                          <a:lnTo>
                            <a:pt x="1456" y="2237"/>
                          </a:lnTo>
                          <a:lnTo>
                            <a:pt x="1447" y="2240"/>
                          </a:lnTo>
                          <a:lnTo>
                            <a:pt x="1440" y="2246"/>
                          </a:lnTo>
                          <a:lnTo>
                            <a:pt x="1433" y="2254"/>
                          </a:lnTo>
                          <a:lnTo>
                            <a:pt x="1425" y="2261"/>
                          </a:lnTo>
                          <a:lnTo>
                            <a:pt x="1419" y="2269"/>
                          </a:lnTo>
                          <a:lnTo>
                            <a:pt x="1414" y="2279"/>
                          </a:lnTo>
                          <a:lnTo>
                            <a:pt x="1410" y="2289"/>
                          </a:lnTo>
                          <a:lnTo>
                            <a:pt x="1406" y="2301"/>
                          </a:lnTo>
                          <a:lnTo>
                            <a:pt x="1404" y="2312"/>
                          </a:lnTo>
                          <a:lnTo>
                            <a:pt x="1401" y="2325"/>
                          </a:lnTo>
                          <a:lnTo>
                            <a:pt x="1400" y="2339"/>
                          </a:lnTo>
                          <a:lnTo>
                            <a:pt x="1400" y="2352"/>
                          </a:lnTo>
                          <a:lnTo>
                            <a:pt x="1400" y="2352"/>
                          </a:lnTo>
                          <a:lnTo>
                            <a:pt x="1400" y="2368"/>
                          </a:lnTo>
                          <a:lnTo>
                            <a:pt x="1401" y="2381"/>
                          </a:lnTo>
                          <a:lnTo>
                            <a:pt x="1404" y="2395"/>
                          </a:lnTo>
                          <a:lnTo>
                            <a:pt x="1406" y="2408"/>
                          </a:lnTo>
                          <a:lnTo>
                            <a:pt x="1410" y="2419"/>
                          </a:lnTo>
                          <a:lnTo>
                            <a:pt x="1414" y="2430"/>
                          </a:lnTo>
                          <a:lnTo>
                            <a:pt x="1419" y="2440"/>
                          </a:lnTo>
                          <a:lnTo>
                            <a:pt x="1425" y="2448"/>
                          </a:lnTo>
                          <a:lnTo>
                            <a:pt x="1431" y="2457"/>
                          </a:lnTo>
                          <a:lnTo>
                            <a:pt x="1439" y="2463"/>
                          </a:lnTo>
                          <a:lnTo>
                            <a:pt x="1446" y="2469"/>
                          </a:lnTo>
                          <a:lnTo>
                            <a:pt x="1455" y="2474"/>
                          </a:lnTo>
                          <a:lnTo>
                            <a:pt x="1464" y="2477"/>
                          </a:lnTo>
                          <a:lnTo>
                            <a:pt x="1474" y="2481"/>
                          </a:lnTo>
                          <a:lnTo>
                            <a:pt x="1484" y="2482"/>
                          </a:lnTo>
                          <a:lnTo>
                            <a:pt x="1495" y="2483"/>
                          </a:lnTo>
                          <a:lnTo>
                            <a:pt x="1495" y="2483"/>
                          </a:lnTo>
                          <a:lnTo>
                            <a:pt x="1502" y="2482"/>
                          </a:lnTo>
                          <a:lnTo>
                            <a:pt x="1510" y="2481"/>
                          </a:lnTo>
                          <a:lnTo>
                            <a:pt x="1518" y="2480"/>
                          </a:lnTo>
                          <a:lnTo>
                            <a:pt x="1525" y="2477"/>
                          </a:lnTo>
                          <a:lnTo>
                            <a:pt x="1531" y="2474"/>
                          </a:lnTo>
                          <a:lnTo>
                            <a:pt x="1538" y="2470"/>
                          </a:lnTo>
                          <a:lnTo>
                            <a:pt x="1544" y="2465"/>
                          </a:lnTo>
                          <a:lnTo>
                            <a:pt x="1551" y="2459"/>
                          </a:lnTo>
                          <a:lnTo>
                            <a:pt x="1551" y="2465"/>
                          </a:lnTo>
                          <a:lnTo>
                            <a:pt x="1551" y="2465"/>
                          </a:lnTo>
                          <a:lnTo>
                            <a:pt x="1551" y="2475"/>
                          </a:lnTo>
                          <a:lnTo>
                            <a:pt x="1549" y="2486"/>
                          </a:lnTo>
                          <a:lnTo>
                            <a:pt x="1546" y="2497"/>
                          </a:lnTo>
                          <a:lnTo>
                            <a:pt x="1543" y="2502"/>
                          </a:lnTo>
                          <a:lnTo>
                            <a:pt x="1541" y="2506"/>
                          </a:lnTo>
                          <a:lnTo>
                            <a:pt x="1536" y="2511"/>
                          </a:lnTo>
                          <a:lnTo>
                            <a:pt x="1531" y="2516"/>
                          </a:lnTo>
                          <a:lnTo>
                            <a:pt x="1525" y="2520"/>
                          </a:lnTo>
                          <a:lnTo>
                            <a:pt x="1518" y="2524"/>
                          </a:lnTo>
                          <a:lnTo>
                            <a:pt x="1508" y="2526"/>
                          </a:lnTo>
                          <a:lnTo>
                            <a:pt x="1498" y="2528"/>
                          </a:lnTo>
                          <a:lnTo>
                            <a:pt x="1486" y="2530"/>
                          </a:lnTo>
                          <a:lnTo>
                            <a:pt x="1472" y="2530"/>
                          </a:lnTo>
                          <a:lnTo>
                            <a:pt x="1469" y="2530"/>
                          </a:lnTo>
                          <a:lnTo>
                            <a:pt x="1491" y="2577"/>
                          </a:lnTo>
                          <a:lnTo>
                            <a:pt x="1492" y="2577"/>
                          </a:lnTo>
                          <a:lnTo>
                            <a:pt x="1492" y="2577"/>
                          </a:lnTo>
                          <a:lnTo>
                            <a:pt x="1507" y="2577"/>
                          </a:lnTo>
                          <a:lnTo>
                            <a:pt x="1520" y="2576"/>
                          </a:lnTo>
                          <a:lnTo>
                            <a:pt x="1532" y="2572"/>
                          </a:lnTo>
                          <a:lnTo>
                            <a:pt x="1544" y="2570"/>
                          </a:lnTo>
                          <a:lnTo>
                            <a:pt x="1555" y="2565"/>
                          </a:lnTo>
                          <a:lnTo>
                            <a:pt x="1565" y="2560"/>
                          </a:lnTo>
                          <a:lnTo>
                            <a:pt x="1574" y="2554"/>
                          </a:lnTo>
                          <a:lnTo>
                            <a:pt x="1581" y="2547"/>
                          </a:lnTo>
                          <a:lnTo>
                            <a:pt x="1588" y="2538"/>
                          </a:lnTo>
                          <a:lnTo>
                            <a:pt x="1594" y="2530"/>
                          </a:lnTo>
                          <a:lnTo>
                            <a:pt x="1599" y="2519"/>
                          </a:lnTo>
                          <a:lnTo>
                            <a:pt x="1603" y="2508"/>
                          </a:lnTo>
                          <a:lnTo>
                            <a:pt x="1606" y="2497"/>
                          </a:lnTo>
                          <a:lnTo>
                            <a:pt x="1609" y="2483"/>
                          </a:lnTo>
                          <a:lnTo>
                            <a:pt x="1610" y="2470"/>
                          </a:lnTo>
                          <a:lnTo>
                            <a:pt x="1610" y="2455"/>
                          </a:lnTo>
                          <a:lnTo>
                            <a:pt x="1610" y="2233"/>
                          </a:lnTo>
                          <a:lnTo>
                            <a:pt x="1551" y="2233"/>
                          </a:lnTo>
                          <a:lnTo>
                            <a:pt x="1551" y="2250"/>
                          </a:lnTo>
                          <a:close/>
                          <a:moveTo>
                            <a:pt x="1551" y="2307"/>
                          </a:moveTo>
                          <a:lnTo>
                            <a:pt x="1551" y="2403"/>
                          </a:lnTo>
                          <a:lnTo>
                            <a:pt x="1551" y="2403"/>
                          </a:lnTo>
                          <a:lnTo>
                            <a:pt x="1542" y="2412"/>
                          </a:lnTo>
                          <a:lnTo>
                            <a:pt x="1534" y="2420"/>
                          </a:lnTo>
                          <a:lnTo>
                            <a:pt x="1527" y="2423"/>
                          </a:lnTo>
                          <a:lnTo>
                            <a:pt x="1521" y="2425"/>
                          </a:lnTo>
                          <a:lnTo>
                            <a:pt x="1515" y="2426"/>
                          </a:lnTo>
                          <a:lnTo>
                            <a:pt x="1507" y="2427"/>
                          </a:lnTo>
                          <a:lnTo>
                            <a:pt x="1507" y="2427"/>
                          </a:lnTo>
                          <a:lnTo>
                            <a:pt x="1499" y="2426"/>
                          </a:lnTo>
                          <a:lnTo>
                            <a:pt x="1491" y="2424"/>
                          </a:lnTo>
                          <a:lnTo>
                            <a:pt x="1484" y="2420"/>
                          </a:lnTo>
                          <a:lnTo>
                            <a:pt x="1476" y="2413"/>
                          </a:lnTo>
                          <a:lnTo>
                            <a:pt x="1470" y="2403"/>
                          </a:lnTo>
                          <a:lnTo>
                            <a:pt x="1465" y="2390"/>
                          </a:lnTo>
                          <a:lnTo>
                            <a:pt x="1463" y="2373"/>
                          </a:lnTo>
                          <a:lnTo>
                            <a:pt x="1462" y="2351"/>
                          </a:lnTo>
                          <a:lnTo>
                            <a:pt x="1462" y="2351"/>
                          </a:lnTo>
                          <a:lnTo>
                            <a:pt x="1463" y="2333"/>
                          </a:lnTo>
                          <a:lnTo>
                            <a:pt x="1465" y="2317"/>
                          </a:lnTo>
                          <a:lnTo>
                            <a:pt x="1470" y="2305"/>
                          </a:lnTo>
                          <a:lnTo>
                            <a:pt x="1476" y="2296"/>
                          </a:lnTo>
                          <a:lnTo>
                            <a:pt x="1484" y="2290"/>
                          </a:lnTo>
                          <a:lnTo>
                            <a:pt x="1491" y="2285"/>
                          </a:lnTo>
                          <a:lnTo>
                            <a:pt x="1499" y="2284"/>
                          </a:lnTo>
                          <a:lnTo>
                            <a:pt x="1507" y="2283"/>
                          </a:lnTo>
                          <a:lnTo>
                            <a:pt x="1507" y="2283"/>
                          </a:lnTo>
                          <a:lnTo>
                            <a:pt x="1515" y="2284"/>
                          </a:lnTo>
                          <a:lnTo>
                            <a:pt x="1523" y="2285"/>
                          </a:lnTo>
                          <a:lnTo>
                            <a:pt x="1529" y="2288"/>
                          </a:lnTo>
                          <a:lnTo>
                            <a:pt x="1535" y="2291"/>
                          </a:lnTo>
                          <a:lnTo>
                            <a:pt x="1540" y="2295"/>
                          </a:lnTo>
                          <a:lnTo>
                            <a:pt x="1543" y="2299"/>
                          </a:lnTo>
                          <a:lnTo>
                            <a:pt x="1551" y="2307"/>
                          </a:lnTo>
                          <a:lnTo>
                            <a:pt x="1551" y="2307"/>
                          </a:lnTo>
                          <a:close/>
                          <a:moveTo>
                            <a:pt x="1033" y="2233"/>
                          </a:moveTo>
                          <a:lnTo>
                            <a:pt x="1094" y="2233"/>
                          </a:lnTo>
                          <a:lnTo>
                            <a:pt x="1094" y="2341"/>
                          </a:lnTo>
                          <a:lnTo>
                            <a:pt x="1094" y="2477"/>
                          </a:lnTo>
                          <a:lnTo>
                            <a:pt x="1033" y="2477"/>
                          </a:lnTo>
                          <a:lnTo>
                            <a:pt x="1033" y="2233"/>
                          </a:lnTo>
                          <a:close/>
                          <a:moveTo>
                            <a:pt x="1094" y="2167"/>
                          </a:moveTo>
                          <a:lnTo>
                            <a:pt x="1094" y="2198"/>
                          </a:lnTo>
                          <a:lnTo>
                            <a:pt x="1033" y="2198"/>
                          </a:lnTo>
                          <a:lnTo>
                            <a:pt x="1033" y="2137"/>
                          </a:lnTo>
                          <a:lnTo>
                            <a:pt x="1094" y="2137"/>
                          </a:lnTo>
                          <a:lnTo>
                            <a:pt x="1094" y="2167"/>
                          </a:lnTo>
                          <a:close/>
                          <a:moveTo>
                            <a:pt x="2542" y="2161"/>
                          </a:moveTo>
                          <a:lnTo>
                            <a:pt x="2603" y="2131"/>
                          </a:lnTo>
                          <a:lnTo>
                            <a:pt x="2603" y="2352"/>
                          </a:lnTo>
                          <a:lnTo>
                            <a:pt x="2603" y="2477"/>
                          </a:lnTo>
                          <a:lnTo>
                            <a:pt x="2542" y="2477"/>
                          </a:lnTo>
                          <a:lnTo>
                            <a:pt x="2542" y="2161"/>
                          </a:lnTo>
                          <a:close/>
                          <a:moveTo>
                            <a:pt x="437" y="834"/>
                          </a:moveTo>
                          <a:lnTo>
                            <a:pt x="936" y="834"/>
                          </a:lnTo>
                          <a:lnTo>
                            <a:pt x="936" y="544"/>
                          </a:lnTo>
                          <a:lnTo>
                            <a:pt x="437" y="544"/>
                          </a:lnTo>
                          <a:lnTo>
                            <a:pt x="437" y="317"/>
                          </a:lnTo>
                          <a:lnTo>
                            <a:pt x="989" y="317"/>
                          </a:lnTo>
                          <a:lnTo>
                            <a:pt x="806" y="0"/>
                          </a:lnTo>
                          <a:lnTo>
                            <a:pt x="24" y="0"/>
                          </a:lnTo>
                          <a:lnTo>
                            <a:pt x="24" y="1378"/>
                          </a:lnTo>
                          <a:lnTo>
                            <a:pt x="1126" y="1378"/>
                          </a:lnTo>
                          <a:lnTo>
                            <a:pt x="1126" y="1061"/>
                          </a:lnTo>
                          <a:lnTo>
                            <a:pt x="437" y="1061"/>
                          </a:lnTo>
                          <a:lnTo>
                            <a:pt x="437" y="834"/>
                          </a:lnTo>
                          <a:close/>
                          <a:moveTo>
                            <a:pt x="1860" y="0"/>
                          </a:moveTo>
                          <a:lnTo>
                            <a:pt x="1626" y="450"/>
                          </a:lnTo>
                          <a:lnTo>
                            <a:pt x="1393" y="0"/>
                          </a:lnTo>
                          <a:lnTo>
                            <a:pt x="936" y="0"/>
                          </a:lnTo>
                          <a:lnTo>
                            <a:pt x="1417" y="834"/>
                          </a:lnTo>
                          <a:lnTo>
                            <a:pt x="1417" y="1378"/>
                          </a:lnTo>
                          <a:lnTo>
                            <a:pt x="1829" y="1378"/>
                          </a:lnTo>
                          <a:lnTo>
                            <a:pt x="1829" y="834"/>
                          </a:lnTo>
                          <a:lnTo>
                            <a:pt x="2311" y="0"/>
                          </a:lnTo>
                          <a:lnTo>
                            <a:pt x="186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</p:grpSp>
              <p:sp>
                <p:nvSpPr>
                  <p:cNvPr id="57" name="Content Placeholder 5">
                    <a:extLst>
                      <a:ext uri="{FF2B5EF4-FFF2-40B4-BE49-F238E27FC236}">
                        <a16:creationId xmlns:a16="http://schemas.microsoft.com/office/drawing/2014/main" id="{EDD57A8C-FC46-445B-B11C-718350100103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4368" y="75105"/>
                    <a:ext cx="1458345" cy="152383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b="1" kern="0">
                        <a:solidFill>
                          <a:srgbClr val="FFE600"/>
                        </a:solidFill>
                        <a:latin typeface="EYInterstate Bold" panose="02000803030000020004" pitchFamily="2" charset="0"/>
                        <a:ea typeface="+mn-ea"/>
                        <a:cs typeface="+mn-cs"/>
                      </a:rPr>
                      <a:t>Context, Scope and Objectives</a:t>
                    </a:r>
                  </a:p>
                </p:txBody>
              </p:sp>
              <p:sp>
                <p:nvSpPr>
                  <p:cNvPr id="58" name="Content Placeholder 5">
                    <a:extLst>
                      <a:ext uri="{FF2B5EF4-FFF2-40B4-BE49-F238E27FC236}">
                        <a16:creationId xmlns:a16="http://schemas.microsoft.com/office/drawing/2014/main" id="{7306F80D-12DD-41D8-BC59-F81DBCFE9CFD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11986" y="51130"/>
                    <a:ext cx="1206296" cy="200331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+mj-lt"/>
                      <a:buNone/>
                      <a:tabLst>
                        <a:tab pos="4876815" algn="r"/>
                      </a:tabLst>
                    </a:pPr>
                    <a:r>
                      <a:rPr lang="en-US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Key Success Factors &amp; Challenges </a:t>
                    </a:r>
                  </a:p>
                </p:txBody>
              </p:sp>
              <p:sp>
                <p:nvSpPr>
                  <p:cNvPr id="59" name="Content Placeholder 5">
                    <a:extLst>
                      <a:ext uri="{FF2B5EF4-FFF2-40B4-BE49-F238E27FC236}">
                        <a16:creationId xmlns:a16="http://schemas.microsoft.com/office/drawing/2014/main" id="{60C74E16-45FB-4CD2-9030-F54FB1CD4A63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11169709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Appendices</a:t>
                    </a:r>
                  </a:p>
                </p:txBody>
              </p:sp>
              <p:sp>
                <p:nvSpPr>
                  <p:cNvPr id="60" name="Content Placeholder 5">
                    <a:extLst>
                      <a:ext uri="{FF2B5EF4-FFF2-40B4-BE49-F238E27FC236}">
                        <a16:creationId xmlns:a16="http://schemas.microsoft.com/office/drawing/2014/main" id="{E95A26CF-D972-4F8E-B1AC-3E26C1EEF31D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5947426" y="83518"/>
                    <a:ext cx="1023162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Proposed</a:t>
                    </a: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 Approach</a:t>
                    </a:r>
                  </a:p>
                </p:txBody>
              </p:sp>
              <p:sp>
                <p:nvSpPr>
                  <p:cNvPr id="61" name="Content Placeholder 5">
                    <a:extLst>
                      <a:ext uri="{FF2B5EF4-FFF2-40B4-BE49-F238E27FC236}">
                        <a16:creationId xmlns:a16="http://schemas.microsoft.com/office/drawing/2014/main" id="{CF4350E2-76EC-4EE2-A27F-C71BB6480844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7262461" y="75105"/>
                    <a:ext cx="1138227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Team &amp; </a:t>
                    </a: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Goverance</a:t>
                    </a:r>
                    <a:endParaRPr lang="fr-FR" sz="800" kern="0">
                      <a:solidFill>
                        <a:schemeClr val="bg2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Content Placeholder 5">
                    <a:extLst>
                      <a:ext uri="{FF2B5EF4-FFF2-40B4-BE49-F238E27FC236}">
                        <a16:creationId xmlns:a16="http://schemas.microsoft.com/office/drawing/2014/main" id="{A6C98632-FA10-4B66-8702-8CE5C5C1D3A1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4484077" y="75105"/>
                    <a:ext cx="1097554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Scope &amp; Assumptions</a:t>
                    </a:r>
                  </a:p>
                </p:txBody>
              </p:sp>
              <p:sp>
                <p:nvSpPr>
                  <p:cNvPr id="63" name="Content Placeholder 5">
                    <a:extLst>
                      <a:ext uri="{FF2B5EF4-FFF2-40B4-BE49-F238E27FC236}">
                        <a16:creationId xmlns:a16="http://schemas.microsoft.com/office/drawing/2014/main" id="{08FDFC75-2F5A-49C4-8CB4-A26AE7E18B4E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8757114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Teams Profiles</a:t>
                    </a:r>
                  </a:p>
                </p:txBody>
              </p:sp>
              <p:sp>
                <p:nvSpPr>
                  <p:cNvPr id="64" name="Content Placeholder 5">
                    <a:extLst>
                      <a:ext uri="{FF2B5EF4-FFF2-40B4-BE49-F238E27FC236}">
                        <a16:creationId xmlns:a16="http://schemas.microsoft.com/office/drawing/2014/main" id="{0646594E-729D-496A-90D8-AB738B48AB9C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9963409" y="75105"/>
                    <a:ext cx="866515" cy="176356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Key Credentials</a:t>
                    </a:r>
                  </a:p>
                </p:txBody>
              </p:sp>
            </p:grpSp>
          </p:grpSp>
          <p:sp>
            <p:nvSpPr>
              <p:cNvPr id="53" name="Content Placeholder 5">
                <a:extLst>
                  <a:ext uri="{FF2B5EF4-FFF2-40B4-BE49-F238E27FC236}">
                    <a16:creationId xmlns:a16="http://schemas.microsoft.com/office/drawing/2014/main" id="{D2080AEF-2BD7-4FF4-9B40-4730B9DA56EC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1608265" y="75105"/>
                <a:ext cx="1097554" cy="135989"/>
              </a:xfrm>
              <a:prstGeom prst="rect">
                <a:avLst/>
              </a:prstGeom>
            </p:spPr>
            <p:txBody>
              <a:bodyPr anchor="ctr"/>
              <a:lstStyle>
                <a:lvl1pPr algn="l" defTabSz="995363" rtl="0" fontAlgn="base">
                  <a:lnSpc>
                    <a:spcPts val="2100"/>
                  </a:lnSpc>
                  <a:spcBef>
                    <a:spcPct val="0"/>
                  </a:spcBef>
                  <a:spcAft>
                    <a:spcPct val="40000"/>
                  </a:spcAft>
                  <a:defRPr sz="1400" b="0">
                    <a:solidFill>
                      <a:srgbClr val="646464"/>
                    </a:solidFill>
                    <a:latin typeface="+mj-lt"/>
                    <a:ea typeface="+mn-ea"/>
                    <a:cs typeface="+mn-cs"/>
                  </a:defRPr>
                </a:lvl1pPr>
                <a:lvl2pPr marL="1588" algn="l" defTabSz="995363" rtl="0"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lang="en-US" sz="1200" b="1" dirty="0" smtClean="0">
                    <a:solidFill>
                      <a:srgbClr val="646464"/>
                    </a:solidFill>
                    <a:latin typeface="+mn-lt"/>
                  </a:defRPr>
                </a:lvl2pPr>
                <a:lvl3pPr marL="3175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sz="1000">
                    <a:solidFill>
                      <a:srgbClr val="000000"/>
                    </a:solidFill>
                    <a:latin typeface="+mn-lt"/>
                  </a:defRPr>
                </a:lvl3pPr>
                <a:lvl4pPr marL="152400" indent="-147638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FFD200"/>
                  </a:buClr>
                  <a:buSzPct val="75000"/>
                  <a:buFont typeface="Arial" charset="0"/>
                  <a:buChar char="►"/>
                  <a:defRPr sz="1000">
                    <a:solidFill>
                      <a:srgbClr val="000000"/>
                    </a:solidFill>
                    <a:latin typeface="+mn-lt"/>
                  </a:defRPr>
                </a:lvl4pPr>
                <a:lvl5pPr marL="2968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5pPr>
                <a:lvl6pPr marL="7540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6pPr>
                <a:lvl7pPr marL="12112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7pPr>
                <a:lvl8pPr marL="16684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8pPr>
                <a:lvl9pPr marL="21256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lvl="2" indent="0" algn="ctr" defTabSz="8293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140000"/>
                  <a:buFont typeface="Arial" charset="0"/>
                  <a:buNone/>
                  <a:tabLst>
                    <a:tab pos="4876815" algn="r"/>
                  </a:tabLst>
                </a:pPr>
                <a:r>
                  <a:rPr lang="fr-FR" sz="800" kern="0">
                    <a:solidFill>
                      <a:schemeClr val="bg2"/>
                    </a:solidFill>
                    <a:latin typeface="EYInterstate Light" panose="02000506000000020004" pitchFamily="2" charset="0"/>
                    <a:ea typeface="+mn-ea"/>
                    <a:cs typeface="+mn-cs"/>
                  </a:rPr>
                  <a:t>Scope &amp; Assumptions</a:t>
                </a:r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441E8AA-5752-476D-B993-3529C10E3A83}"/>
                </a:ext>
              </a:extLst>
            </p:cNvPr>
            <p:cNvSpPr/>
            <p:nvPr userDrawn="1"/>
          </p:nvSpPr>
          <p:spPr>
            <a:xfrm>
              <a:off x="0" y="0"/>
              <a:ext cx="12192000" cy="350540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>
                <a:solidFill>
                  <a:schemeClr val="tx1"/>
                </a:solidFill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9AEDA8C-9296-453E-86E1-A0F9129C469A}"/>
                </a:ext>
              </a:extLst>
            </p:cNvPr>
            <p:cNvGrpSpPr/>
            <p:nvPr userDrawn="1"/>
          </p:nvGrpSpPr>
          <p:grpSpPr>
            <a:xfrm>
              <a:off x="81557" y="51129"/>
              <a:ext cx="167539" cy="200331"/>
              <a:chOff x="784680" y="68072"/>
              <a:chExt cx="167539" cy="200331"/>
            </a:xfrm>
          </p:grpSpPr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189A50B7-6661-4990-AA9C-2935298E9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680" y="68072"/>
                <a:ext cx="134278" cy="50020"/>
              </a:xfrm>
              <a:custGeom>
                <a:avLst/>
                <a:gdLst>
                  <a:gd name="T0" fmla="*/ 2723 w 2723"/>
                  <a:gd name="T1" fmla="*/ 0 h 994"/>
                  <a:gd name="T2" fmla="*/ 0 w 2723"/>
                  <a:gd name="T3" fmla="*/ 994 h 994"/>
                  <a:gd name="T4" fmla="*/ 2723 w 2723"/>
                  <a:gd name="T5" fmla="*/ 513 h 994"/>
                  <a:gd name="T6" fmla="*/ 2723 w 2723"/>
                  <a:gd name="T7" fmla="*/ 0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23" h="994">
                    <a:moveTo>
                      <a:pt x="2723" y="0"/>
                    </a:moveTo>
                    <a:lnTo>
                      <a:pt x="0" y="994"/>
                    </a:lnTo>
                    <a:lnTo>
                      <a:pt x="2723" y="513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rgbClr val="F7D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F0AD29A1-01D7-4389-ADCE-E1FB6AA01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680" y="138954"/>
                <a:ext cx="167539" cy="129449"/>
              </a:xfrm>
              <a:custGeom>
                <a:avLst/>
                <a:gdLst>
                  <a:gd name="T0" fmla="*/ 256 w 3400"/>
                  <a:gd name="T1" fmla="*/ 1749 h 2577"/>
                  <a:gd name="T2" fmla="*/ 278 w 3400"/>
                  <a:gd name="T3" fmla="*/ 1978 h 2577"/>
                  <a:gd name="T4" fmla="*/ 166 w 3400"/>
                  <a:gd name="T5" fmla="*/ 1993 h 2577"/>
                  <a:gd name="T6" fmla="*/ 386 w 3400"/>
                  <a:gd name="T7" fmla="*/ 1940 h 2577"/>
                  <a:gd name="T8" fmla="*/ 458 w 3400"/>
                  <a:gd name="T9" fmla="*/ 2046 h 2577"/>
                  <a:gd name="T10" fmla="*/ 1255 w 3400"/>
                  <a:gd name="T11" fmla="*/ 1820 h 2577"/>
                  <a:gd name="T12" fmla="*/ 1339 w 3400"/>
                  <a:gd name="T13" fmla="*/ 1914 h 2577"/>
                  <a:gd name="T14" fmla="*/ 767 w 3400"/>
                  <a:gd name="T15" fmla="*/ 1703 h 2577"/>
                  <a:gd name="T16" fmla="*/ 813 w 3400"/>
                  <a:gd name="T17" fmla="*/ 1884 h 2577"/>
                  <a:gd name="T18" fmla="*/ 947 w 3400"/>
                  <a:gd name="T19" fmla="*/ 2042 h 2577"/>
                  <a:gd name="T20" fmla="*/ 916 w 3400"/>
                  <a:gd name="T21" fmla="*/ 1855 h 2577"/>
                  <a:gd name="T22" fmla="*/ 2225 w 3400"/>
                  <a:gd name="T23" fmla="*/ 2049 h 2577"/>
                  <a:gd name="T24" fmla="*/ 2376 w 3400"/>
                  <a:gd name="T25" fmla="*/ 1924 h 2577"/>
                  <a:gd name="T26" fmla="*/ 2312 w 3400"/>
                  <a:gd name="T27" fmla="*/ 1906 h 2577"/>
                  <a:gd name="T28" fmla="*/ 2267 w 3400"/>
                  <a:gd name="T29" fmla="*/ 1855 h 2577"/>
                  <a:gd name="T30" fmla="*/ 1441 w 3400"/>
                  <a:gd name="T31" fmla="*/ 1911 h 2577"/>
                  <a:gd name="T32" fmla="*/ 1591 w 3400"/>
                  <a:gd name="T33" fmla="*/ 2031 h 2577"/>
                  <a:gd name="T34" fmla="*/ 1622 w 3400"/>
                  <a:gd name="T35" fmla="*/ 2119 h 2577"/>
                  <a:gd name="T36" fmla="*/ 1507 w 3400"/>
                  <a:gd name="T37" fmla="*/ 1962 h 2577"/>
                  <a:gd name="T38" fmla="*/ 1902 w 3400"/>
                  <a:gd name="T39" fmla="*/ 1848 h 2577"/>
                  <a:gd name="T40" fmla="*/ 1797 w 3400"/>
                  <a:gd name="T41" fmla="*/ 1958 h 2577"/>
                  <a:gd name="T42" fmla="*/ 2006 w 3400"/>
                  <a:gd name="T43" fmla="*/ 1884 h 2577"/>
                  <a:gd name="T44" fmla="*/ 1857 w 3400"/>
                  <a:gd name="T45" fmla="*/ 1968 h 2577"/>
                  <a:gd name="T46" fmla="*/ 1881 w 3400"/>
                  <a:gd name="T47" fmla="*/ 2002 h 2577"/>
                  <a:gd name="T48" fmla="*/ 2467 w 3400"/>
                  <a:gd name="T49" fmla="*/ 1946 h 2577"/>
                  <a:gd name="T50" fmla="*/ 2452 w 3400"/>
                  <a:gd name="T51" fmla="*/ 1821 h 2577"/>
                  <a:gd name="T52" fmla="*/ 2521 w 3400"/>
                  <a:gd name="T53" fmla="*/ 2055 h 2577"/>
                  <a:gd name="T54" fmla="*/ 2555 w 3400"/>
                  <a:gd name="T55" fmla="*/ 1883 h 2577"/>
                  <a:gd name="T56" fmla="*/ 3202 w 3400"/>
                  <a:gd name="T57" fmla="*/ 1928 h 2577"/>
                  <a:gd name="T58" fmla="*/ 3006 w 3400"/>
                  <a:gd name="T59" fmla="*/ 1854 h 2577"/>
                  <a:gd name="T60" fmla="*/ 3140 w 3400"/>
                  <a:gd name="T61" fmla="*/ 2049 h 2577"/>
                  <a:gd name="T62" fmla="*/ 2905 w 3400"/>
                  <a:gd name="T63" fmla="*/ 1964 h 2577"/>
                  <a:gd name="T64" fmla="*/ 2868 w 3400"/>
                  <a:gd name="T65" fmla="*/ 2041 h 2577"/>
                  <a:gd name="T66" fmla="*/ 2713 w 3400"/>
                  <a:gd name="T67" fmla="*/ 2051 h 2577"/>
                  <a:gd name="T68" fmla="*/ 2747 w 3400"/>
                  <a:gd name="T69" fmla="*/ 1996 h 2577"/>
                  <a:gd name="T70" fmla="*/ 3300 w 3400"/>
                  <a:gd name="T71" fmla="*/ 1805 h 2577"/>
                  <a:gd name="T72" fmla="*/ 1073 w 3400"/>
                  <a:gd name="T73" fmla="*/ 2049 h 2577"/>
                  <a:gd name="T74" fmla="*/ 2660 w 3400"/>
                  <a:gd name="T75" fmla="*/ 2279 h 2577"/>
                  <a:gd name="T76" fmla="*/ 2763 w 3400"/>
                  <a:gd name="T77" fmla="*/ 2480 h 2577"/>
                  <a:gd name="T78" fmla="*/ 2737 w 3400"/>
                  <a:gd name="T79" fmla="*/ 2285 h 2577"/>
                  <a:gd name="T80" fmla="*/ 690 w 3400"/>
                  <a:gd name="T81" fmla="*/ 2289 h 2577"/>
                  <a:gd name="T82" fmla="*/ 740 w 3400"/>
                  <a:gd name="T83" fmla="*/ 2301 h 2577"/>
                  <a:gd name="T84" fmla="*/ 222 w 3400"/>
                  <a:gd name="T85" fmla="*/ 2352 h 2577"/>
                  <a:gd name="T86" fmla="*/ 341 w 3400"/>
                  <a:gd name="T87" fmla="*/ 2395 h 2577"/>
                  <a:gd name="T88" fmla="*/ 554 w 3400"/>
                  <a:gd name="T89" fmla="*/ 2395 h 2577"/>
                  <a:gd name="T90" fmla="*/ 412 w 3400"/>
                  <a:gd name="T91" fmla="*/ 2407 h 2577"/>
                  <a:gd name="T92" fmla="*/ 484 w 3400"/>
                  <a:gd name="T93" fmla="*/ 2407 h 2577"/>
                  <a:gd name="T94" fmla="*/ 2419 w 3400"/>
                  <a:gd name="T95" fmla="*/ 2248 h 2577"/>
                  <a:gd name="T96" fmla="*/ 1758 w 3400"/>
                  <a:gd name="T97" fmla="*/ 2233 h 2577"/>
                  <a:gd name="T98" fmla="*/ 2133 w 3400"/>
                  <a:gd name="T99" fmla="*/ 2255 h 2577"/>
                  <a:gd name="T100" fmla="*/ 2204 w 3400"/>
                  <a:gd name="T101" fmla="*/ 2483 h 2577"/>
                  <a:gd name="T102" fmla="*/ 2269 w 3400"/>
                  <a:gd name="T103" fmla="*/ 2249 h 2577"/>
                  <a:gd name="T104" fmla="*/ 2204 w 3400"/>
                  <a:gd name="T105" fmla="*/ 2284 h 2577"/>
                  <a:gd name="T106" fmla="*/ 845 w 3400"/>
                  <a:gd name="T107" fmla="*/ 2131 h 2577"/>
                  <a:gd name="T108" fmla="*/ 1323 w 3400"/>
                  <a:gd name="T109" fmla="*/ 2244 h 2577"/>
                  <a:gd name="T110" fmla="*/ 1220 w 3400"/>
                  <a:gd name="T111" fmla="*/ 2299 h 2577"/>
                  <a:gd name="T112" fmla="*/ 1410 w 3400"/>
                  <a:gd name="T113" fmla="*/ 2289 h 2577"/>
                  <a:gd name="T114" fmla="*/ 1525 w 3400"/>
                  <a:gd name="T115" fmla="*/ 2477 h 2577"/>
                  <a:gd name="T116" fmla="*/ 1544 w 3400"/>
                  <a:gd name="T117" fmla="*/ 2570 h 2577"/>
                  <a:gd name="T118" fmla="*/ 1491 w 3400"/>
                  <a:gd name="T119" fmla="*/ 2424 h 2577"/>
                  <a:gd name="T120" fmla="*/ 1094 w 3400"/>
                  <a:gd name="T121" fmla="*/ 2341 h 2577"/>
                  <a:gd name="T122" fmla="*/ 437 w 3400"/>
                  <a:gd name="T123" fmla="*/ 1061 h 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00" h="2577">
                    <a:moveTo>
                      <a:pt x="283" y="1942"/>
                    </a:moveTo>
                    <a:lnTo>
                      <a:pt x="283" y="1942"/>
                    </a:lnTo>
                    <a:lnTo>
                      <a:pt x="283" y="1934"/>
                    </a:lnTo>
                    <a:lnTo>
                      <a:pt x="282" y="1927"/>
                    </a:lnTo>
                    <a:lnTo>
                      <a:pt x="278" y="1912"/>
                    </a:lnTo>
                    <a:lnTo>
                      <a:pt x="272" y="1900"/>
                    </a:lnTo>
                    <a:lnTo>
                      <a:pt x="265" y="1890"/>
                    </a:lnTo>
                    <a:lnTo>
                      <a:pt x="256" y="1883"/>
                    </a:lnTo>
                    <a:lnTo>
                      <a:pt x="248" y="1877"/>
                    </a:lnTo>
                    <a:lnTo>
                      <a:pt x="241" y="1872"/>
                    </a:lnTo>
                    <a:lnTo>
                      <a:pt x="233" y="1868"/>
                    </a:lnTo>
                    <a:lnTo>
                      <a:pt x="233" y="1868"/>
                    </a:lnTo>
                    <a:lnTo>
                      <a:pt x="242" y="1862"/>
                    </a:lnTo>
                    <a:lnTo>
                      <a:pt x="249" y="1856"/>
                    </a:lnTo>
                    <a:lnTo>
                      <a:pt x="255" y="1849"/>
                    </a:lnTo>
                    <a:lnTo>
                      <a:pt x="261" y="1840"/>
                    </a:lnTo>
                    <a:lnTo>
                      <a:pt x="266" y="1832"/>
                    </a:lnTo>
                    <a:lnTo>
                      <a:pt x="269" y="1822"/>
                    </a:lnTo>
                    <a:lnTo>
                      <a:pt x="271" y="1812"/>
                    </a:lnTo>
                    <a:lnTo>
                      <a:pt x="271" y="1801"/>
                    </a:lnTo>
                    <a:lnTo>
                      <a:pt x="271" y="1801"/>
                    </a:lnTo>
                    <a:lnTo>
                      <a:pt x="271" y="1792"/>
                    </a:lnTo>
                    <a:lnTo>
                      <a:pt x="270" y="1782"/>
                    </a:lnTo>
                    <a:lnTo>
                      <a:pt x="267" y="1773"/>
                    </a:lnTo>
                    <a:lnTo>
                      <a:pt x="265" y="1765"/>
                    </a:lnTo>
                    <a:lnTo>
                      <a:pt x="261" y="1756"/>
                    </a:lnTo>
                    <a:lnTo>
                      <a:pt x="256" y="1749"/>
                    </a:lnTo>
                    <a:lnTo>
                      <a:pt x="250" y="1743"/>
                    </a:lnTo>
                    <a:lnTo>
                      <a:pt x="244" y="1737"/>
                    </a:lnTo>
                    <a:lnTo>
                      <a:pt x="237" y="1732"/>
                    </a:lnTo>
                    <a:lnTo>
                      <a:pt x="230" y="1727"/>
                    </a:lnTo>
                    <a:lnTo>
                      <a:pt x="221" y="1724"/>
                    </a:lnTo>
                    <a:lnTo>
                      <a:pt x="211" y="1720"/>
                    </a:lnTo>
                    <a:lnTo>
                      <a:pt x="202" y="1718"/>
                    </a:lnTo>
                    <a:lnTo>
                      <a:pt x="191" y="1715"/>
                    </a:lnTo>
                    <a:lnTo>
                      <a:pt x="180" y="1715"/>
                    </a:lnTo>
                    <a:lnTo>
                      <a:pt x="168" y="1714"/>
                    </a:lnTo>
                    <a:lnTo>
                      <a:pt x="24" y="1714"/>
                    </a:lnTo>
                    <a:lnTo>
                      <a:pt x="24" y="2049"/>
                    </a:lnTo>
                    <a:lnTo>
                      <a:pt x="166" y="2049"/>
                    </a:lnTo>
                    <a:lnTo>
                      <a:pt x="166" y="2049"/>
                    </a:lnTo>
                    <a:lnTo>
                      <a:pt x="180" y="2049"/>
                    </a:lnTo>
                    <a:lnTo>
                      <a:pt x="192" y="2048"/>
                    </a:lnTo>
                    <a:lnTo>
                      <a:pt x="204" y="2046"/>
                    </a:lnTo>
                    <a:lnTo>
                      <a:pt x="215" y="2042"/>
                    </a:lnTo>
                    <a:lnTo>
                      <a:pt x="226" y="2038"/>
                    </a:lnTo>
                    <a:lnTo>
                      <a:pt x="236" y="2034"/>
                    </a:lnTo>
                    <a:lnTo>
                      <a:pt x="244" y="2028"/>
                    </a:lnTo>
                    <a:lnTo>
                      <a:pt x="252" y="2021"/>
                    </a:lnTo>
                    <a:lnTo>
                      <a:pt x="259" y="2014"/>
                    </a:lnTo>
                    <a:lnTo>
                      <a:pt x="265" y="2006"/>
                    </a:lnTo>
                    <a:lnTo>
                      <a:pt x="271" y="1997"/>
                    </a:lnTo>
                    <a:lnTo>
                      <a:pt x="275" y="1987"/>
                    </a:lnTo>
                    <a:lnTo>
                      <a:pt x="278" y="1978"/>
                    </a:lnTo>
                    <a:lnTo>
                      <a:pt x="281" y="1967"/>
                    </a:lnTo>
                    <a:lnTo>
                      <a:pt x="282" y="1955"/>
                    </a:lnTo>
                    <a:lnTo>
                      <a:pt x="283" y="1942"/>
                    </a:lnTo>
                    <a:lnTo>
                      <a:pt x="283" y="1942"/>
                    </a:lnTo>
                    <a:close/>
                    <a:moveTo>
                      <a:pt x="166" y="1993"/>
                    </a:moveTo>
                    <a:lnTo>
                      <a:pt x="86" y="1993"/>
                    </a:lnTo>
                    <a:lnTo>
                      <a:pt x="86" y="1897"/>
                    </a:lnTo>
                    <a:lnTo>
                      <a:pt x="166" y="1897"/>
                    </a:lnTo>
                    <a:lnTo>
                      <a:pt x="166" y="1897"/>
                    </a:lnTo>
                    <a:lnTo>
                      <a:pt x="179" y="1899"/>
                    </a:lnTo>
                    <a:lnTo>
                      <a:pt x="188" y="1900"/>
                    </a:lnTo>
                    <a:lnTo>
                      <a:pt x="197" y="1904"/>
                    </a:lnTo>
                    <a:lnTo>
                      <a:pt x="204" y="1910"/>
                    </a:lnTo>
                    <a:lnTo>
                      <a:pt x="210" y="1916"/>
                    </a:lnTo>
                    <a:lnTo>
                      <a:pt x="214" y="1924"/>
                    </a:lnTo>
                    <a:lnTo>
                      <a:pt x="216" y="1934"/>
                    </a:lnTo>
                    <a:lnTo>
                      <a:pt x="218" y="1945"/>
                    </a:lnTo>
                    <a:lnTo>
                      <a:pt x="218" y="1945"/>
                    </a:lnTo>
                    <a:lnTo>
                      <a:pt x="216" y="1956"/>
                    </a:lnTo>
                    <a:lnTo>
                      <a:pt x="214" y="1966"/>
                    </a:lnTo>
                    <a:lnTo>
                      <a:pt x="209" y="1974"/>
                    </a:lnTo>
                    <a:lnTo>
                      <a:pt x="204" y="1980"/>
                    </a:lnTo>
                    <a:lnTo>
                      <a:pt x="197" y="1986"/>
                    </a:lnTo>
                    <a:lnTo>
                      <a:pt x="188" y="1990"/>
                    </a:lnTo>
                    <a:lnTo>
                      <a:pt x="177" y="1992"/>
                    </a:lnTo>
                    <a:lnTo>
                      <a:pt x="166" y="1993"/>
                    </a:lnTo>
                    <a:lnTo>
                      <a:pt x="166" y="1993"/>
                    </a:lnTo>
                    <a:close/>
                    <a:moveTo>
                      <a:pt x="165" y="1843"/>
                    </a:moveTo>
                    <a:lnTo>
                      <a:pt x="86" y="1843"/>
                    </a:lnTo>
                    <a:lnTo>
                      <a:pt x="86" y="1771"/>
                    </a:lnTo>
                    <a:lnTo>
                      <a:pt x="163" y="1771"/>
                    </a:lnTo>
                    <a:lnTo>
                      <a:pt x="163" y="1771"/>
                    </a:lnTo>
                    <a:lnTo>
                      <a:pt x="173" y="1772"/>
                    </a:lnTo>
                    <a:lnTo>
                      <a:pt x="182" y="1773"/>
                    </a:lnTo>
                    <a:lnTo>
                      <a:pt x="190" y="1776"/>
                    </a:lnTo>
                    <a:lnTo>
                      <a:pt x="196" y="1780"/>
                    </a:lnTo>
                    <a:lnTo>
                      <a:pt x="201" y="1786"/>
                    </a:lnTo>
                    <a:lnTo>
                      <a:pt x="204" y="1792"/>
                    </a:lnTo>
                    <a:lnTo>
                      <a:pt x="205" y="1799"/>
                    </a:lnTo>
                    <a:lnTo>
                      <a:pt x="207" y="1807"/>
                    </a:lnTo>
                    <a:lnTo>
                      <a:pt x="207" y="1807"/>
                    </a:lnTo>
                    <a:lnTo>
                      <a:pt x="207" y="1814"/>
                    </a:lnTo>
                    <a:lnTo>
                      <a:pt x="205" y="1820"/>
                    </a:lnTo>
                    <a:lnTo>
                      <a:pt x="203" y="1826"/>
                    </a:lnTo>
                    <a:lnTo>
                      <a:pt x="199" y="1831"/>
                    </a:lnTo>
                    <a:lnTo>
                      <a:pt x="193" y="1835"/>
                    </a:lnTo>
                    <a:lnTo>
                      <a:pt x="186" y="1839"/>
                    </a:lnTo>
                    <a:lnTo>
                      <a:pt x="177" y="1842"/>
                    </a:lnTo>
                    <a:lnTo>
                      <a:pt x="165" y="1843"/>
                    </a:lnTo>
                    <a:lnTo>
                      <a:pt x="165" y="1843"/>
                    </a:lnTo>
                    <a:close/>
                    <a:moveTo>
                      <a:pt x="326" y="1944"/>
                    </a:moveTo>
                    <a:lnTo>
                      <a:pt x="326" y="1805"/>
                    </a:lnTo>
                    <a:lnTo>
                      <a:pt x="386" y="1805"/>
                    </a:lnTo>
                    <a:lnTo>
                      <a:pt x="386" y="1940"/>
                    </a:lnTo>
                    <a:lnTo>
                      <a:pt x="386" y="1940"/>
                    </a:lnTo>
                    <a:lnTo>
                      <a:pt x="386" y="1953"/>
                    </a:lnTo>
                    <a:lnTo>
                      <a:pt x="389" y="1967"/>
                    </a:lnTo>
                    <a:lnTo>
                      <a:pt x="392" y="1976"/>
                    </a:lnTo>
                    <a:lnTo>
                      <a:pt x="397" y="1985"/>
                    </a:lnTo>
                    <a:lnTo>
                      <a:pt x="403" y="1991"/>
                    </a:lnTo>
                    <a:lnTo>
                      <a:pt x="411" y="1996"/>
                    </a:lnTo>
                    <a:lnTo>
                      <a:pt x="420" y="1998"/>
                    </a:lnTo>
                    <a:lnTo>
                      <a:pt x="431" y="2000"/>
                    </a:lnTo>
                    <a:lnTo>
                      <a:pt x="431" y="2000"/>
                    </a:lnTo>
                    <a:lnTo>
                      <a:pt x="442" y="1998"/>
                    </a:lnTo>
                    <a:lnTo>
                      <a:pt x="451" y="1996"/>
                    </a:lnTo>
                    <a:lnTo>
                      <a:pt x="459" y="1991"/>
                    </a:lnTo>
                    <a:lnTo>
                      <a:pt x="465" y="1985"/>
                    </a:lnTo>
                    <a:lnTo>
                      <a:pt x="470" y="1976"/>
                    </a:lnTo>
                    <a:lnTo>
                      <a:pt x="474" y="1966"/>
                    </a:lnTo>
                    <a:lnTo>
                      <a:pt x="476" y="1953"/>
                    </a:lnTo>
                    <a:lnTo>
                      <a:pt x="476" y="1940"/>
                    </a:lnTo>
                    <a:lnTo>
                      <a:pt x="476" y="1805"/>
                    </a:lnTo>
                    <a:lnTo>
                      <a:pt x="537" y="1805"/>
                    </a:lnTo>
                    <a:lnTo>
                      <a:pt x="537" y="2049"/>
                    </a:lnTo>
                    <a:lnTo>
                      <a:pt x="476" y="2049"/>
                    </a:lnTo>
                    <a:lnTo>
                      <a:pt x="476" y="2030"/>
                    </a:lnTo>
                    <a:lnTo>
                      <a:pt x="476" y="2030"/>
                    </a:lnTo>
                    <a:lnTo>
                      <a:pt x="471" y="2036"/>
                    </a:lnTo>
                    <a:lnTo>
                      <a:pt x="464" y="2041"/>
                    </a:lnTo>
                    <a:lnTo>
                      <a:pt x="458" y="2046"/>
                    </a:lnTo>
                    <a:lnTo>
                      <a:pt x="451" y="2048"/>
                    </a:lnTo>
                    <a:lnTo>
                      <a:pt x="444" y="2052"/>
                    </a:lnTo>
                    <a:lnTo>
                      <a:pt x="435" y="2053"/>
                    </a:lnTo>
                    <a:lnTo>
                      <a:pt x="427" y="2054"/>
                    </a:lnTo>
                    <a:lnTo>
                      <a:pt x="418" y="2055"/>
                    </a:lnTo>
                    <a:lnTo>
                      <a:pt x="418" y="2055"/>
                    </a:lnTo>
                    <a:lnTo>
                      <a:pt x="403" y="2054"/>
                    </a:lnTo>
                    <a:lnTo>
                      <a:pt x="391" y="2052"/>
                    </a:lnTo>
                    <a:lnTo>
                      <a:pt x="380" y="2048"/>
                    </a:lnTo>
                    <a:lnTo>
                      <a:pt x="369" y="2043"/>
                    </a:lnTo>
                    <a:lnTo>
                      <a:pt x="361" y="2037"/>
                    </a:lnTo>
                    <a:lnTo>
                      <a:pt x="354" y="2031"/>
                    </a:lnTo>
                    <a:lnTo>
                      <a:pt x="348" y="2023"/>
                    </a:lnTo>
                    <a:lnTo>
                      <a:pt x="341" y="2014"/>
                    </a:lnTo>
                    <a:lnTo>
                      <a:pt x="338" y="2006"/>
                    </a:lnTo>
                    <a:lnTo>
                      <a:pt x="334" y="1997"/>
                    </a:lnTo>
                    <a:lnTo>
                      <a:pt x="329" y="1978"/>
                    </a:lnTo>
                    <a:lnTo>
                      <a:pt x="327" y="1959"/>
                    </a:lnTo>
                    <a:lnTo>
                      <a:pt x="326" y="1944"/>
                    </a:lnTo>
                    <a:lnTo>
                      <a:pt x="326" y="1944"/>
                    </a:lnTo>
                    <a:close/>
                    <a:moveTo>
                      <a:pt x="1249" y="2049"/>
                    </a:moveTo>
                    <a:lnTo>
                      <a:pt x="1188" y="2049"/>
                    </a:lnTo>
                    <a:lnTo>
                      <a:pt x="1188" y="1805"/>
                    </a:lnTo>
                    <a:lnTo>
                      <a:pt x="1249" y="1805"/>
                    </a:lnTo>
                    <a:lnTo>
                      <a:pt x="1249" y="1826"/>
                    </a:lnTo>
                    <a:lnTo>
                      <a:pt x="1249" y="1826"/>
                    </a:lnTo>
                    <a:lnTo>
                      <a:pt x="1255" y="1820"/>
                    </a:lnTo>
                    <a:lnTo>
                      <a:pt x="1261" y="1814"/>
                    </a:lnTo>
                    <a:lnTo>
                      <a:pt x="1269" y="1810"/>
                    </a:lnTo>
                    <a:lnTo>
                      <a:pt x="1276" y="1806"/>
                    </a:lnTo>
                    <a:lnTo>
                      <a:pt x="1284" y="1803"/>
                    </a:lnTo>
                    <a:lnTo>
                      <a:pt x="1292" y="1801"/>
                    </a:lnTo>
                    <a:lnTo>
                      <a:pt x="1301" y="1800"/>
                    </a:lnTo>
                    <a:lnTo>
                      <a:pt x="1310" y="1799"/>
                    </a:lnTo>
                    <a:lnTo>
                      <a:pt x="1310" y="1799"/>
                    </a:lnTo>
                    <a:lnTo>
                      <a:pt x="1321" y="1800"/>
                    </a:lnTo>
                    <a:lnTo>
                      <a:pt x="1331" y="1801"/>
                    </a:lnTo>
                    <a:lnTo>
                      <a:pt x="1340" y="1804"/>
                    </a:lnTo>
                    <a:lnTo>
                      <a:pt x="1349" y="1806"/>
                    </a:lnTo>
                    <a:lnTo>
                      <a:pt x="1357" y="1810"/>
                    </a:lnTo>
                    <a:lnTo>
                      <a:pt x="1365" y="1816"/>
                    </a:lnTo>
                    <a:lnTo>
                      <a:pt x="1371" y="1821"/>
                    </a:lnTo>
                    <a:lnTo>
                      <a:pt x="1377" y="1828"/>
                    </a:lnTo>
                    <a:lnTo>
                      <a:pt x="1383" y="1835"/>
                    </a:lnTo>
                    <a:lnTo>
                      <a:pt x="1386" y="1844"/>
                    </a:lnTo>
                    <a:lnTo>
                      <a:pt x="1391" y="1852"/>
                    </a:lnTo>
                    <a:lnTo>
                      <a:pt x="1394" y="1862"/>
                    </a:lnTo>
                    <a:lnTo>
                      <a:pt x="1396" y="1873"/>
                    </a:lnTo>
                    <a:lnTo>
                      <a:pt x="1399" y="1885"/>
                    </a:lnTo>
                    <a:lnTo>
                      <a:pt x="1400" y="1897"/>
                    </a:lnTo>
                    <a:lnTo>
                      <a:pt x="1400" y="1911"/>
                    </a:lnTo>
                    <a:lnTo>
                      <a:pt x="1400" y="2049"/>
                    </a:lnTo>
                    <a:lnTo>
                      <a:pt x="1339" y="2049"/>
                    </a:lnTo>
                    <a:lnTo>
                      <a:pt x="1339" y="1914"/>
                    </a:lnTo>
                    <a:lnTo>
                      <a:pt x="1339" y="1914"/>
                    </a:lnTo>
                    <a:lnTo>
                      <a:pt x="1339" y="1900"/>
                    </a:lnTo>
                    <a:lnTo>
                      <a:pt x="1337" y="1888"/>
                    </a:lnTo>
                    <a:lnTo>
                      <a:pt x="1333" y="1878"/>
                    </a:lnTo>
                    <a:lnTo>
                      <a:pt x="1328" y="1869"/>
                    </a:lnTo>
                    <a:lnTo>
                      <a:pt x="1322" y="1863"/>
                    </a:lnTo>
                    <a:lnTo>
                      <a:pt x="1315" y="1859"/>
                    </a:lnTo>
                    <a:lnTo>
                      <a:pt x="1306" y="1856"/>
                    </a:lnTo>
                    <a:lnTo>
                      <a:pt x="1295" y="1855"/>
                    </a:lnTo>
                    <a:lnTo>
                      <a:pt x="1295" y="1855"/>
                    </a:lnTo>
                    <a:lnTo>
                      <a:pt x="1284" y="1856"/>
                    </a:lnTo>
                    <a:lnTo>
                      <a:pt x="1275" y="1859"/>
                    </a:lnTo>
                    <a:lnTo>
                      <a:pt x="1267" y="1863"/>
                    </a:lnTo>
                    <a:lnTo>
                      <a:pt x="1261" y="1869"/>
                    </a:lnTo>
                    <a:lnTo>
                      <a:pt x="1255" y="1878"/>
                    </a:lnTo>
                    <a:lnTo>
                      <a:pt x="1252" y="1889"/>
                    </a:lnTo>
                    <a:lnTo>
                      <a:pt x="1249" y="1901"/>
                    </a:lnTo>
                    <a:lnTo>
                      <a:pt x="1249" y="1914"/>
                    </a:lnTo>
                    <a:lnTo>
                      <a:pt x="1249" y="2049"/>
                    </a:lnTo>
                    <a:close/>
                    <a:moveTo>
                      <a:pt x="653" y="1927"/>
                    </a:moveTo>
                    <a:lnTo>
                      <a:pt x="653" y="2049"/>
                    </a:lnTo>
                    <a:lnTo>
                      <a:pt x="592" y="2049"/>
                    </a:lnTo>
                    <a:lnTo>
                      <a:pt x="592" y="1805"/>
                    </a:lnTo>
                    <a:lnTo>
                      <a:pt x="653" y="1805"/>
                    </a:lnTo>
                    <a:lnTo>
                      <a:pt x="653" y="1927"/>
                    </a:lnTo>
                    <a:close/>
                    <a:moveTo>
                      <a:pt x="706" y="1733"/>
                    </a:moveTo>
                    <a:lnTo>
                      <a:pt x="767" y="1703"/>
                    </a:lnTo>
                    <a:lnTo>
                      <a:pt x="767" y="1924"/>
                    </a:lnTo>
                    <a:lnTo>
                      <a:pt x="767" y="2049"/>
                    </a:lnTo>
                    <a:lnTo>
                      <a:pt x="706" y="2049"/>
                    </a:lnTo>
                    <a:lnTo>
                      <a:pt x="706" y="1733"/>
                    </a:lnTo>
                    <a:close/>
                    <a:moveTo>
                      <a:pt x="959" y="1822"/>
                    </a:moveTo>
                    <a:lnTo>
                      <a:pt x="959" y="1822"/>
                    </a:lnTo>
                    <a:lnTo>
                      <a:pt x="954" y="1816"/>
                    </a:lnTo>
                    <a:lnTo>
                      <a:pt x="948" y="1812"/>
                    </a:lnTo>
                    <a:lnTo>
                      <a:pt x="941" y="1807"/>
                    </a:lnTo>
                    <a:lnTo>
                      <a:pt x="934" y="1805"/>
                    </a:lnTo>
                    <a:lnTo>
                      <a:pt x="927" y="1803"/>
                    </a:lnTo>
                    <a:lnTo>
                      <a:pt x="920" y="1800"/>
                    </a:lnTo>
                    <a:lnTo>
                      <a:pt x="905" y="1799"/>
                    </a:lnTo>
                    <a:lnTo>
                      <a:pt x="905" y="1799"/>
                    </a:lnTo>
                    <a:lnTo>
                      <a:pt x="894" y="1800"/>
                    </a:lnTo>
                    <a:lnTo>
                      <a:pt x="883" y="1801"/>
                    </a:lnTo>
                    <a:lnTo>
                      <a:pt x="874" y="1804"/>
                    </a:lnTo>
                    <a:lnTo>
                      <a:pt x="865" y="1807"/>
                    </a:lnTo>
                    <a:lnTo>
                      <a:pt x="857" y="1812"/>
                    </a:lnTo>
                    <a:lnTo>
                      <a:pt x="848" y="1818"/>
                    </a:lnTo>
                    <a:lnTo>
                      <a:pt x="841" y="1826"/>
                    </a:lnTo>
                    <a:lnTo>
                      <a:pt x="835" y="1833"/>
                    </a:lnTo>
                    <a:lnTo>
                      <a:pt x="829" y="1842"/>
                    </a:lnTo>
                    <a:lnTo>
                      <a:pt x="824" y="1851"/>
                    </a:lnTo>
                    <a:lnTo>
                      <a:pt x="819" y="1861"/>
                    </a:lnTo>
                    <a:lnTo>
                      <a:pt x="815" y="1872"/>
                    </a:lnTo>
                    <a:lnTo>
                      <a:pt x="813" y="1884"/>
                    </a:lnTo>
                    <a:lnTo>
                      <a:pt x="811" y="1897"/>
                    </a:lnTo>
                    <a:lnTo>
                      <a:pt x="809" y="1911"/>
                    </a:lnTo>
                    <a:lnTo>
                      <a:pt x="809" y="1924"/>
                    </a:lnTo>
                    <a:lnTo>
                      <a:pt x="809" y="1924"/>
                    </a:lnTo>
                    <a:lnTo>
                      <a:pt x="809" y="1940"/>
                    </a:lnTo>
                    <a:lnTo>
                      <a:pt x="811" y="1953"/>
                    </a:lnTo>
                    <a:lnTo>
                      <a:pt x="813" y="1967"/>
                    </a:lnTo>
                    <a:lnTo>
                      <a:pt x="815" y="1979"/>
                    </a:lnTo>
                    <a:lnTo>
                      <a:pt x="819" y="1991"/>
                    </a:lnTo>
                    <a:lnTo>
                      <a:pt x="823" y="2002"/>
                    </a:lnTo>
                    <a:lnTo>
                      <a:pt x="828" y="2012"/>
                    </a:lnTo>
                    <a:lnTo>
                      <a:pt x="834" y="2020"/>
                    </a:lnTo>
                    <a:lnTo>
                      <a:pt x="841" y="2029"/>
                    </a:lnTo>
                    <a:lnTo>
                      <a:pt x="847" y="2035"/>
                    </a:lnTo>
                    <a:lnTo>
                      <a:pt x="855" y="2041"/>
                    </a:lnTo>
                    <a:lnTo>
                      <a:pt x="864" y="2046"/>
                    </a:lnTo>
                    <a:lnTo>
                      <a:pt x="872" y="2049"/>
                    </a:lnTo>
                    <a:lnTo>
                      <a:pt x="882" y="2053"/>
                    </a:lnTo>
                    <a:lnTo>
                      <a:pt x="893" y="2054"/>
                    </a:lnTo>
                    <a:lnTo>
                      <a:pt x="904" y="2055"/>
                    </a:lnTo>
                    <a:lnTo>
                      <a:pt x="904" y="2055"/>
                    </a:lnTo>
                    <a:lnTo>
                      <a:pt x="911" y="2054"/>
                    </a:lnTo>
                    <a:lnTo>
                      <a:pt x="919" y="2053"/>
                    </a:lnTo>
                    <a:lnTo>
                      <a:pt x="926" y="2052"/>
                    </a:lnTo>
                    <a:lnTo>
                      <a:pt x="933" y="2049"/>
                    </a:lnTo>
                    <a:lnTo>
                      <a:pt x="939" y="2046"/>
                    </a:lnTo>
                    <a:lnTo>
                      <a:pt x="947" y="2042"/>
                    </a:lnTo>
                    <a:lnTo>
                      <a:pt x="953" y="2037"/>
                    </a:lnTo>
                    <a:lnTo>
                      <a:pt x="959" y="2031"/>
                    </a:lnTo>
                    <a:lnTo>
                      <a:pt x="959" y="2049"/>
                    </a:lnTo>
                    <a:lnTo>
                      <a:pt x="1020" y="2049"/>
                    </a:lnTo>
                    <a:lnTo>
                      <a:pt x="1020" y="1703"/>
                    </a:lnTo>
                    <a:lnTo>
                      <a:pt x="959" y="1733"/>
                    </a:lnTo>
                    <a:lnTo>
                      <a:pt x="959" y="1822"/>
                    </a:lnTo>
                    <a:close/>
                    <a:moveTo>
                      <a:pt x="916" y="2000"/>
                    </a:moveTo>
                    <a:lnTo>
                      <a:pt x="916" y="2000"/>
                    </a:lnTo>
                    <a:lnTo>
                      <a:pt x="909" y="1998"/>
                    </a:lnTo>
                    <a:lnTo>
                      <a:pt x="900" y="1996"/>
                    </a:lnTo>
                    <a:lnTo>
                      <a:pt x="893" y="1992"/>
                    </a:lnTo>
                    <a:lnTo>
                      <a:pt x="886" y="1985"/>
                    </a:lnTo>
                    <a:lnTo>
                      <a:pt x="880" y="1975"/>
                    </a:lnTo>
                    <a:lnTo>
                      <a:pt x="875" y="1962"/>
                    </a:lnTo>
                    <a:lnTo>
                      <a:pt x="871" y="1945"/>
                    </a:lnTo>
                    <a:lnTo>
                      <a:pt x="870" y="1923"/>
                    </a:lnTo>
                    <a:lnTo>
                      <a:pt x="870" y="1923"/>
                    </a:lnTo>
                    <a:lnTo>
                      <a:pt x="871" y="1904"/>
                    </a:lnTo>
                    <a:lnTo>
                      <a:pt x="875" y="1889"/>
                    </a:lnTo>
                    <a:lnTo>
                      <a:pt x="880" y="1877"/>
                    </a:lnTo>
                    <a:lnTo>
                      <a:pt x="886" y="1868"/>
                    </a:lnTo>
                    <a:lnTo>
                      <a:pt x="892" y="1861"/>
                    </a:lnTo>
                    <a:lnTo>
                      <a:pt x="900" y="1857"/>
                    </a:lnTo>
                    <a:lnTo>
                      <a:pt x="908" y="1855"/>
                    </a:lnTo>
                    <a:lnTo>
                      <a:pt x="916" y="1855"/>
                    </a:lnTo>
                    <a:lnTo>
                      <a:pt x="916" y="1855"/>
                    </a:lnTo>
                    <a:lnTo>
                      <a:pt x="924" y="1855"/>
                    </a:lnTo>
                    <a:lnTo>
                      <a:pt x="931" y="1857"/>
                    </a:lnTo>
                    <a:lnTo>
                      <a:pt x="938" y="1860"/>
                    </a:lnTo>
                    <a:lnTo>
                      <a:pt x="943" y="1863"/>
                    </a:lnTo>
                    <a:lnTo>
                      <a:pt x="948" y="1867"/>
                    </a:lnTo>
                    <a:lnTo>
                      <a:pt x="953" y="1871"/>
                    </a:lnTo>
                    <a:lnTo>
                      <a:pt x="959" y="1879"/>
                    </a:lnTo>
                    <a:lnTo>
                      <a:pt x="959" y="1975"/>
                    </a:lnTo>
                    <a:lnTo>
                      <a:pt x="959" y="1975"/>
                    </a:lnTo>
                    <a:lnTo>
                      <a:pt x="951" y="1984"/>
                    </a:lnTo>
                    <a:lnTo>
                      <a:pt x="943" y="1991"/>
                    </a:lnTo>
                    <a:lnTo>
                      <a:pt x="938" y="1995"/>
                    </a:lnTo>
                    <a:lnTo>
                      <a:pt x="931" y="1997"/>
                    </a:lnTo>
                    <a:lnTo>
                      <a:pt x="925" y="1998"/>
                    </a:lnTo>
                    <a:lnTo>
                      <a:pt x="916" y="2000"/>
                    </a:lnTo>
                    <a:lnTo>
                      <a:pt x="916" y="2000"/>
                    </a:lnTo>
                    <a:close/>
                    <a:moveTo>
                      <a:pt x="2278" y="1799"/>
                    </a:moveTo>
                    <a:lnTo>
                      <a:pt x="2278" y="1799"/>
                    </a:lnTo>
                    <a:lnTo>
                      <a:pt x="2272" y="1800"/>
                    </a:lnTo>
                    <a:lnTo>
                      <a:pt x="2265" y="1801"/>
                    </a:lnTo>
                    <a:lnTo>
                      <a:pt x="2250" y="1805"/>
                    </a:lnTo>
                    <a:lnTo>
                      <a:pt x="2237" y="1812"/>
                    </a:lnTo>
                    <a:lnTo>
                      <a:pt x="2225" y="1822"/>
                    </a:lnTo>
                    <a:lnTo>
                      <a:pt x="2225" y="1709"/>
                    </a:lnTo>
                    <a:lnTo>
                      <a:pt x="2164" y="1739"/>
                    </a:lnTo>
                    <a:lnTo>
                      <a:pt x="2164" y="2049"/>
                    </a:lnTo>
                    <a:lnTo>
                      <a:pt x="2225" y="2049"/>
                    </a:lnTo>
                    <a:lnTo>
                      <a:pt x="2225" y="2031"/>
                    </a:lnTo>
                    <a:lnTo>
                      <a:pt x="2225" y="2031"/>
                    </a:lnTo>
                    <a:lnTo>
                      <a:pt x="2230" y="2037"/>
                    </a:lnTo>
                    <a:lnTo>
                      <a:pt x="2237" y="2042"/>
                    </a:lnTo>
                    <a:lnTo>
                      <a:pt x="2243" y="2046"/>
                    </a:lnTo>
                    <a:lnTo>
                      <a:pt x="2250" y="2049"/>
                    </a:lnTo>
                    <a:lnTo>
                      <a:pt x="2257" y="2052"/>
                    </a:lnTo>
                    <a:lnTo>
                      <a:pt x="2265" y="2053"/>
                    </a:lnTo>
                    <a:lnTo>
                      <a:pt x="2272" y="2054"/>
                    </a:lnTo>
                    <a:lnTo>
                      <a:pt x="2280" y="2055"/>
                    </a:lnTo>
                    <a:lnTo>
                      <a:pt x="2280" y="2055"/>
                    </a:lnTo>
                    <a:lnTo>
                      <a:pt x="2291" y="2054"/>
                    </a:lnTo>
                    <a:lnTo>
                      <a:pt x="2302" y="2053"/>
                    </a:lnTo>
                    <a:lnTo>
                      <a:pt x="2311" y="2051"/>
                    </a:lnTo>
                    <a:lnTo>
                      <a:pt x="2321" y="2046"/>
                    </a:lnTo>
                    <a:lnTo>
                      <a:pt x="2329" y="2041"/>
                    </a:lnTo>
                    <a:lnTo>
                      <a:pt x="2337" y="2036"/>
                    </a:lnTo>
                    <a:lnTo>
                      <a:pt x="2344" y="2029"/>
                    </a:lnTo>
                    <a:lnTo>
                      <a:pt x="2350" y="2021"/>
                    </a:lnTo>
                    <a:lnTo>
                      <a:pt x="2356" y="2012"/>
                    </a:lnTo>
                    <a:lnTo>
                      <a:pt x="2361" y="2002"/>
                    </a:lnTo>
                    <a:lnTo>
                      <a:pt x="2365" y="1991"/>
                    </a:lnTo>
                    <a:lnTo>
                      <a:pt x="2368" y="1980"/>
                    </a:lnTo>
                    <a:lnTo>
                      <a:pt x="2372" y="1968"/>
                    </a:lnTo>
                    <a:lnTo>
                      <a:pt x="2373" y="1955"/>
                    </a:lnTo>
                    <a:lnTo>
                      <a:pt x="2374" y="1940"/>
                    </a:lnTo>
                    <a:lnTo>
                      <a:pt x="2376" y="1924"/>
                    </a:lnTo>
                    <a:lnTo>
                      <a:pt x="2376" y="1924"/>
                    </a:lnTo>
                    <a:lnTo>
                      <a:pt x="2374" y="1911"/>
                    </a:lnTo>
                    <a:lnTo>
                      <a:pt x="2373" y="1897"/>
                    </a:lnTo>
                    <a:lnTo>
                      <a:pt x="2371" y="1884"/>
                    </a:lnTo>
                    <a:lnTo>
                      <a:pt x="2368" y="1872"/>
                    </a:lnTo>
                    <a:lnTo>
                      <a:pt x="2365" y="1861"/>
                    </a:lnTo>
                    <a:lnTo>
                      <a:pt x="2360" y="1851"/>
                    </a:lnTo>
                    <a:lnTo>
                      <a:pt x="2355" y="1842"/>
                    </a:lnTo>
                    <a:lnTo>
                      <a:pt x="2349" y="1833"/>
                    </a:lnTo>
                    <a:lnTo>
                      <a:pt x="2343" y="1826"/>
                    </a:lnTo>
                    <a:lnTo>
                      <a:pt x="2336" y="1818"/>
                    </a:lnTo>
                    <a:lnTo>
                      <a:pt x="2327" y="1812"/>
                    </a:lnTo>
                    <a:lnTo>
                      <a:pt x="2319" y="1807"/>
                    </a:lnTo>
                    <a:lnTo>
                      <a:pt x="2310" y="1804"/>
                    </a:lnTo>
                    <a:lnTo>
                      <a:pt x="2300" y="1801"/>
                    </a:lnTo>
                    <a:lnTo>
                      <a:pt x="2289" y="1800"/>
                    </a:lnTo>
                    <a:lnTo>
                      <a:pt x="2278" y="1799"/>
                    </a:lnTo>
                    <a:lnTo>
                      <a:pt x="2278" y="1799"/>
                    </a:lnTo>
                    <a:close/>
                    <a:moveTo>
                      <a:pt x="2267" y="1855"/>
                    </a:moveTo>
                    <a:lnTo>
                      <a:pt x="2267" y="1855"/>
                    </a:lnTo>
                    <a:lnTo>
                      <a:pt x="2276" y="1856"/>
                    </a:lnTo>
                    <a:lnTo>
                      <a:pt x="2284" y="1859"/>
                    </a:lnTo>
                    <a:lnTo>
                      <a:pt x="2292" y="1863"/>
                    </a:lnTo>
                    <a:lnTo>
                      <a:pt x="2299" y="1871"/>
                    </a:lnTo>
                    <a:lnTo>
                      <a:pt x="2305" y="1879"/>
                    </a:lnTo>
                    <a:lnTo>
                      <a:pt x="2309" y="1891"/>
                    </a:lnTo>
                    <a:lnTo>
                      <a:pt x="2312" y="1906"/>
                    </a:lnTo>
                    <a:lnTo>
                      <a:pt x="2314" y="1923"/>
                    </a:lnTo>
                    <a:lnTo>
                      <a:pt x="2314" y="1923"/>
                    </a:lnTo>
                    <a:lnTo>
                      <a:pt x="2312" y="1941"/>
                    </a:lnTo>
                    <a:lnTo>
                      <a:pt x="2310" y="1957"/>
                    </a:lnTo>
                    <a:lnTo>
                      <a:pt x="2308" y="1969"/>
                    </a:lnTo>
                    <a:lnTo>
                      <a:pt x="2303" y="1980"/>
                    </a:lnTo>
                    <a:lnTo>
                      <a:pt x="2295" y="1989"/>
                    </a:lnTo>
                    <a:lnTo>
                      <a:pt x="2288" y="1995"/>
                    </a:lnTo>
                    <a:lnTo>
                      <a:pt x="2280" y="1998"/>
                    </a:lnTo>
                    <a:lnTo>
                      <a:pt x="2269" y="2000"/>
                    </a:lnTo>
                    <a:lnTo>
                      <a:pt x="2269" y="2000"/>
                    </a:lnTo>
                    <a:lnTo>
                      <a:pt x="2260" y="1998"/>
                    </a:lnTo>
                    <a:lnTo>
                      <a:pt x="2253" y="1997"/>
                    </a:lnTo>
                    <a:lnTo>
                      <a:pt x="2247" y="1993"/>
                    </a:lnTo>
                    <a:lnTo>
                      <a:pt x="2241" y="1991"/>
                    </a:lnTo>
                    <a:lnTo>
                      <a:pt x="2231" y="1983"/>
                    </a:lnTo>
                    <a:lnTo>
                      <a:pt x="2225" y="1976"/>
                    </a:lnTo>
                    <a:lnTo>
                      <a:pt x="2225" y="1879"/>
                    </a:lnTo>
                    <a:lnTo>
                      <a:pt x="2225" y="1879"/>
                    </a:lnTo>
                    <a:lnTo>
                      <a:pt x="2229" y="1874"/>
                    </a:lnTo>
                    <a:lnTo>
                      <a:pt x="2233" y="1869"/>
                    </a:lnTo>
                    <a:lnTo>
                      <a:pt x="2238" y="1865"/>
                    </a:lnTo>
                    <a:lnTo>
                      <a:pt x="2243" y="1861"/>
                    </a:lnTo>
                    <a:lnTo>
                      <a:pt x="2249" y="1859"/>
                    </a:lnTo>
                    <a:lnTo>
                      <a:pt x="2255" y="1856"/>
                    </a:lnTo>
                    <a:lnTo>
                      <a:pt x="2261" y="1855"/>
                    </a:lnTo>
                    <a:lnTo>
                      <a:pt x="2267" y="1855"/>
                    </a:lnTo>
                    <a:lnTo>
                      <a:pt x="2267" y="1855"/>
                    </a:lnTo>
                    <a:close/>
                    <a:moveTo>
                      <a:pt x="1591" y="1822"/>
                    </a:moveTo>
                    <a:lnTo>
                      <a:pt x="1591" y="1822"/>
                    </a:lnTo>
                    <a:lnTo>
                      <a:pt x="1586" y="1817"/>
                    </a:lnTo>
                    <a:lnTo>
                      <a:pt x="1580" y="1812"/>
                    </a:lnTo>
                    <a:lnTo>
                      <a:pt x="1572" y="1809"/>
                    </a:lnTo>
                    <a:lnTo>
                      <a:pt x="1566" y="1805"/>
                    </a:lnTo>
                    <a:lnTo>
                      <a:pt x="1559" y="1803"/>
                    </a:lnTo>
                    <a:lnTo>
                      <a:pt x="1552" y="1800"/>
                    </a:lnTo>
                    <a:lnTo>
                      <a:pt x="1544" y="1800"/>
                    </a:lnTo>
                    <a:lnTo>
                      <a:pt x="1537" y="1799"/>
                    </a:lnTo>
                    <a:lnTo>
                      <a:pt x="1537" y="1799"/>
                    </a:lnTo>
                    <a:lnTo>
                      <a:pt x="1526" y="1800"/>
                    </a:lnTo>
                    <a:lnTo>
                      <a:pt x="1515" y="1801"/>
                    </a:lnTo>
                    <a:lnTo>
                      <a:pt x="1506" y="1804"/>
                    </a:lnTo>
                    <a:lnTo>
                      <a:pt x="1497" y="1807"/>
                    </a:lnTo>
                    <a:lnTo>
                      <a:pt x="1489" y="1812"/>
                    </a:lnTo>
                    <a:lnTo>
                      <a:pt x="1480" y="1818"/>
                    </a:lnTo>
                    <a:lnTo>
                      <a:pt x="1473" y="1826"/>
                    </a:lnTo>
                    <a:lnTo>
                      <a:pt x="1467" y="1833"/>
                    </a:lnTo>
                    <a:lnTo>
                      <a:pt x="1461" y="1842"/>
                    </a:lnTo>
                    <a:lnTo>
                      <a:pt x="1456" y="1851"/>
                    </a:lnTo>
                    <a:lnTo>
                      <a:pt x="1451" y="1861"/>
                    </a:lnTo>
                    <a:lnTo>
                      <a:pt x="1447" y="1872"/>
                    </a:lnTo>
                    <a:lnTo>
                      <a:pt x="1445" y="1884"/>
                    </a:lnTo>
                    <a:lnTo>
                      <a:pt x="1442" y="1897"/>
                    </a:lnTo>
                    <a:lnTo>
                      <a:pt x="1441" y="1911"/>
                    </a:lnTo>
                    <a:lnTo>
                      <a:pt x="1441" y="1924"/>
                    </a:lnTo>
                    <a:lnTo>
                      <a:pt x="1441" y="1924"/>
                    </a:lnTo>
                    <a:lnTo>
                      <a:pt x="1441" y="1940"/>
                    </a:lnTo>
                    <a:lnTo>
                      <a:pt x="1442" y="1953"/>
                    </a:lnTo>
                    <a:lnTo>
                      <a:pt x="1445" y="1967"/>
                    </a:lnTo>
                    <a:lnTo>
                      <a:pt x="1447" y="1979"/>
                    </a:lnTo>
                    <a:lnTo>
                      <a:pt x="1451" y="1991"/>
                    </a:lnTo>
                    <a:lnTo>
                      <a:pt x="1455" y="2002"/>
                    </a:lnTo>
                    <a:lnTo>
                      <a:pt x="1461" y="2012"/>
                    </a:lnTo>
                    <a:lnTo>
                      <a:pt x="1465" y="2020"/>
                    </a:lnTo>
                    <a:lnTo>
                      <a:pt x="1473" y="2029"/>
                    </a:lnTo>
                    <a:lnTo>
                      <a:pt x="1479" y="2035"/>
                    </a:lnTo>
                    <a:lnTo>
                      <a:pt x="1487" y="2041"/>
                    </a:lnTo>
                    <a:lnTo>
                      <a:pt x="1496" y="2046"/>
                    </a:lnTo>
                    <a:lnTo>
                      <a:pt x="1504" y="2049"/>
                    </a:lnTo>
                    <a:lnTo>
                      <a:pt x="1514" y="2053"/>
                    </a:lnTo>
                    <a:lnTo>
                      <a:pt x="1525" y="2054"/>
                    </a:lnTo>
                    <a:lnTo>
                      <a:pt x="1536" y="2054"/>
                    </a:lnTo>
                    <a:lnTo>
                      <a:pt x="1536" y="2054"/>
                    </a:lnTo>
                    <a:lnTo>
                      <a:pt x="1543" y="2054"/>
                    </a:lnTo>
                    <a:lnTo>
                      <a:pt x="1551" y="2053"/>
                    </a:lnTo>
                    <a:lnTo>
                      <a:pt x="1558" y="2052"/>
                    </a:lnTo>
                    <a:lnTo>
                      <a:pt x="1565" y="2049"/>
                    </a:lnTo>
                    <a:lnTo>
                      <a:pt x="1572" y="2046"/>
                    </a:lnTo>
                    <a:lnTo>
                      <a:pt x="1578" y="2041"/>
                    </a:lnTo>
                    <a:lnTo>
                      <a:pt x="1585" y="2037"/>
                    </a:lnTo>
                    <a:lnTo>
                      <a:pt x="1591" y="2031"/>
                    </a:lnTo>
                    <a:lnTo>
                      <a:pt x="1591" y="2037"/>
                    </a:lnTo>
                    <a:lnTo>
                      <a:pt x="1591" y="2037"/>
                    </a:lnTo>
                    <a:lnTo>
                      <a:pt x="1591" y="2047"/>
                    </a:lnTo>
                    <a:lnTo>
                      <a:pt x="1589" y="2058"/>
                    </a:lnTo>
                    <a:lnTo>
                      <a:pt x="1587" y="2069"/>
                    </a:lnTo>
                    <a:lnTo>
                      <a:pt x="1585" y="2074"/>
                    </a:lnTo>
                    <a:lnTo>
                      <a:pt x="1581" y="2079"/>
                    </a:lnTo>
                    <a:lnTo>
                      <a:pt x="1577" y="2083"/>
                    </a:lnTo>
                    <a:lnTo>
                      <a:pt x="1572" y="2088"/>
                    </a:lnTo>
                    <a:lnTo>
                      <a:pt x="1565" y="2092"/>
                    </a:lnTo>
                    <a:lnTo>
                      <a:pt x="1558" y="2094"/>
                    </a:lnTo>
                    <a:lnTo>
                      <a:pt x="1549" y="2098"/>
                    </a:lnTo>
                    <a:lnTo>
                      <a:pt x="1538" y="2099"/>
                    </a:lnTo>
                    <a:lnTo>
                      <a:pt x="1526" y="2102"/>
                    </a:lnTo>
                    <a:lnTo>
                      <a:pt x="1513" y="2102"/>
                    </a:lnTo>
                    <a:lnTo>
                      <a:pt x="1510" y="2102"/>
                    </a:lnTo>
                    <a:lnTo>
                      <a:pt x="1531" y="2149"/>
                    </a:lnTo>
                    <a:lnTo>
                      <a:pt x="1532" y="2149"/>
                    </a:lnTo>
                    <a:lnTo>
                      <a:pt x="1532" y="2149"/>
                    </a:lnTo>
                    <a:lnTo>
                      <a:pt x="1547" y="2149"/>
                    </a:lnTo>
                    <a:lnTo>
                      <a:pt x="1560" y="2147"/>
                    </a:lnTo>
                    <a:lnTo>
                      <a:pt x="1574" y="2144"/>
                    </a:lnTo>
                    <a:lnTo>
                      <a:pt x="1585" y="2141"/>
                    </a:lnTo>
                    <a:lnTo>
                      <a:pt x="1595" y="2137"/>
                    </a:lnTo>
                    <a:lnTo>
                      <a:pt x="1605" y="2132"/>
                    </a:lnTo>
                    <a:lnTo>
                      <a:pt x="1614" y="2125"/>
                    </a:lnTo>
                    <a:lnTo>
                      <a:pt x="1622" y="2119"/>
                    </a:lnTo>
                    <a:lnTo>
                      <a:pt x="1630" y="2110"/>
                    </a:lnTo>
                    <a:lnTo>
                      <a:pt x="1634" y="2100"/>
                    </a:lnTo>
                    <a:lnTo>
                      <a:pt x="1640" y="2091"/>
                    </a:lnTo>
                    <a:lnTo>
                      <a:pt x="1644" y="2080"/>
                    </a:lnTo>
                    <a:lnTo>
                      <a:pt x="1648" y="2068"/>
                    </a:lnTo>
                    <a:lnTo>
                      <a:pt x="1650" y="2055"/>
                    </a:lnTo>
                    <a:lnTo>
                      <a:pt x="1651" y="2042"/>
                    </a:lnTo>
                    <a:lnTo>
                      <a:pt x="1651" y="2026"/>
                    </a:lnTo>
                    <a:lnTo>
                      <a:pt x="1651" y="1805"/>
                    </a:lnTo>
                    <a:lnTo>
                      <a:pt x="1591" y="1805"/>
                    </a:lnTo>
                    <a:lnTo>
                      <a:pt x="1591" y="1822"/>
                    </a:lnTo>
                    <a:close/>
                    <a:moveTo>
                      <a:pt x="1591" y="1879"/>
                    </a:moveTo>
                    <a:lnTo>
                      <a:pt x="1591" y="1975"/>
                    </a:lnTo>
                    <a:lnTo>
                      <a:pt x="1591" y="1975"/>
                    </a:lnTo>
                    <a:lnTo>
                      <a:pt x="1583" y="1984"/>
                    </a:lnTo>
                    <a:lnTo>
                      <a:pt x="1574" y="1992"/>
                    </a:lnTo>
                    <a:lnTo>
                      <a:pt x="1569" y="1995"/>
                    </a:lnTo>
                    <a:lnTo>
                      <a:pt x="1563" y="1997"/>
                    </a:lnTo>
                    <a:lnTo>
                      <a:pt x="1555" y="1998"/>
                    </a:lnTo>
                    <a:lnTo>
                      <a:pt x="1548" y="2000"/>
                    </a:lnTo>
                    <a:lnTo>
                      <a:pt x="1548" y="2000"/>
                    </a:lnTo>
                    <a:lnTo>
                      <a:pt x="1540" y="1998"/>
                    </a:lnTo>
                    <a:lnTo>
                      <a:pt x="1532" y="1996"/>
                    </a:lnTo>
                    <a:lnTo>
                      <a:pt x="1524" y="1991"/>
                    </a:lnTo>
                    <a:lnTo>
                      <a:pt x="1518" y="1985"/>
                    </a:lnTo>
                    <a:lnTo>
                      <a:pt x="1512" y="1975"/>
                    </a:lnTo>
                    <a:lnTo>
                      <a:pt x="1507" y="1962"/>
                    </a:lnTo>
                    <a:lnTo>
                      <a:pt x="1503" y="1945"/>
                    </a:lnTo>
                    <a:lnTo>
                      <a:pt x="1502" y="1923"/>
                    </a:lnTo>
                    <a:lnTo>
                      <a:pt x="1502" y="1923"/>
                    </a:lnTo>
                    <a:lnTo>
                      <a:pt x="1503" y="1904"/>
                    </a:lnTo>
                    <a:lnTo>
                      <a:pt x="1507" y="1889"/>
                    </a:lnTo>
                    <a:lnTo>
                      <a:pt x="1512" y="1877"/>
                    </a:lnTo>
                    <a:lnTo>
                      <a:pt x="1518" y="1868"/>
                    </a:lnTo>
                    <a:lnTo>
                      <a:pt x="1524" y="1861"/>
                    </a:lnTo>
                    <a:lnTo>
                      <a:pt x="1532" y="1857"/>
                    </a:lnTo>
                    <a:lnTo>
                      <a:pt x="1540" y="1855"/>
                    </a:lnTo>
                    <a:lnTo>
                      <a:pt x="1548" y="1855"/>
                    </a:lnTo>
                    <a:lnTo>
                      <a:pt x="1548" y="1855"/>
                    </a:lnTo>
                    <a:lnTo>
                      <a:pt x="1555" y="1855"/>
                    </a:lnTo>
                    <a:lnTo>
                      <a:pt x="1563" y="1857"/>
                    </a:lnTo>
                    <a:lnTo>
                      <a:pt x="1570" y="1860"/>
                    </a:lnTo>
                    <a:lnTo>
                      <a:pt x="1575" y="1862"/>
                    </a:lnTo>
                    <a:lnTo>
                      <a:pt x="1580" y="1867"/>
                    </a:lnTo>
                    <a:lnTo>
                      <a:pt x="1585" y="1871"/>
                    </a:lnTo>
                    <a:lnTo>
                      <a:pt x="1591" y="1879"/>
                    </a:lnTo>
                    <a:lnTo>
                      <a:pt x="1591" y="1879"/>
                    </a:lnTo>
                    <a:close/>
                    <a:moveTo>
                      <a:pt x="1840" y="1865"/>
                    </a:moveTo>
                    <a:lnTo>
                      <a:pt x="1840" y="1865"/>
                    </a:lnTo>
                    <a:lnTo>
                      <a:pt x="1854" y="1857"/>
                    </a:lnTo>
                    <a:lnTo>
                      <a:pt x="1869" y="1852"/>
                    </a:lnTo>
                    <a:lnTo>
                      <a:pt x="1885" y="1849"/>
                    </a:lnTo>
                    <a:lnTo>
                      <a:pt x="1902" y="1848"/>
                    </a:lnTo>
                    <a:lnTo>
                      <a:pt x="1902" y="1848"/>
                    </a:lnTo>
                    <a:lnTo>
                      <a:pt x="1913" y="1849"/>
                    </a:lnTo>
                    <a:lnTo>
                      <a:pt x="1921" y="1850"/>
                    </a:lnTo>
                    <a:lnTo>
                      <a:pt x="1928" y="1852"/>
                    </a:lnTo>
                    <a:lnTo>
                      <a:pt x="1935" y="1857"/>
                    </a:lnTo>
                    <a:lnTo>
                      <a:pt x="1939" y="1862"/>
                    </a:lnTo>
                    <a:lnTo>
                      <a:pt x="1943" y="1868"/>
                    </a:lnTo>
                    <a:lnTo>
                      <a:pt x="1945" y="1874"/>
                    </a:lnTo>
                    <a:lnTo>
                      <a:pt x="1945" y="1883"/>
                    </a:lnTo>
                    <a:lnTo>
                      <a:pt x="1945" y="1900"/>
                    </a:lnTo>
                    <a:lnTo>
                      <a:pt x="1945" y="1900"/>
                    </a:lnTo>
                    <a:lnTo>
                      <a:pt x="1935" y="1895"/>
                    </a:lnTo>
                    <a:lnTo>
                      <a:pt x="1921" y="1891"/>
                    </a:lnTo>
                    <a:lnTo>
                      <a:pt x="1908" y="1889"/>
                    </a:lnTo>
                    <a:lnTo>
                      <a:pt x="1893" y="1888"/>
                    </a:lnTo>
                    <a:lnTo>
                      <a:pt x="1893" y="1888"/>
                    </a:lnTo>
                    <a:lnTo>
                      <a:pt x="1876" y="1889"/>
                    </a:lnTo>
                    <a:lnTo>
                      <a:pt x="1859" y="1893"/>
                    </a:lnTo>
                    <a:lnTo>
                      <a:pt x="1843" y="1897"/>
                    </a:lnTo>
                    <a:lnTo>
                      <a:pt x="1835" y="1901"/>
                    </a:lnTo>
                    <a:lnTo>
                      <a:pt x="1828" y="1906"/>
                    </a:lnTo>
                    <a:lnTo>
                      <a:pt x="1822" y="1911"/>
                    </a:lnTo>
                    <a:lnTo>
                      <a:pt x="1815" y="1917"/>
                    </a:lnTo>
                    <a:lnTo>
                      <a:pt x="1809" y="1923"/>
                    </a:lnTo>
                    <a:lnTo>
                      <a:pt x="1805" y="1930"/>
                    </a:lnTo>
                    <a:lnTo>
                      <a:pt x="1801" y="1939"/>
                    </a:lnTo>
                    <a:lnTo>
                      <a:pt x="1798" y="1948"/>
                    </a:lnTo>
                    <a:lnTo>
                      <a:pt x="1797" y="1958"/>
                    </a:lnTo>
                    <a:lnTo>
                      <a:pt x="1796" y="1968"/>
                    </a:lnTo>
                    <a:lnTo>
                      <a:pt x="1796" y="1968"/>
                    </a:lnTo>
                    <a:lnTo>
                      <a:pt x="1797" y="1980"/>
                    </a:lnTo>
                    <a:lnTo>
                      <a:pt x="1798" y="1991"/>
                    </a:lnTo>
                    <a:lnTo>
                      <a:pt x="1801" y="2000"/>
                    </a:lnTo>
                    <a:lnTo>
                      <a:pt x="1805" y="2009"/>
                    </a:lnTo>
                    <a:lnTo>
                      <a:pt x="1808" y="2017"/>
                    </a:lnTo>
                    <a:lnTo>
                      <a:pt x="1814" y="2024"/>
                    </a:lnTo>
                    <a:lnTo>
                      <a:pt x="1819" y="2030"/>
                    </a:lnTo>
                    <a:lnTo>
                      <a:pt x="1826" y="2036"/>
                    </a:lnTo>
                    <a:lnTo>
                      <a:pt x="1832" y="2041"/>
                    </a:lnTo>
                    <a:lnTo>
                      <a:pt x="1840" y="2045"/>
                    </a:lnTo>
                    <a:lnTo>
                      <a:pt x="1856" y="2051"/>
                    </a:lnTo>
                    <a:lnTo>
                      <a:pt x="1871" y="2054"/>
                    </a:lnTo>
                    <a:lnTo>
                      <a:pt x="1887" y="2055"/>
                    </a:lnTo>
                    <a:lnTo>
                      <a:pt x="1887" y="2055"/>
                    </a:lnTo>
                    <a:lnTo>
                      <a:pt x="1901" y="2053"/>
                    </a:lnTo>
                    <a:lnTo>
                      <a:pt x="1909" y="2052"/>
                    </a:lnTo>
                    <a:lnTo>
                      <a:pt x="1916" y="2049"/>
                    </a:lnTo>
                    <a:lnTo>
                      <a:pt x="1925" y="2046"/>
                    </a:lnTo>
                    <a:lnTo>
                      <a:pt x="1932" y="2041"/>
                    </a:lnTo>
                    <a:lnTo>
                      <a:pt x="1939" y="2036"/>
                    </a:lnTo>
                    <a:lnTo>
                      <a:pt x="1945" y="2030"/>
                    </a:lnTo>
                    <a:lnTo>
                      <a:pt x="1945" y="2049"/>
                    </a:lnTo>
                    <a:lnTo>
                      <a:pt x="2006" y="2049"/>
                    </a:lnTo>
                    <a:lnTo>
                      <a:pt x="2006" y="1884"/>
                    </a:lnTo>
                    <a:lnTo>
                      <a:pt x="2006" y="1884"/>
                    </a:lnTo>
                    <a:lnTo>
                      <a:pt x="2006" y="1874"/>
                    </a:lnTo>
                    <a:lnTo>
                      <a:pt x="2005" y="1866"/>
                    </a:lnTo>
                    <a:lnTo>
                      <a:pt x="2003" y="1857"/>
                    </a:lnTo>
                    <a:lnTo>
                      <a:pt x="2000" y="1849"/>
                    </a:lnTo>
                    <a:lnTo>
                      <a:pt x="1995" y="1842"/>
                    </a:lnTo>
                    <a:lnTo>
                      <a:pt x="1992" y="1834"/>
                    </a:lnTo>
                    <a:lnTo>
                      <a:pt x="1986" y="1828"/>
                    </a:lnTo>
                    <a:lnTo>
                      <a:pt x="1979" y="1822"/>
                    </a:lnTo>
                    <a:lnTo>
                      <a:pt x="1973" y="1817"/>
                    </a:lnTo>
                    <a:lnTo>
                      <a:pt x="1966" y="1812"/>
                    </a:lnTo>
                    <a:lnTo>
                      <a:pt x="1958" y="1809"/>
                    </a:lnTo>
                    <a:lnTo>
                      <a:pt x="1949" y="1805"/>
                    </a:lnTo>
                    <a:lnTo>
                      <a:pt x="1939" y="1803"/>
                    </a:lnTo>
                    <a:lnTo>
                      <a:pt x="1930" y="1801"/>
                    </a:lnTo>
                    <a:lnTo>
                      <a:pt x="1919" y="1800"/>
                    </a:lnTo>
                    <a:lnTo>
                      <a:pt x="1908" y="1799"/>
                    </a:lnTo>
                    <a:lnTo>
                      <a:pt x="1908" y="1799"/>
                    </a:lnTo>
                    <a:lnTo>
                      <a:pt x="1894" y="1800"/>
                    </a:lnTo>
                    <a:lnTo>
                      <a:pt x="1883" y="1800"/>
                    </a:lnTo>
                    <a:lnTo>
                      <a:pt x="1871" y="1803"/>
                    </a:lnTo>
                    <a:lnTo>
                      <a:pt x="1859" y="1805"/>
                    </a:lnTo>
                    <a:lnTo>
                      <a:pt x="1848" y="1809"/>
                    </a:lnTo>
                    <a:lnTo>
                      <a:pt x="1837" y="1812"/>
                    </a:lnTo>
                    <a:lnTo>
                      <a:pt x="1826" y="1817"/>
                    </a:lnTo>
                    <a:lnTo>
                      <a:pt x="1815" y="1823"/>
                    </a:lnTo>
                    <a:lnTo>
                      <a:pt x="1840" y="1865"/>
                    </a:lnTo>
                    <a:close/>
                    <a:moveTo>
                      <a:pt x="1857" y="1968"/>
                    </a:moveTo>
                    <a:lnTo>
                      <a:pt x="1857" y="1968"/>
                    </a:lnTo>
                    <a:lnTo>
                      <a:pt x="1857" y="1961"/>
                    </a:lnTo>
                    <a:lnTo>
                      <a:pt x="1859" y="1953"/>
                    </a:lnTo>
                    <a:lnTo>
                      <a:pt x="1863" y="1947"/>
                    </a:lnTo>
                    <a:lnTo>
                      <a:pt x="1868" y="1942"/>
                    </a:lnTo>
                    <a:lnTo>
                      <a:pt x="1874" y="1939"/>
                    </a:lnTo>
                    <a:lnTo>
                      <a:pt x="1881" y="1936"/>
                    </a:lnTo>
                    <a:lnTo>
                      <a:pt x="1890" y="1934"/>
                    </a:lnTo>
                    <a:lnTo>
                      <a:pt x="1898" y="1934"/>
                    </a:lnTo>
                    <a:lnTo>
                      <a:pt x="1898" y="1934"/>
                    </a:lnTo>
                    <a:lnTo>
                      <a:pt x="1911" y="1934"/>
                    </a:lnTo>
                    <a:lnTo>
                      <a:pt x="1924" y="1936"/>
                    </a:lnTo>
                    <a:lnTo>
                      <a:pt x="1935" y="1940"/>
                    </a:lnTo>
                    <a:lnTo>
                      <a:pt x="1945" y="1946"/>
                    </a:lnTo>
                    <a:lnTo>
                      <a:pt x="1945" y="1979"/>
                    </a:lnTo>
                    <a:lnTo>
                      <a:pt x="1945" y="1979"/>
                    </a:lnTo>
                    <a:lnTo>
                      <a:pt x="1943" y="1984"/>
                    </a:lnTo>
                    <a:lnTo>
                      <a:pt x="1938" y="1989"/>
                    </a:lnTo>
                    <a:lnTo>
                      <a:pt x="1933" y="1993"/>
                    </a:lnTo>
                    <a:lnTo>
                      <a:pt x="1927" y="1997"/>
                    </a:lnTo>
                    <a:lnTo>
                      <a:pt x="1921" y="2001"/>
                    </a:lnTo>
                    <a:lnTo>
                      <a:pt x="1914" y="2003"/>
                    </a:lnTo>
                    <a:lnTo>
                      <a:pt x="1907" y="2004"/>
                    </a:lnTo>
                    <a:lnTo>
                      <a:pt x="1898" y="2006"/>
                    </a:lnTo>
                    <a:lnTo>
                      <a:pt x="1898" y="2006"/>
                    </a:lnTo>
                    <a:lnTo>
                      <a:pt x="1890" y="2004"/>
                    </a:lnTo>
                    <a:lnTo>
                      <a:pt x="1881" y="2002"/>
                    </a:lnTo>
                    <a:lnTo>
                      <a:pt x="1874" y="2000"/>
                    </a:lnTo>
                    <a:lnTo>
                      <a:pt x="1868" y="1995"/>
                    </a:lnTo>
                    <a:lnTo>
                      <a:pt x="1863" y="1990"/>
                    </a:lnTo>
                    <a:lnTo>
                      <a:pt x="1859" y="1984"/>
                    </a:lnTo>
                    <a:lnTo>
                      <a:pt x="1858" y="1976"/>
                    </a:lnTo>
                    <a:lnTo>
                      <a:pt x="1857" y="1968"/>
                    </a:lnTo>
                    <a:lnTo>
                      <a:pt x="1857" y="1968"/>
                    </a:lnTo>
                    <a:close/>
                    <a:moveTo>
                      <a:pt x="2569" y="1979"/>
                    </a:moveTo>
                    <a:lnTo>
                      <a:pt x="2569" y="1979"/>
                    </a:lnTo>
                    <a:lnTo>
                      <a:pt x="2560" y="1986"/>
                    </a:lnTo>
                    <a:lnTo>
                      <a:pt x="2549" y="1992"/>
                    </a:lnTo>
                    <a:lnTo>
                      <a:pt x="2543" y="1995"/>
                    </a:lnTo>
                    <a:lnTo>
                      <a:pt x="2536" y="1997"/>
                    </a:lnTo>
                    <a:lnTo>
                      <a:pt x="2529" y="1998"/>
                    </a:lnTo>
                    <a:lnTo>
                      <a:pt x="2521" y="2000"/>
                    </a:lnTo>
                    <a:lnTo>
                      <a:pt x="2521" y="2000"/>
                    </a:lnTo>
                    <a:lnTo>
                      <a:pt x="2515" y="1998"/>
                    </a:lnTo>
                    <a:lnTo>
                      <a:pt x="2508" y="1998"/>
                    </a:lnTo>
                    <a:lnTo>
                      <a:pt x="2500" y="1996"/>
                    </a:lnTo>
                    <a:lnTo>
                      <a:pt x="2490" y="1991"/>
                    </a:lnTo>
                    <a:lnTo>
                      <a:pt x="2481" y="1985"/>
                    </a:lnTo>
                    <a:lnTo>
                      <a:pt x="2478" y="1980"/>
                    </a:lnTo>
                    <a:lnTo>
                      <a:pt x="2474" y="1975"/>
                    </a:lnTo>
                    <a:lnTo>
                      <a:pt x="2472" y="1969"/>
                    </a:lnTo>
                    <a:lnTo>
                      <a:pt x="2469" y="1962"/>
                    </a:lnTo>
                    <a:lnTo>
                      <a:pt x="2468" y="1955"/>
                    </a:lnTo>
                    <a:lnTo>
                      <a:pt x="2467" y="1946"/>
                    </a:lnTo>
                    <a:lnTo>
                      <a:pt x="2616" y="1946"/>
                    </a:lnTo>
                    <a:lnTo>
                      <a:pt x="2616" y="1946"/>
                    </a:lnTo>
                    <a:lnTo>
                      <a:pt x="2617" y="1928"/>
                    </a:lnTo>
                    <a:lnTo>
                      <a:pt x="2617" y="1928"/>
                    </a:lnTo>
                    <a:lnTo>
                      <a:pt x="2617" y="1913"/>
                    </a:lnTo>
                    <a:lnTo>
                      <a:pt x="2615" y="1900"/>
                    </a:lnTo>
                    <a:lnTo>
                      <a:pt x="2614" y="1886"/>
                    </a:lnTo>
                    <a:lnTo>
                      <a:pt x="2610" y="1874"/>
                    </a:lnTo>
                    <a:lnTo>
                      <a:pt x="2607" y="1863"/>
                    </a:lnTo>
                    <a:lnTo>
                      <a:pt x="2602" y="1852"/>
                    </a:lnTo>
                    <a:lnTo>
                      <a:pt x="2596" y="1843"/>
                    </a:lnTo>
                    <a:lnTo>
                      <a:pt x="2589" y="1834"/>
                    </a:lnTo>
                    <a:lnTo>
                      <a:pt x="2582" y="1826"/>
                    </a:lnTo>
                    <a:lnTo>
                      <a:pt x="2575" y="1820"/>
                    </a:lnTo>
                    <a:lnTo>
                      <a:pt x="2566" y="1814"/>
                    </a:lnTo>
                    <a:lnTo>
                      <a:pt x="2557" y="1809"/>
                    </a:lnTo>
                    <a:lnTo>
                      <a:pt x="2547" y="1805"/>
                    </a:lnTo>
                    <a:lnTo>
                      <a:pt x="2537" y="1801"/>
                    </a:lnTo>
                    <a:lnTo>
                      <a:pt x="2526" y="1800"/>
                    </a:lnTo>
                    <a:lnTo>
                      <a:pt x="2514" y="1799"/>
                    </a:lnTo>
                    <a:lnTo>
                      <a:pt x="2514" y="1799"/>
                    </a:lnTo>
                    <a:lnTo>
                      <a:pt x="2503" y="1800"/>
                    </a:lnTo>
                    <a:lnTo>
                      <a:pt x="2492" y="1801"/>
                    </a:lnTo>
                    <a:lnTo>
                      <a:pt x="2481" y="1805"/>
                    </a:lnTo>
                    <a:lnTo>
                      <a:pt x="2470" y="1809"/>
                    </a:lnTo>
                    <a:lnTo>
                      <a:pt x="2461" y="1814"/>
                    </a:lnTo>
                    <a:lnTo>
                      <a:pt x="2452" y="1821"/>
                    </a:lnTo>
                    <a:lnTo>
                      <a:pt x="2444" y="1827"/>
                    </a:lnTo>
                    <a:lnTo>
                      <a:pt x="2436" y="1835"/>
                    </a:lnTo>
                    <a:lnTo>
                      <a:pt x="2429" y="1844"/>
                    </a:lnTo>
                    <a:lnTo>
                      <a:pt x="2423" y="1854"/>
                    </a:lnTo>
                    <a:lnTo>
                      <a:pt x="2418" y="1865"/>
                    </a:lnTo>
                    <a:lnTo>
                      <a:pt x="2413" y="1876"/>
                    </a:lnTo>
                    <a:lnTo>
                      <a:pt x="2410" y="1888"/>
                    </a:lnTo>
                    <a:lnTo>
                      <a:pt x="2407" y="1901"/>
                    </a:lnTo>
                    <a:lnTo>
                      <a:pt x="2406" y="1913"/>
                    </a:lnTo>
                    <a:lnTo>
                      <a:pt x="2405" y="1928"/>
                    </a:lnTo>
                    <a:lnTo>
                      <a:pt x="2405" y="1928"/>
                    </a:lnTo>
                    <a:lnTo>
                      <a:pt x="2406" y="1941"/>
                    </a:lnTo>
                    <a:lnTo>
                      <a:pt x="2407" y="1955"/>
                    </a:lnTo>
                    <a:lnTo>
                      <a:pt x="2410" y="1968"/>
                    </a:lnTo>
                    <a:lnTo>
                      <a:pt x="2413" y="1980"/>
                    </a:lnTo>
                    <a:lnTo>
                      <a:pt x="2418" y="1991"/>
                    </a:lnTo>
                    <a:lnTo>
                      <a:pt x="2423" y="2002"/>
                    </a:lnTo>
                    <a:lnTo>
                      <a:pt x="2429" y="2012"/>
                    </a:lnTo>
                    <a:lnTo>
                      <a:pt x="2436" y="2020"/>
                    </a:lnTo>
                    <a:lnTo>
                      <a:pt x="2445" y="2028"/>
                    </a:lnTo>
                    <a:lnTo>
                      <a:pt x="2453" y="2035"/>
                    </a:lnTo>
                    <a:lnTo>
                      <a:pt x="2463" y="2041"/>
                    </a:lnTo>
                    <a:lnTo>
                      <a:pt x="2473" y="2046"/>
                    </a:lnTo>
                    <a:lnTo>
                      <a:pt x="2484" y="2049"/>
                    </a:lnTo>
                    <a:lnTo>
                      <a:pt x="2496" y="2053"/>
                    </a:lnTo>
                    <a:lnTo>
                      <a:pt x="2508" y="2054"/>
                    </a:lnTo>
                    <a:lnTo>
                      <a:pt x="2521" y="2055"/>
                    </a:lnTo>
                    <a:lnTo>
                      <a:pt x="2521" y="2055"/>
                    </a:lnTo>
                    <a:lnTo>
                      <a:pt x="2534" y="2054"/>
                    </a:lnTo>
                    <a:lnTo>
                      <a:pt x="2545" y="2053"/>
                    </a:lnTo>
                    <a:lnTo>
                      <a:pt x="2557" y="2049"/>
                    </a:lnTo>
                    <a:lnTo>
                      <a:pt x="2568" y="2046"/>
                    </a:lnTo>
                    <a:lnTo>
                      <a:pt x="2579" y="2040"/>
                    </a:lnTo>
                    <a:lnTo>
                      <a:pt x="2588" y="2034"/>
                    </a:lnTo>
                    <a:lnTo>
                      <a:pt x="2598" y="2025"/>
                    </a:lnTo>
                    <a:lnTo>
                      <a:pt x="2608" y="2017"/>
                    </a:lnTo>
                    <a:lnTo>
                      <a:pt x="2569" y="1979"/>
                    </a:lnTo>
                    <a:close/>
                    <a:moveTo>
                      <a:pt x="2468" y="1901"/>
                    </a:moveTo>
                    <a:lnTo>
                      <a:pt x="2468" y="1901"/>
                    </a:lnTo>
                    <a:lnTo>
                      <a:pt x="2469" y="1890"/>
                    </a:lnTo>
                    <a:lnTo>
                      <a:pt x="2472" y="1880"/>
                    </a:lnTo>
                    <a:lnTo>
                      <a:pt x="2475" y="1872"/>
                    </a:lnTo>
                    <a:lnTo>
                      <a:pt x="2481" y="1865"/>
                    </a:lnTo>
                    <a:lnTo>
                      <a:pt x="2487" y="1859"/>
                    </a:lnTo>
                    <a:lnTo>
                      <a:pt x="2495" y="1855"/>
                    </a:lnTo>
                    <a:lnTo>
                      <a:pt x="2503" y="1851"/>
                    </a:lnTo>
                    <a:lnTo>
                      <a:pt x="2513" y="1851"/>
                    </a:lnTo>
                    <a:lnTo>
                      <a:pt x="2513" y="1851"/>
                    </a:lnTo>
                    <a:lnTo>
                      <a:pt x="2524" y="1852"/>
                    </a:lnTo>
                    <a:lnTo>
                      <a:pt x="2534" y="1855"/>
                    </a:lnTo>
                    <a:lnTo>
                      <a:pt x="2541" y="1860"/>
                    </a:lnTo>
                    <a:lnTo>
                      <a:pt x="2547" y="1867"/>
                    </a:lnTo>
                    <a:lnTo>
                      <a:pt x="2552" y="1874"/>
                    </a:lnTo>
                    <a:lnTo>
                      <a:pt x="2555" y="1883"/>
                    </a:lnTo>
                    <a:lnTo>
                      <a:pt x="2558" y="1893"/>
                    </a:lnTo>
                    <a:lnTo>
                      <a:pt x="2559" y="1901"/>
                    </a:lnTo>
                    <a:lnTo>
                      <a:pt x="2468" y="1901"/>
                    </a:lnTo>
                    <a:close/>
                    <a:moveTo>
                      <a:pt x="3153" y="1979"/>
                    </a:moveTo>
                    <a:lnTo>
                      <a:pt x="3153" y="1979"/>
                    </a:lnTo>
                    <a:lnTo>
                      <a:pt x="3144" y="1986"/>
                    </a:lnTo>
                    <a:lnTo>
                      <a:pt x="3134" y="1992"/>
                    </a:lnTo>
                    <a:lnTo>
                      <a:pt x="3127" y="1995"/>
                    </a:lnTo>
                    <a:lnTo>
                      <a:pt x="3121" y="1997"/>
                    </a:lnTo>
                    <a:lnTo>
                      <a:pt x="3113" y="1998"/>
                    </a:lnTo>
                    <a:lnTo>
                      <a:pt x="3105" y="2000"/>
                    </a:lnTo>
                    <a:lnTo>
                      <a:pt x="3105" y="2000"/>
                    </a:lnTo>
                    <a:lnTo>
                      <a:pt x="3099" y="1998"/>
                    </a:lnTo>
                    <a:lnTo>
                      <a:pt x="3091" y="1998"/>
                    </a:lnTo>
                    <a:lnTo>
                      <a:pt x="3083" y="1996"/>
                    </a:lnTo>
                    <a:lnTo>
                      <a:pt x="3074" y="1991"/>
                    </a:lnTo>
                    <a:lnTo>
                      <a:pt x="3066" y="1985"/>
                    </a:lnTo>
                    <a:lnTo>
                      <a:pt x="3062" y="1980"/>
                    </a:lnTo>
                    <a:lnTo>
                      <a:pt x="3059" y="1975"/>
                    </a:lnTo>
                    <a:lnTo>
                      <a:pt x="3056" y="1969"/>
                    </a:lnTo>
                    <a:lnTo>
                      <a:pt x="3054" y="1962"/>
                    </a:lnTo>
                    <a:lnTo>
                      <a:pt x="3051" y="1955"/>
                    </a:lnTo>
                    <a:lnTo>
                      <a:pt x="3050" y="1946"/>
                    </a:lnTo>
                    <a:lnTo>
                      <a:pt x="3201" y="1946"/>
                    </a:lnTo>
                    <a:lnTo>
                      <a:pt x="3201" y="1946"/>
                    </a:lnTo>
                    <a:lnTo>
                      <a:pt x="3202" y="1928"/>
                    </a:lnTo>
                    <a:lnTo>
                      <a:pt x="3202" y="1928"/>
                    </a:lnTo>
                    <a:lnTo>
                      <a:pt x="3201" y="1913"/>
                    </a:lnTo>
                    <a:lnTo>
                      <a:pt x="3199" y="1900"/>
                    </a:lnTo>
                    <a:lnTo>
                      <a:pt x="3197" y="1886"/>
                    </a:lnTo>
                    <a:lnTo>
                      <a:pt x="3195" y="1874"/>
                    </a:lnTo>
                    <a:lnTo>
                      <a:pt x="3190" y="1863"/>
                    </a:lnTo>
                    <a:lnTo>
                      <a:pt x="3185" y="1852"/>
                    </a:lnTo>
                    <a:lnTo>
                      <a:pt x="3180" y="1843"/>
                    </a:lnTo>
                    <a:lnTo>
                      <a:pt x="3174" y="1834"/>
                    </a:lnTo>
                    <a:lnTo>
                      <a:pt x="3167" y="1826"/>
                    </a:lnTo>
                    <a:lnTo>
                      <a:pt x="3158" y="1820"/>
                    </a:lnTo>
                    <a:lnTo>
                      <a:pt x="3150" y="1814"/>
                    </a:lnTo>
                    <a:lnTo>
                      <a:pt x="3141" y="1809"/>
                    </a:lnTo>
                    <a:lnTo>
                      <a:pt x="3131" y="1805"/>
                    </a:lnTo>
                    <a:lnTo>
                      <a:pt x="3121" y="1801"/>
                    </a:lnTo>
                    <a:lnTo>
                      <a:pt x="3110" y="1800"/>
                    </a:lnTo>
                    <a:lnTo>
                      <a:pt x="3099" y="1799"/>
                    </a:lnTo>
                    <a:lnTo>
                      <a:pt x="3099" y="1799"/>
                    </a:lnTo>
                    <a:lnTo>
                      <a:pt x="3086" y="1800"/>
                    </a:lnTo>
                    <a:lnTo>
                      <a:pt x="3076" y="1801"/>
                    </a:lnTo>
                    <a:lnTo>
                      <a:pt x="3065" y="1805"/>
                    </a:lnTo>
                    <a:lnTo>
                      <a:pt x="3055" y="1809"/>
                    </a:lnTo>
                    <a:lnTo>
                      <a:pt x="3045" y="1814"/>
                    </a:lnTo>
                    <a:lnTo>
                      <a:pt x="3035" y="1821"/>
                    </a:lnTo>
                    <a:lnTo>
                      <a:pt x="3028" y="1827"/>
                    </a:lnTo>
                    <a:lnTo>
                      <a:pt x="3020" y="1835"/>
                    </a:lnTo>
                    <a:lnTo>
                      <a:pt x="3012" y="1844"/>
                    </a:lnTo>
                    <a:lnTo>
                      <a:pt x="3006" y="1854"/>
                    </a:lnTo>
                    <a:lnTo>
                      <a:pt x="3001" y="1865"/>
                    </a:lnTo>
                    <a:lnTo>
                      <a:pt x="2997" y="1876"/>
                    </a:lnTo>
                    <a:lnTo>
                      <a:pt x="2994" y="1888"/>
                    </a:lnTo>
                    <a:lnTo>
                      <a:pt x="2990" y="1901"/>
                    </a:lnTo>
                    <a:lnTo>
                      <a:pt x="2989" y="1913"/>
                    </a:lnTo>
                    <a:lnTo>
                      <a:pt x="2989" y="1928"/>
                    </a:lnTo>
                    <a:lnTo>
                      <a:pt x="2989" y="1928"/>
                    </a:lnTo>
                    <a:lnTo>
                      <a:pt x="2989" y="1941"/>
                    </a:lnTo>
                    <a:lnTo>
                      <a:pt x="2990" y="1955"/>
                    </a:lnTo>
                    <a:lnTo>
                      <a:pt x="2993" y="1968"/>
                    </a:lnTo>
                    <a:lnTo>
                      <a:pt x="2997" y="1980"/>
                    </a:lnTo>
                    <a:lnTo>
                      <a:pt x="3001" y="1991"/>
                    </a:lnTo>
                    <a:lnTo>
                      <a:pt x="3008" y="2002"/>
                    </a:lnTo>
                    <a:lnTo>
                      <a:pt x="3014" y="2012"/>
                    </a:lnTo>
                    <a:lnTo>
                      <a:pt x="3021" y="2020"/>
                    </a:lnTo>
                    <a:lnTo>
                      <a:pt x="3028" y="2028"/>
                    </a:lnTo>
                    <a:lnTo>
                      <a:pt x="3037" y="2035"/>
                    </a:lnTo>
                    <a:lnTo>
                      <a:pt x="3046" y="2041"/>
                    </a:lnTo>
                    <a:lnTo>
                      <a:pt x="3057" y="2046"/>
                    </a:lnTo>
                    <a:lnTo>
                      <a:pt x="3068" y="2049"/>
                    </a:lnTo>
                    <a:lnTo>
                      <a:pt x="3079" y="2053"/>
                    </a:lnTo>
                    <a:lnTo>
                      <a:pt x="3093" y="2054"/>
                    </a:lnTo>
                    <a:lnTo>
                      <a:pt x="3105" y="2055"/>
                    </a:lnTo>
                    <a:lnTo>
                      <a:pt x="3105" y="2055"/>
                    </a:lnTo>
                    <a:lnTo>
                      <a:pt x="3117" y="2054"/>
                    </a:lnTo>
                    <a:lnTo>
                      <a:pt x="3129" y="2053"/>
                    </a:lnTo>
                    <a:lnTo>
                      <a:pt x="3140" y="2049"/>
                    </a:lnTo>
                    <a:lnTo>
                      <a:pt x="3151" y="2046"/>
                    </a:lnTo>
                    <a:lnTo>
                      <a:pt x="3162" y="2040"/>
                    </a:lnTo>
                    <a:lnTo>
                      <a:pt x="3173" y="2034"/>
                    </a:lnTo>
                    <a:lnTo>
                      <a:pt x="3182" y="2025"/>
                    </a:lnTo>
                    <a:lnTo>
                      <a:pt x="3191" y="2017"/>
                    </a:lnTo>
                    <a:lnTo>
                      <a:pt x="3153" y="1979"/>
                    </a:lnTo>
                    <a:close/>
                    <a:moveTo>
                      <a:pt x="3051" y="1901"/>
                    </a:moveTo>
                    <a:lnTo>
                      <a:pt x="3051" y="1901"/>
                    </a:lnTo>
                    <a:lnTo>
                      <a:pt x="3052" y="1890"/>
                    </a:lnTo>
                    <a:lnTo>
                      <a:pt x="3056" y="1880"/>
                    </a:lnTo>
                    <a:lnTo>
                      <a:pt x="3060" y="1872"/>
                    </a:lnTo>
                    <a:lnTo>
                      <a:pt x="3065" y="1865"/>
                    </a:lnTo>
                    <a:lnTo>
                      <a:pt x="3072" y="1859"/>
                    </a:lnTo>
                    <a:lnTo>
                      <a:pt x="3079" y="1855"/>
                    </a:lnTo>
                    <a:lnTo>
                      <a:pt x="3088" y="1851"/>
                    </a:lnTo>
                    <a:lnTo>
                      <a:pt x="3097" y="1851"/>
                    </a:lnTo>
                    <a:lnTo>
                      <a:pt x="3097" y="1851"/>
                    </a:lnTo>
                    <a:lnTo>
                      <a:pt x="3108" y="1852"/>
                    </a:lnTo>
                    <a:lnTo>
                      <a:pt x="3117" y="1855"/>
                    </a:lnTo>
                    <a:lnTo>
                      <a:pt x="3125" y="1860"/>
                    </a:lnTo>
                    <a:lnTo>
                      <a:pt x="3131" y="1867"/>
                    </a:lnTo>
                    <a:lnTo>
                      <a:pt x="3136" y="1874"/>
                    </a:lnTo>
                    <a:lnTo>
                      <a:pt x="3140" y="1883"/>
                    </a:lnTo>
                    <a:lnTo>
                      <a:pt x="3142" y="1893"/>
                    </a:lnTo>
                    <a:lnTo>
                      <a:pt x="3144" y="1901"/>
                    </a:lnTo>
                    <a:lnTo>
                      <a:pt x="3051" y="1901"/>
                    </a:lnTo>
                    <a:close/>
                    <a:moveTo>
                      <a:pt x="2905" y="1964"/>
                    </a:moveTo>
                    <a:lnTo>
                      <a:pt x="2905" y="1964"/>
                    </a:lnTo>
                    <a:lnTo>
                      <a:pt x="2905" y="1973"/>
                    </a:lnTo>
                    <a:lnTo>
                      <a:pt x="2907" y="1979"/>
                    </a:lnTo>
                    <a:lnTo>
                      <a:pt x="2909" y="1985"/>
                    </a:lnTo>
                    <a:lnTo>
                      <a:pt x="2912" y="1990"/>
                    </a:lnTo>
                    <a:lnTo>
                      <a:pt x="2915" y="1993"/>
                    </a:lnTo>
                    <a:lnTo>
                      <a:pt x="2920" y="1996"/>
                    </a:lnTo>
                    <a:lnTo>
                      <a:pt x="2925" y="1997"/>
                    </a:lnTo>
                    <a:lnTo>
                      <a:pt x="2932" y="1997"/>
                    </a:lnTo>
                    <a:lnTo>
                      <a:pt x="2932" y="1997"/>
                    </a:lnTo>
                    <a:lnTo>
                      <a:pt x="2941" y="1997"/>
                    </a:lnTo>
                    <a:lnTo>
                      <a:pt x="2950" y="1995"/>
                    </a:lnTo>
                    <a:lnTo>
                      <a:pt x="2960" y="1991"/>
                    </a:lnTo>
                    <a:lnTo>
                      <a:pt x="2969" y="1986"/>
                    </a:lnTo>
                    <a:lnTo>
                      <a:pt x="2961" y="2043"/>
                    </a:lnTo>
                    <a:lnTo>
                      <a:pt x="2961" y="2043"/>
                    </a:lnTo>
                    <a:lnTo>
                      <a:pt x="2950" y="2048"/>
                    </a:lnTo>
                    <a:lnTo>
                      <a:pt x="2937" y="2052"/>
                    </a:lnTo>
                    <a:lnTo>
                      <a:pt x="2924" y="2054"/>
                    </a:lnTo>
                    <a:lnTo>
                      <a:pt x="2910" y="2055"/>
                    </a:lnTo>
                    <a:lnTo>
                      <a:pt x="2910" y="2055"/>
                    </a:lnTo>
                    <a:lnTo>
                      <a:pt x="2902" y="2054"/>
                    </a:lnTo>
                    <a:lnTo>
                      <a:pt x="2893" y="2053"/>
                    </a:lnTo>
                    <a:lnTo>
                      <a:pt x="2886" y="2051"/>
                    </a:lnTo>
                    <a:lnTo>
                      <a:pt x="2880" y="2048"/>
                    </a:lnTo>
                    <a:lnTo>
                      <a:pt x="2874" y="2045"/>
                    </a:lnTo>
                    <a:lnTo>
                      <a:pt x="2868" y="2041"/>
                    </a:lnTo>
                    <a:lnTo>
                      <a:pt x="2864" y="2036"/>
                    </a:lnTo>
                    <a:lnTo>
                      <a:pt x="2859" y="2030"/>
                    </a:lnTo>
                    <a:lnTo>
                      <a:pt x="2853" y="2019"/>
                    </a:lnTo>
                    <a:lnTo>
                      <a:pt x="2848" y="2006"/>
                    </a:lnTo>
                    <a:lnTo>
                      <a:pt x="2846" y="1993"/>
                    </a:lnTo>
                    <a:lnTo>
                      <a:pt x="2845" y="1980"/>
                    </a:lnTo>
                    <a:lnTo>
                      <a:pt x="2845" y="1861"/>
                    </a:lnTo>
                    <a:lnTo>
                      <a:pt x="2807" y="1861"/>
                    </a:lnTo>
                    <a:lnTo>
                      <a:pt x="2807" y="1805"/>
                    </a:lnTo>
                    <a:lnTo>
                      <a:pt x="2845" y="1805"/>
                    </a:lnTo>
                    <a:lnTo>
                      <a:pt x="2845" y="1742"/>
                    </a:lnTo>
                    <a:lnTo>
                      <a:pt x="2905" y="1711"/>
                    </a:lnTo>
                    <a:lnTo>
                      <a:pt x="2905" y="1805"/>
                    </a:lnTo>
                    <a:lnTo>
                      <a:pt x="2960" y="1805"/>
                    </a:lnTo>
                    <a:lnTo>
                      <a:pt x="2960" y="1861"/>
                    </a:lnTo>
                    <a:lnTo>
                      <a:pt x="2905" y="1861"/>
                    </a:lnTo>
                    <a:lnTo>
                      <a:pt x="2905" y="1964"/>
                    </a:lnTo>
                    <a:close/>
                    <a:moveTo>
                      <a:pt x="2788" y="2043"/>
                    </a:moveTo>
                    <a:lnTo>
                      <a:pt x="2788" y="2043"/>
                    </a:lnTo>
                    <a:lnTo>
                      <a:pt x="2777" y="2048"/>
                    </a:lnTo>
                    <a:lnTo>
                      <a:pt x="2764" y="2052"/>
                    </a:lnTo>
                    <a:lnTo>
                      <a:pt x="2751" y="2054"/>
                    </a:lnTo>
                    <a:lnTo>
                      <a:pt x="2738" y="2055"/>
                    </a:lnTo>
                    <a:lnTo>
                      <a:pt x="2738" y="2055"/>
                    </a:lnTo>
                    <a:lnTo>
                      <a:pt x="2728" y="2054"/>
                    </a:lnTo>
                    <a:lnTo>
                      <a:pt x="2721" y="2053"/>
                    </a:lnTo>
                    <a:lnTo>
                      <a:pt x="2713" y="2051"/>
                    </a:lnTo>
                    <a:lnTo>
                      <a:pt x="2706" y="2048"/>
                    </a:lnTo>
                    <a:lnTo>
                      <a:pt x="2701" y="2045"/>
                    </a:lnTo>
                    <a:lnTo>
                      <a:pt x="2695" y="2041"/>
                    </a:lnTo>
                    <a:lnTo>
                      <a:pt x="2690" y="2036"/>
                    </a:lnTo>
                    <a:lnTo>
                      <a:pt x="2687" y="2030"/>
                    </a:lnTo>
                    <a:lnTo>
                      <a:pt x="2679" y="2019"/>
                    </a:lnTo>
                    <a:lnTo>
                      <a:pt x="2676" y="2006"/>
                    </a:lnTo>
                    <a:lnTo>
                      <a:pt x="2672" y="1993"/>
                    </a:lnTo>
                    <a:lnTo>
                      <a:pt x="2672" y="1980"/>
                    </a:lnTo>
                    <a:lnTo>
                      <a:pt x="2672" y="1861"/>
                    </a:lnTo>
                    <a:lnTo>
                      <a:pt x="2634" y="1861"/>
                    </a:lnTo>
                    <a:lnTo>
                      <a:pt x="2634" y="1805"/>
                    </a:lnTo>
                    <a:lnTo>
                      <a:pt x="2672" y="1805"/>
                    </a:lnTo>
                    <a:lnTo>
                      <a:pt x="2672" y="1742"/>
                    </a:lnTo>
                    <a:lnTo>
                      <a:pt x="2733" y="1711"/>
                    </a:lnTo>
                    <a:lnTo>
                      <a:pt x="2733" y="1805"/>
                    </a:lnTo>
                    <a:lnTo>
                      <a:pt x="2784" y="1805"/>
                    </a:lnTo>
                    <a:lnTo>
                      <a:pt x="2784" y="1861"/>
                    </a:lnTo>
                    <a:lnTo>
                      <a:pt x="2733" y="1861"/>
                    </a:lnTo>
                    <a:lnTo>
                      <a:pt x="2733" y="1964"/>
                    </a:lnTo>
                    <a:lnTo>
                      <a:pt x="2733" y="1964"/>
                    </a:lnTo>
                    <a:lnTo>
                      <a:pt x="2733" y="1973"/>
                    </a:lnTo>
                    <a:lnTo>
                      <a:pt x="2734" y="1979"/>
                    </a:lnTo>
                    <a:lnTo>
                      <a:pt x="2737" y="1985"/>
                    </a:lnTo>
                    <a:lnTo>
                      <a:pt x="2739" y="1990"/>
                    </a:lnTo>
                    <a:lnTo>
                      <a:pt x="2743" y="1993"/>
                    </a:lnTo>
                    <a:lnTo>
                      <a:pt x="2747" y="1996"/>
                    </a:lnTo>
                    <a:lnTo>
                      <a:pt x="2752" y="1997"/>
                    </a:lnTo>
                    <a:lnTo>
                      <a:pt x="2758" y="1997"/>
                    </a:lnTo>
                    <a:lnTo>
                      <a:pt x="2758" y="1997"/>
                    </a:lnTo>
                    <a:lnTo>
                      <a:pt x="2768" y="1997"/>
                    </a:lnTo>
                    <a:lnTo>
                      <a:pt x="2778" y="1995"/>
                    </a:lnTo>
                    <a:lnTo>
                      <a:pt x="2786" y="1991"/>
                    </a:lnTo>
                    <a:lnTo>
                      <a:pt x="2795" y="1986"/>
                    </a:lnTo>
                    <a:lnTo>
                      <a:pt x="2788" y="2043"/>
                    </a:lnTo>
                    <a:close/>
                    <a:moveTo>
                      <a:pt x="3384" y="1873"/>
                    </a:moveTo>
                    <a:lnTo>
                      <a:pt x="3384" y="1873"/>
                    </a:lnTo>
                    <a:lnTo>
                      <a:pt x="3376" y="1867"/>
                    </a:lnTo>
                    <a:lnTo>
                      <a:pt x="3366" y="1863"/>
                    </a:lnTo>
                    <a:lnTo>
                      <a:pt x="3355" y="1861"/>
                    </a:lnTo>
                    <a:lnTo>
                      <a:pt x="3344" y="1860"/>
                    </a:lnTo>
                    <a:lnTo>
                      <a:pt x="3344" y="1860"/>
                    </a:lnTo>
                    <a:lnTo>
                      <a:pt x="3334" y="1861"/>
                    </a:lnTo>
                    <a:lnTo>
                      <a:pt x="3325" y="1863"/>
                    </a:lnTo>
                    <a:lnTo>
                      <a:pt x="3317" y="1868"/>
                    </a:lnTo>
                    <a:lnTo>
                      <a:pt x="3311" y="1874"/>
                    </a:lnTo>
                    <a:lnTo>
                      <a:pt x="3306" y="1882"/>
                    </a:lnTo>
                    <a:lnTo>
                      <a:pt x="3304" y="1891"/>
                    </a:lnTo>
                    <a:lnTo>
                      <a:pt x="3302" y="1904"/>
                    </a:lnTo>
                    <a:lnTo>
                      <a:pt x="3300" y="1917"/>
                    </a:lnTo>
                    <a:lnTo>
                      <a:pt x="3300" y="2049"/>
                    </a:lnTo>
                    <a:lnTo>
                      <a:pt x="3241" y="2049"/>
                    </a:lnTo>
                    <a:lnTo>
                      <a:pt x="3241" y="1805"/>
                    </a:lnTo>
                    <a:lnTo>
                      <a:pt x="3300" y="1805"/>
                    </a:lnTo>
                    <a:lnTo>
                      <a:pt x="3300" y="1826"/>
                    </a:lnTo>
                    <a:lnTo>
                      <a:pt x="3300" y="1826"/>
                    </a:lnTo>
                    <a:lnTo>
                      <a:pt x="3306" y="1820"/>
                    </a:lnTo>
                    <a:lnTo>
                      <a:pt x="3313" y="1814"/>
                    </a:lnTo>
                    <a:lnTo>
                      <a:pt x="3319" y="1810"/>
                    </a:lnTo>
                    <a:lnTo>
                      <a:pt x="3326" y="1806"/>
                    </a:lnTo>
                    <a:lnTo>
                      <a:pt x="3332" y="1803"/>
                    </a:lnTo>
                    <a:lnTo>
                      <a:pt x="3339" y="1801"/>
                    </a:lnTo>
                    <a:lnTo>
                      <a:pt x="3347" y="1800"/>
                    </a:lnTo>
                    <a:lnTo>
                      <a:pt x="3355" y="1799"/>
                    </a:lnTo>
                    <a:lnTo>
                      <a:pt x="3355" y="1799"/>
                    </a:lnTo>
                    <a:lnTo>
                      <a:pt x="3367" y="1800"/>
                    </a:lnTo>
                    <a:lnTo>
                      <a:pt x="3379" y="1804"/>
                    </a:lnTo>
                    <a:lnTo>
                      <a:pt x="3390" y="1807"/>
                    </a:lnTo>
                    <a:lnTo>
                      <a:pt x="3400" y="1814"/>
                    </a:lnTo>
                    <a:lnTo>
                      <a:pt x="3384" y="1873"/>
                    </a:lnTo>
                    <a:close/>
                    <a:moveTo>
                      <a:pt x="653" y="1747"/>
                    </a:moveTo>
                    <a:lnTo>
                      <a:pt x="653" y="1770"/>
                    </a:lnTo>
                    <a:lnTo>
                      <a:pt x="592" y="1770"/>
                    </a:lnTo>
                    <a:lnTo>
                      <a:pt x="592" y="1709"/>
                    </a:lnTo>
                    <a:lnTo>
                      <a:pt x="653" y="1709"/>
                    </a:lnTo>
                    <a:lnTo>
                      <a:pt x="653" y="1747"/>
                    </a:lnTo>
                    <a:close/>
                    <a:moveTo>
                      <a:pt x="1073" y="1805"/>
                    </a:moveTo>
                    <a:lnTo>
                      <a:pt x="1134" y="1805"/>
                    </a:lnTo>
                    <a:lnTo>
                      <a:pt x="1134" y="1930"/>
                    </a:lnTo>
                    <a:lnTo>
                      <a:pt x="1134" y="2049"/>
                    </a:lnTo>
                    <a:lnTo>
                      <a:pt x="1073" y="2049"/>
                    </a:lnTo>
                    <a:lnTo>
                      <a:pt x="1073" y="1805"/>
                    </a:lnTo>
                    <a:close/>
                    <a:moveTo>
                      <a:pt x="1134" y="1739"/>
                    </a:moveTo>
                    <a:lnTo>
                      <a:pt x="1134" y="1770"/>
                    </a:lnTo>
                    <a:lnTo>
                      <a:pt x="1073" y="1770"/>
                    </a:lnTo>
                    <a:lnTo>
                      <a:pt x="1073" y="1709"/>
                    </a:lnTo>
                    <a:lnTo>
                      <a:pt x="1134" y="1709"/>
                    </a:lnTo>
                    <a:lnTo>
                      <a:pt x="1134" y="1739"/>
                    </a:lnTo>
                    <a:close/>
                    <a:moveTo>
                      <a:pt x="2796" y="2250"/>
                    </a:moveTo>
                    <a:lnTo>
                      <a:pt x="2796" y="2250"/>
                    </a:lnTo>
                    <a:lnTo>
                      <a:pt x="2790" y="2245"/>
                    </a:lnTo>
                    <a:lnTo>
                      <a:pt x="2784" y="2240"/>
                    </a:lnTo>
                    <a:lnTo>
                      <a:pt x="2778" y="2237"/>
                    </a:lnTo>
                    <a:lnTo>
                      <a:pt x="2771" y="2233"/>
                    </a:lnTo>
                    <a:lnTo>
                      <a:pt x="2764" y="2231"/>
                    </a:lnTo>
                    <a:lnTo>
                      <a:pt x="2757" y="2229"/>
                    </a:lnTo>
                    <a:lnTo>
                      <a:pt x="2741" y="2227"/>
                    </a:lnTo>
                    <a:lnTo>
                      <a:pt x="2741" y="2227"/>
                    </a:lnTo>
                    <a:lnTo>
                      <a:pt x="2730" y="2228"/>
                    </a:lnTo>
                    <a:lnTo>
                      <a:pt x="2721" y="2229"/>
                    </a:lnTo>
                    <a:lnTo>
                      <a:pt x="2711" y="2233"/>
                    </a:lnTo>
                    <a:lnTo>
                      <a:pt x="2701" y="2237"/>
                    </a:lnTo>
                    <a:lnTo>
                      <a:pt x="2693" y="2241"/>
                    </a:lnTo>
                    <a:lnTo>
                      <a:pt x="2685" y="2246"/>
                    </a:lnTo>
                    <a:lnTo>
                      <a:pt x="2678" y="2254"/>
                    </a:lnTo>
                    <a:lnTo>
                      <a:pt x="2671" y="2261"/>
                    </a:lnTo>
                    <a:lnTo>
                      <a:pt x="2666" y="2269"/>
                    </a:lnTo>
                    <a:lnTo>
                      <a:pt x="2660" y="2279"/>
                    </a:lnTo>
                    <a:lnTo>
                      <a:pt x="2656" y="2289"/>
                    </a:lnTo>
                    <a:lnTo>
                      <a:pt x="2653" y="2301"/>
                    </a:lnTo>
                    <a:lnTo>
                      <a:pt x="2649" y="2312"/>
                    </a:lnTo>
                    <a:lnTo>
                      <a:pt x="2648" y="2325"/>
                    </a:lnTo>
                    <a:lnTo>
                      <a:pt x="2647" y="2339"/>
                    </a:lnTo>
                    <a:lnTo>
                      <a:pt x="2645" y="2353"/>
                    </a:lnTo>
                    <a:lnTo>
                      <a:pt x="2645" y="2353"/>
                    </a:lnTo>
                    <a:lnTo>
                      <a:pt x="2647" y="2368"/>
                    </a:lnTo>
                    <a:lnTo>
                      <a:pt x="2648" y="2381"/>
                    </a:lnTo>
                    <a:lnTo>
                      <a:pt x="2649" y="2395"/>
                    </a:lnTo>
                    <a:lnTo>
                      <a:pt x="2653" y="2408"/>
                    </a:lnTo>
                    <a:lnTo>
                      <a:pt x="2655" y="2419"/>
                    </a:lnTo>
                    <a:lnTo>
                      <a:pt x="2660" y="2430"/>
                    </a:lnTo>
                    <a:lnTo>
                      <a:pt x="2665" y="2440"/>
                    </a:lnTo>
                    <a:lnTo>
                      <a:pt x="2671" y="2448"/>
                    </a:lnTo>
                    <a:lnTo>
                      <a:pt x="2677" y="2457"/>
                    </a:lnTo>
                    <a:lnTo>
                      <a:pt x="2684" y="2463"/>
                    </a:lnTo>
                    <a:lnTo>
                      <a:pt x="2692" y="2469"/>
                    </a:lnTo>
                    <a:lnTo>
                      <a:pt x="2700" y="2474"/>
                    </a:lnTo>
                    <a:lnTo>
                      <a:pt x="2710" y="2479"/>
                    </a:lnTo>
                    <a:lnTo>
                      <a:pt x="2720" y="2481"/>
                    </a:lnTo>
                    <a:lnTo>
                      <a:pt x="2729" y="2482"/>
                    </a:lnTo>
                    <a:lnTo>
                      <a:pt x="2740" y="2483"/>
                    </a:lnTo>
                    <a:lnTo>
                      <a:pt x="2740" y="2483"/>
                    </a:lnTo>
                    <a:lnTo>
                      <a:pt x="2747" y="2482"/>
                    </a:lnTo>
                    <a:lnTo>
                      <a:pt x="2756" y="2481"/>
                    </a:lnTo>
                    <a:lnTo>
                      <a:pt x="2763" y="2480"/>
                    </a:lnTo>
                    <a:lnTo>
                      <a:pt x="2769" y="2477"/>
                    </a:lnTo>
                    <a:lnTo>
                      <a:pt x="2777" y="2474"/>
                    </a:lnTo>
                    <a:lnTo>
                      <a:pt x="2784" y="2470"/>
                    </a:lnTo>
                    <a:lnTo>
                      <a:pt x="2790" y="2465"/>
                    </a:lnTo>
                    <a:lnTo>
                      <a:pt x="2796" y="2459"/>
                    </a:lnTo>
                    <a:lnTo>
                      <a:pt x="2796" y="2477"/>
                    </a:lnTo>
                    <a:lnTo>
                      <a:pt x="2857" y="2477"/>
                    </a:lnTo>
                    <a:lnTo>
                      <a:pt x="2857" y="2131"/>
                    </a:lnTo>
                    <a:lnTo>
                      <a:pt x="2796" y="2161"/>
                    </a:lnTo>
                    <a:lnTo>
                      <a:pt x="2796" y="2250"/>
                    </a:lnTo>
                    <a:close/>
                    <a:moveTo>
                      <a:pt x="2754" y="2427"/>
                    </a:moveTo>
                    <a:lnTo>
                      <a:pt x="2754" y="2427"/>
                    </a:lnTo>
                    <a:lnTo>
                      <a:pt x="2745" y="2426"/>
                    </a:lnTo>
                    <a:lnTo>
                      <a:pt x="2738" y="2424"/>
                    </a:lnTo>
                    <a:lnTo>
                      <a:pt x="2729" y="2420"/>
                    </a:lnTo>
                    <a:lnTo>
                      <a:pt x="2722" y="2413"/>
                    </a:lnTo>
                    <a:lnTo>
                      <a:pt x="2716" y="2403"/>
                    </a:lnTo>
                    <a:lnTo>
                      <a:pt x="2711" y="2390"/>
                    </a:lnTo>
                    <a:lnTo>
                      <a:pt x="2709" y="2373"/>
                    </a:lnTo>
                    <a:lnTo>
                      <a:pt x="2707" y="2351"/>
                    </a:lnTo>
                    <a:lnTo>
                      <a:pt x="2707" y="2351"/>
                    </a:lnTo>
                    <a:lnTo>
                      <a:pt x="2709" y="2333"/>
                    </a:lnTo>
                    <a:lnTo>
                      <a:pt x="2711" y="2317"/>
                    </a:lnTo>
                    <a:lnTo>
                      <a:pt x="2716" y="2305"/>
                    </a:lnTo>
                    <a:lnTo>
                      <a:pt x="2722" y="2296"/>
                    </a:lnTo>
                    <a:lnTo>
                      <a:pt x="2729" y="2290"/>
                    </a:lnTo>
                    <a:lnTo>
                      <a:pt x="2737" y="2285"/>
                    </a:lnTo>
                    <a:lnTo>
                      <a:pt x="2745" y="2284"/>
                    </a:lnTo>
                    <a:lnTo>
                      <a:pt x="2752" y="2283"/>
                    </a:lnTo>
                    <a:lnTo>
                      <a:pt x="2752" y="2283"/>
                    </a:lnTo>
                    <a:lnTo>
                      <a:pt x="2761" y="2284"/>
                    </a:lnTo>
                    <a:lnTo>
                      <a:pt x="2768" y="2285"/>
                    </a:lnTo>
                    <a:lnTo>
                      <a:pt x="2774" y="2288"/>
                    </a:lnTo>
                    <a:lnTo>
                      <a:pt x="2780" y="2291"/>
                    </a:lnTo>
                    <a:lnTo>
                      <a:pt x="2785" y="2295"/>
                    </a:lnTo>
                    <a:lnTo>
                      <a:pt x="2790" y="2299"/>
                    </a:lnTo>
                    <a:lnTo>
                      <a:pt x="2796" y="2307"/>
                    </a:lnTo>
                    <a:lnTo>
                      <a:pt x="2796" y="2403"/>
                    </a:lnTo>
                    <a:lnTo>
                      <a:pt x="2796" y="2403"/>
                    </a:lnTo>
                    <a:lnTo>
                      <a:pt x="2789" y="2412"/>
                    </a:lnTo>
                    <a:lnTo>
                      <a:pt x="2780" y="2419"/>
                    </a:lnTo>
                    <a:lnTo>
                      <a:pt x="2774" y="2423"/>
                    </a:lnTo>
                    <a:lnTo>
                      <a:pt x="2768" y="2425"/>
                    </a:lnTo>
                    <a:lnTo>
                      <a:pt x="2761" y="2426"/>
                    </a:lnTo>
                    <a:lnTo>
                      <a:pt x="2754" y="2427"/>
                    </a:lnTo>
                    <a:lnTo>
                      <a:pt x="2754" y="2427"/>
                    </a:lnTo>
                    <a:close/>
                    <a:moveTo>
                      <a:pt x="740" y="2301"/>
                    </a:moveTo>
                    <a:lnTo>
                      <a:pt x="740" y="2301"/>
                    </a:lnTo>
                    <a:lnTo>
                      <a:pt x="732" y="2296"/>
                    </a:lnTo>
                    <a:lnTo>
                      <a:pt x="722" y="2291"/>
                    </a:lnTo>
                    <a:lnTo>
                      <a:pt x="711" y="2289"/>
                    </a:lnTo>
                    <a:lnTo>
                      <a:pt x="700" y="2288"/>
                    </a:lnTo>
                    <a:lnTo>
                      <a:pt x="700" y="2288"/>
                    </a:lnTo>
                    <a:lnTo>
                      <a:pt x="690" y="2289"/>
                    </a:lnTo>
                    <a:lnTo>
                      <a:pt x="680" y="2291"/>
                    </a:lnTo>
                    <a:lnTo>
                      <a:pt x="673" y="2296"/>
                    </a:lnTo>
                    <a:lnTo>
                      <a:pt x="667" y="2302"/>
                    </a:lnTo>
                    <a:lnTo>
                      <a:pt x="662" y="2310"/>
                    </a:lnTo>
                    <a:lnTo>
                      <a:pt x="660" y="2319"/>
                    </a:lnTo>
                    <a:lnTo>
                      <a:pt x="657" y="2331"/>
                    </a:lnTo>
                    <a:lnTo>
                      <a:pt x="656" y="2345"/>
                    </a:lnTo>
                    <a:lnTo>
                      <a:pt x="656" y="2477"/>
                    </a:lnTo>
                    <a:lnTo>
                      <a:pt x="597" y="2477"/>
                    </a:lnTo>
                    <a:lnTo>
                      <a:pt x="597" y="2233"/>
                    </a:lnTo>
                    <a:lnTo>
                      <a:pt x="656" y="2233"/>
                    </a:lnTo>
                    <a:lnTo>
                      <a:pt x="656" y="2254"/>
                    </a:lnTo>
                    <a:lnTo>
                      <a:pt x="656" y="2254"/>
                    </a:lnTo>
                    <a:lnTo>
                      <a:pt x="662" y="2248"/>
                    </a:lnTo>
                    <a:lnTo>
                      <a:pt x="668" y="2241"/>
                    </a:lnTo>
                    <a:lnTo>
                      <a:pt x="674" y="2238"/>
                    </a:lnTo>
                    <a:lnTo>
                      <a:pt x="682" y="2234"/>
                    </a:lnTo>
                    <a:lnTo>
                      <a:pt x="688" y="2231"/>
                    </a:lnTo>
                    <a:lnTo>
                      <a:pt x="695" y="2229"/>
                    </a:lnTo>
                    <a:lnTo>
                      <a:pt x="704" y="2228"/>
                    </a:lnTo>
                    <a:lnTo>
                      <a:pt x="711" y="2227"/>
                    </a:lnTo>
                    <a:lnTo>
                      <a:pt x="711" y="2227"/>
                    </a:lnTo>
                    <a:lnTo>
                      <a:pt x="723" y="2228"/>
                    </a:lnTo>
                    <a:lnTo>
                      <a:pt x="735" y="2232"/>
                    </a:lnTo>
                    <a:lnTo>
                      <a:pt x="747" y="2237"/>
                    </a:lnTo>
                    <a:lnTo>
                      <a:pt x="757" y="2243"/>
                    </a:lnTo>
                    <a:lnTo>
                      <a:pt x="740" y="2301"/>
                    </a:lnTo>
                    <a:close/>
                    <a:moveTo>
                      <a:pt x="265" y="2233"/>
                    </a:moveTo>
                    <a:lnTo>
                      <a:pt x="324" y="2233"/>
                    </a:lnTo>
                    <a:lnTo>
                      <a:pt x="255" y="2477"/>
                    </a:lnTo>
                    <a:lnTo>
                      <a:pt x="203" y="2477"/>
                    </a:lnTo>
                    <a:lnTo>
                      <a:pt x="176" y="2376"/>
                    </a:lnTo>
                    <a:lnTo>
                      <a:pt x="176" y="2376"/>
                    </a:lnTo>
                    <a:lnTo>
                      <a:pt x="163" y="2323"/>
                    </a:lnTo>
                    <a:lnTo>
                      <a:pt x="163" y="2323"/>
                    </a:lnTo>
                    <a:lnTo>
                      <a:pt x="157" y="2348"/>
                    </a:lnTo>
                    <a:lnTo>
                      <a:pt x="149" y="2378"/>
                    </a:lnTo>
                    <a:lnTo>
                      <a:pt x="122" y="2477"/>
                    </a:lnTo>
                    <a:lnTo>
                      <a:pt x="69" y="2477"/>
                    </a:lnTo>
                    <a:lnTo>
                      <a:pt x="69" y="2476"/>
                    </a:lnTo>
                    <a:lnTo>
                      <a:pt x="0" y="2233"/>
                    </a:lnTo>
                    <a:lnTo>
                      <a:pt x="63" y="2233"/>
                    </a:lnTo>
                    <a:lnTo>
                      <a:pt x="85" y="2324"/>
                    </a:lnTo>
                    <a:lnTo>
                      <a:pt x="85" y="2324"/>
                    </a:lnTo>
                    <a:lnTo>
                      <a:pt x="91" y="2353"/>
                    </a:lnTo>
                    <a:lnTo>
                      <a:pt x="97" y="2384"/>
                    </a:lnTo>
                    <a:lnTo>
                      <a:pt x="97" y="2384"/>
                    </a:lnTo>
                    <a:lnTo>
                      <a:pt x="105" y="2353"/>
                    </a:lnTo>
                    <a:lnTo>
                      <a:pt x="112" y="2323"/>
                    </a:lnTo>
                    <a:lnTo>
                      <a:pt x="137" y="2233"/>
                    </a:lnTo>
                    <a:lnTo>
                      <a:pt x="190" y="2233"/>
                    </a:lnTo>
                    <a:lnTo>
                      <a:pt x="215" y="2323"/>
                    </a:lnTo>
                    <a:lnTo>
                      <a:pt x="215" y="2323"/>
                    </a:lnTo>
                    <a:lnTo>
                      <a:pt x="222" y="2352"/>
                    </a:lnTo>
                    <a:lnTo>
                      <a:pt x="230" y="2385"/>
                    </a:lnTo>
                    <a:lnTo>
                      <a:pt x="230" y="2385"/>
                    </a:lnTo>
                    <a:lnTo>
                      <a:pt x="235" y="2357"/>
                    </a:lnTo>
                    <a:lnTo>
                      <a:pt x="242" y="2323"/>
                    </a:lnTo>
                    <a:lnTo>
                      <a:pt x="265" y="2233"/>
                    </a:lnTo>
                    <a:close/>
                    <a:moveTo>
                      <a:pt x="447" y="2227"/>
                    </a:moveTo>
                    <a:lnTo>
                      <a:pt x="447" y="2227"/>
                    </a:lnTo>
                    <a:lnTo>
                      <a:pt x="436" y="2228"/>
                    </a:lnTo>
                    <a:lnTo>
                      <a:pt x="424" y="2229"/>
                    </a:lnTo>
                    <a:lnTo>
                      <a:pt x="413" y="2233"/>
                    </a:lnTo>
                    <a:lnTo>
                      <a:pt x="403" y="2237"/>
                    </a:lnTo>
                    <a:lnTo>
                      <a:pt x="394" y="2241"/>
                    </a:lnTo>
                    <a:lnTo>
                      <a:pt x="384" y="2248"/>
                    </a:lnTo>
                    <a:lnTo>
                      <a:pt x="375" y="2255"/>
                    </a:lnTo>
                    <a:lnTo>
                      <a:pt x="368" y="2263"/>
                    </a:lnTo>
                    <a:lnTo>
                      <a:pt x="361" y="2272"/>
                    </a:lnTo>
                    <a:lnTo>
                      <a:pt x="355" y="2282"/>
                    </a:lnTo>
                    <a:lnTo>
                      <a:pt x="349" y="2293"/>
                    </a:lnTo>
                    <a:lnTo>
                      <a:pt x="345" y="2303"/>
                    </a:lnTo>
                    <a:lnTo>
                      <a:pt x="341" y="2316"/>
                    </a:lnTo>
                    <a:lnTo>
                      <a:pt x="339" y="2328"/>
                    </a:lnTo>
                    <a:lnTo>
                      <a:pt x="337" y="2341"/>
                    </a:lnTo>
                    <a:lnTo>
                      <a:pt x="337" y="2356"/>
                    </a:lnTo>
                    <a:lnTo>
                      <a:pt x="337" y="2356"/>
                    </a:lnTo>
                    <a:lnTo>
                      <a:pt x="337" y="2369"/>
                    </a:lnTo>
                    <a:lnTo>
                      <a:pt x="339" y="2382"/>
                    </a:lnTo>
                    <a:lnTo>
                      <a:pt x="341" y="2395"/>
                    </a:lnTo>
                    <a:lnTo>
                      <a:pt x="345" y="2407"/>
                    </a:lnTo>
                    <a:lnTo>
                      <a:pt x="349" y="2418"/>
                    </a:lnTo>
                    <a:lnTo>
                      <a:pt x="355" y="2429"/>
                    </a:lnTo>
                    <a:lnTo>
                      <a:pt x="361" y="2438"/>
                    </a:lnTo>
                    <a:lnTo>
                      <a:pt x="368" y="2447"/>
                    </a:lnTo>
                    <a:lnTo>
                      <a:pt x="375" y="2455"/>
                    </a:lnTo>
                    <a:lnTo>
                      <a:pt x="384" y="2463"/>
                    </a:lnTo>
                    <a:lnTo>
                      <a:pt x="394" y="2469"/>
                    </a:lnTo>
                    <a:lnTo>
                      <a:pt x="403" y="2474"/>
                    </a:lnTo>
                    <a:lnTo>
                      <a:pt x="413" y="2477"/>
                    </a:lnTo>
                    <a:lnTo>
                      <a:pt x="424" y="2481"/>
                    </a:lnTo>
                    <a:lnTo>
                      <a:pt x="436" y="2482"/>
                    </a:lnTo>
                    <a:lnTo>
                      <a:pt x="447" y="2483"/>
                    </a:lnTo>
                    <a:lnTo>
                      <a:pt x="447" y="2483"/>
                    </a:lnTo>
                    <a:lnTo>
                      <a:pt x="459" y="2482"/>
                    </a:lnTo>
                    <a:lnTo>
                      <a:pt x="471" y="2481"/>
                    </a:lnTo>
                    <a:lnTo>
                      <a:pt x="482" y="2477"/>
                    </a:lnTo>
                    <a:lnTo>
                      <a:pt x="492" y="2474"/>
                    </a:lnTo>
                    <a:lnTo>
                      <a:pt x="502" y="2469"/>
                    </a:lnTo>
                    <a:lnTo>
                      <a:pt x="512" y="2463"/>
                    </a:lnTo>
                    <a:lnTo>
                      <a:pt x="520" y="2455"/>
                    </a:lnTo>
                    <a:lnTo>
                      <a:pt x="527" y="2447"/>
                    </a:lnTo>
                    <a:lnTo>
                      <a:pt x="535" y="2438"/>
                    </a:lnTo>
                    <a:lnTo>
                      <a:pt x="541" y="2429"/>
                    </a:lnTo>
                    <a:lnTo>
                      <a:pt x="546" y="2418"/>
                    </a:lnTo>
                    <a:lnTo>
                      <a:pt x="550" y="2407"/>
                    </a:lnTo>
                    <a:lnTo>
                      <a:pt x="554" y="2395"/>
                    </a:lnTo>
                    <a:lnTo>
                      <a:pt x="557" y="2382"/>
                    </a:lnTo>
                    <a:lnTo>
                      <a:pt x="559" y="2369"/>
                    </a:lnTo>
                    <a:lnTo>
                      <a:pt x="559" y="2356"/>
                    </a:lnTo>
                    <a:lnTo>
                      <a:pt x="559" y="2356"/>
                    </a:lnTo>
                    <a:lnTo>
                      <a:pt x="559" y="2341"/>
                    </a:lnTo>
                    <a:lnTo>
                      <a:pt x="557" y="2328"/>
                    </a:lnTo>
                    <a:lnTo>
                      <a:pt x="554" y="2316"/>
                    </a:lnTo>
                    <a:lnTo>
                      <a:pt x="550" y="2303"/>
                    </a:lnTo>
                    <a:lnTo>
                      <a:pt x="546" y="2293"/>
                    </a:lnTo>
                    <a:lnTo>
                      <a:pt x="541" y="2282"/>
                    </a:lnTo>
                    <a:lnTo>
                      <a:pt x="535" y="2272"/>
                    </a:lnTo>
                    <a:lnTo>
                      <a:pt x="527" y="2263"/>
                    </a:lnTo>
                    <a:lnTo>
                      <a:pt x="520" y="2255"/>
                    </a:lnTo>
                    <a:lnTo>
                      <a:pt x="512" y="2248"/>
                    </a:lnTo>
                    <a:lnTo>
                      <a:pt x="502" y="2241"/>
                    </a:lnTo>
                    <a:lnTo>
                      <a:pt x="492" y="2237"/>
                    </a:lnTo>
                    <a:lnTo>
                      <a:pt x="482" y="2233"/>
                    </a:lnTo>
                    <a:lnTo>
                      <a:pt x="471" y="2229"/>
                    </a:lnTo>
                    <a:lnTo>
                      <a:pt x="459" y="2228"/>
                    </a:lnTo>
                    <a:lnTo>
                      <a:pt x="447" y="2227"/>
                    </a:lnTo>
                    <a:lnTo>
                      <a:pt x="447" y="2227"/>
                    </a:lnTo>
                    <a:close/>
                    <a:moveTo>
                      <a:pt x="447" y="2426"/>
                    </a:moveTo>
                    <a:lnTo>
                      <a:pt x="447" y="2426"/>
                    </a:lnTo>
                    <a:lnTo>
                      <a:pt x="436" y="2425"/>
                    </a:lnTo>
                    <a:lnTo>
                      <a:pt x="427" y="2421"/>
                    </a:lnTo>
                    <a:lnTo>
                      <a:pt x="419" y="2415"/>
                    </a:lnTo>
                    <a:lnTo>
                      <a:pt x="412" y="2407"/>
                    </a:lnTo>
                    <a:lnTo>
                      <a:pt x="406" y="2397"/>
                    </a:lnTo>
                    <a:lnTo>
                      <a:pt x="401" y="2385"/>
                    </a:lnTo>
                    <a:lnTo>
                      <a:pt x="399" y="2370"/>
                    </a:lnTo>
                    <a:lnTo>
                      <a:pt x="399" y="2356"/>
                    </a:lnTo>
                    <a:lnTo>
                      <a:pt x="399" y="2356"/>
                    </a:lnTo>
                    <a:lnTo>
                      <a:pt x="399" y="2340"/>
                    </a:lnTo>
                    <a:lnTo>
                      <a:pt x="401" y="2325"/>
                    </a:lnTo>
                    <a:lnTo>
                      <a:pt x="406" y="2314"/>
                    </a:lnTo>
                    <a:lnTo>
                      <a:pt x="412" y="2303"/>
                    </a:lnTo>
                    <a:lnTo>
                      <a:pt x="419" y="2295"/>
                    </a:lnTo>
                    <a:lnTo>
                      <a:pt x="427" y="2289"/>
                    </a:lnTo>
                    <a:lnTo>
                      <a:pt x="436" y="2285"/>
                    </a:lnTo>
                    <a:lnTo>
                      <a:pt x="447" y="2284"/>
                    </a:lnTo>
                    <a:lnTo>
                      <a:pt x="447" y="2284"/>
                    </a:lnTo>
                    <a:lnTo>
                      <a:pt x="458" y="2285"/>
                    </a:lnTo>
                    <a:lnTo>
                      <a:pt x="468" y="2289"/>
                    </a:lnTo>
                    <a:lnTo>
                      <a:pt x="476" y="2295"/>
                    </a:lnTo>
                    <a:lnTo>
                      <a:pt x="484" y="2303"/>
                    </a:lnTo>
                    <a:lnTo>
                      <a:pt x="490" y="2314"/>
                    </a:lnTo>
                    <a:lnTo>
                      <a:pt x="493" y="2325"/>
                    </a:lnTo>
                    <a:lnTo>
                      <a:pt x="496" y="2340"/>
                    </a:lnTo>
                    <a:lnTo>
                      <a:pt x="497" y="2356"/>
                    </a:lnTo>
                    <a:lnTo>
                      <a:pt x="497" y="2356"/>
                    </a:lnTo>
                    <a:lnTo>
                      <a:pt x="496" y="2370"/>
                    </a:lnTo>
                    <a:lnTo>
                      <a:pt x="493" y="2385"/>
                    </a:lnTo>
                    <a:lnTo>
                      <a:pt x="490" y="2397"/>
                    </a:lnTo>
                    <a:lnTo>
                      <a:pt x="484" y="2407"/>
                    </a:lnTo>
                    <a:lnTo>
                      <a:pt x="476" y="2415"/>
                    </a:lnTo>
                    <a:lnTo>
                      <a:pt x="468" y="2421"/>
                    </a:lnTo>
                    <a:lnTo>
                      <a:pt x="458" y="2425"/>
                    </a:lnTo>
                    <a:lnTo>
                      <a:pt x="447" y="2426"/>
                    </a:lnTo>
                    <a:lnTo>
                      <a:pt x="447" y="2426"/>
                    </a:lnTo>
                    <a:close/>
                    <a:moveTo>
                      <a:pt x="2498" y="2301"/>
                    </a:moveTo>
                    <a:lnTo>
                      <a:pt x="2498" y="2301"/>
                    </a:lnTo>
                    <a:lnTo>
                      <a:pt x="2489" y="2296"/>
                    </a:lnTo>
                    <a:lnTo>
                      <a:pt x="2479" y="2291"/>
                    </a:lnTo>
                    <a:lnTo>
                      <a:pt x="2468" y="2289"/>
                    </a:lnTo>
                    <a:lnTo>
                      <a:pt x="2458" y="2288"/>
                    </a:lnTo>
                    <a:lnTo>
                      <a:pt x="2458" y="2288"/>
                    </a:lnTo>
                    <a:lnTo>
                      <a:pt x="2447" y="2289"/>
                    </a:lnTo>
                    <a:lnTo>
                      <a:pt x="2439" y="2291"/>
                    </a:lnTo>
                    <a:lnTo>
                      <a:pt x="2432" y="2296"/>
                    </a:lnTo>
                    <a:lnTo>
                      <a:pt x="2425" y="2302"/>
                    </a:lnTo>
                    <a:lnTo>
                      <a:pt x="2421" y="2310"/>
                    </a:lnTo>
                    <a:lnTo>
                      <a:pt x="2417" y="2319"/>
                    </a:lnTo>
                    <a:lnTo>
                      <a:pt x="2415" y="2331"/>
                    </a:lnTo>
                    <a:lnTo>
                      <a:pt x="2415" y="2345"/>
                    </a:lnTo>
                    <a:lnTo>
                      <a:pt x="2415" y="2477"/>
                    </a:lnTo>
                    <a:lnTo>
                      <a:pt x="2354" y="2477"/>
                    </a:lnTo>
                    <a:lnTo>
                      <a:pt x="2354" y="2233"/>
                    </a:lnTo>
                    <a:lnTo>
                      <a:pt x="2415" y="2233"/>
                    </a:lnTo>
                    <a:lnTo>
                      <a:pt x="2415" y="2254"/>
                    </a:lnTo>
                    <a:lnTo>
                      <a:pt x="2415" y="2254"/>
                    </a:lnTo>
                    <a:lnTo>
                      <a:pt x="2419" y="2248"/>
                    </a:lnTo>
                    <a:lnTo>
                      <a:pt x="2425" y="2241"/>
                    </a:lnTo>
                    <a:lnTo>
                      <a:pt x="2432" y="2238"/>
                    </a:lnTo>
                    <a:lnTo>
                      <a:pt x="2439" y="2234"/>
                    </a:lnTo>
                    <a:lnTo>
                      <a:pt x="2446" y="2231"/>
                    </a:lnTo>
                    <a:lnTo>
                      <a:pt x="2453" y="2229"/>
                    </a:lnTo>
                    <a:lnTo>
                      <a:pt x="2461" y="2228"/>
                    </a:lnTo>
                    <a:lnTo>
                      <a:pt x="2468" y="2227"/>
                    </a:lnTo>
                    <a:lnTo>
                      <a:pt x="2468" y="2227"/>
                    </a:lnTo>
                    <a:lnTo>
                      <a:pt x="2480" y="2228"/>
                    </a:lnTo>
                    <a:lnTo>
                      <a:pt x="2492" y="2232"/>
                    </a:lnTo>
                    <a:lnTo>
                      <a:pt x="2504" y="2237"/>
                    </a:lnTo>
                    <a:lnTo>
                      <a:pt x="2514" y="2243"/>
                    </a:lnTo>
                    <a:lnTo>
                      <a:pt x="2498" y="2301"/>
                    </a:lnTo>
                    <a:close/>
                    <a:moveTo>
                      <a:pt x="2022" y="2233"/>
                    </a:moveTo>
                    <a:lnTo>
                      <a:pt x="2082" y="2233"/>
                    </a:lnTo>
                    <a:lnTo>
                      <a:pt x="2012" y="2477"/>
                    </a:lnTo>
                    <a:lnTo>
                      <a:pt x="1960" y="2477"/>
                    </a:lnTo>
                    <a:lnTo>
                      <a:pt x="1933" y="2376"/>
                    </a:lnTo>
                    <a:lnTo>
                      <a:pt x="1933" y="2376"/>
                    </a:lnTo>
                    <a:lnTo>
                      <a:pt x="1920" y="2323"/>
                    </a:lnTo>
                    <a:lnTo>
                      <a:pt x="1920" y="2323"/>
                    </a:lnTo>
                    <a:lnTo>
                      <a:pt x="1914" y="2348"/>
                    </a:lnTo>
                    <a:lnTo>
                      <a:pt x="1907" y="2378"/>
                    </a:lnTo>
                    <a:lnTo>
                      <a:pt x="1880" y="2477"/>
                    </a:lnTo>
                    <a:lnTo>
                      <a:pt x="1828" y="2477"/>
                    </a:lnTo>
                    <a:lnTo>
                      <a:pt x="1826" y="2476"/>
                    </a:lnTo>
                    <a:lnTo>
                      <a:pt x="1758" y="2233"/>
                    </a:lnTo>
                    <a:lnTo>
                      <a:pt x="1820" y="2233"/>
                    </a:lnTo>
                    <a:lnTo>
                      <a:pt x="1843" y="2324"/>
                    </a:lnTo>
                    <a:lnTo>
                      <a:pt x="1843" y="2324"/>
                    </a:lnTo>
                    <a:lnTo>
                      <a:pt x="1849" y="2353"/>
                    </a:lnTo>
                    <a:lnTo>
                      <a:pt x="1856" y="2384"/>
                    </a:lnTo>
                    <a:lnTo>
                      <a:pt x="1856" y="2384"/>
                    </a:lnTo>
                    <a:lnTo>
                      <a:pt x="1862" y="2353"/>
                    </a:lnTo>
                    <a:lnTo>
                      <a:pt x="1870" y="2323"/>
                    </a:lnTo>
                    <a:lnTo>
                      <a:pt x="1896" y="2233"/>
                    </a:lnTo>
                    <a:lnTo>
                      <a:pt x="1947" y="2233"/>
                    </a:lnTo>
                    <a:lnTo>
                      <a:pt x="1972" y="2323"/>
                    </a:lnTo>
                    <a:lnTo>
                      <a:pt x="1972" y="2323"/>
                    </a:lnTo>
                    <a:lnTo>
                      <a:pt x="1979" y="2352"/>
                    </a:lnTo>
                    <a:lnTo>
                      <a:pt x="1987" y="2385"/>
                    </a:lnTo>
                    <a:lnTo>
                      <a:pt x="1987" y="2385"/>
                    </a:lnTo>
                    <a:lnTo>
                      <a:pt x="1993" y="2357"/>
                    </a:lnTo>
                    <a:lnTo>
                      <a:pt x="2000" y="2323"/>
                    </a:lnTo>
                    <a:lnTo>
                      <a:pt x="2022" y="2233"/>
                    </a:lnTo>
                    <a:close/>
                    <a:moveTo>
                      <a:pt x="2204" y="2227"/>
                    </a:moveTo>
                    <a:lnTo>
                      <a:pt x="2204" y="2227"/>
                    </a:lnTo>
                    <a:lnTo>
                      <a:pt x="2193" y="2228"/>
                    </a:lnTo>
                    <a:lnTo>
                      <a:pt x="2181" y="2229"/>
                    </a:lnTo>
                    <a:lnTo>
                      <a:pt x="2170" y="2233"/>
                    </a:lnTo>
                    <a:lnTo>
                      <a:pt x="2161" y="2237"/>
                    </a:lnTo>
                    <a:lnTo>
                      <a:pt x="2151" y="2241"/>
                    </a:lnTo>
                    <a:lnTo>
                      <a:pt x="2141" y="2249"/>
                    </a:lnTo>
                    <a:lnTo>
                      <a:pt x="2133" y="2255"/>
                    </a:lnTo>
                    <a:lnTo>
                      <a:pt x="2125" y="2263"/>
                    </a:lnTo>
                    <a:lnTo>
                      <a:pt x="2118" y="2272"/>
                    </a:lnTo>
                    <a:lnTo>
                      <a:pt x="2112" y="2282"/>
                    </a:lnTo>
                    <a:lnTo>
                      <a:pt x="2106" y="2293"/>
                    </a:lnTo>
                    <a:lnTo>
                      <a:pt x="2102" y="2303"/>
                    </a:lnTo>
                    <a:lnTo>
                      <a:pt x="2099" y="2316"/>
                    </a:lnTo>
                    <a:lnTo>
                      <a:pt x="2095" y="2329"/>
                    </a:lnTo>
                    <a:lnTo>
                      <a:pt x="2094" y="2341"/>
                    </a:lnTo>
                    <a:lnTo>
                      <a:pt x="2094" y="2356"/>
                    </a:lnTo>
                    <a:lnTo>
                      <a:pt x="2094" y="2356"/>
                    </a:lnTo>
                    <a:lnTo>
                      <a:pt x="2094" y="2369"/>
                    </a:lnTo>
                    <a:lnTo>
                      <a:pt x="2095" y="2382"/>
                    </a:lnTo>
                    <a:lnTo>
                      <a:pt x="2099" y="2395"/>
                    </a:lnTo>
                    <a:lnTo>
                      <a:pt x="2102" y="2407"/>
                    </a:lnTo>
                    <a:lnTo>
                      <a:pt x="2106" y="2418"/>
                    </a:lnTo>
                    <a:lnTo>
                      <a:pt x="2112" y="2429"/>
                    </a:lnTo>
                    <a:lnTo>
                      <a:pt x="2118" y="2438"/>
                    </a:lnTo>
                    <a:lnTo>
                      <a:pt x="2125" y="2447"/>
                    </a:lnTo>
                    <a:lnTo>
                      <a:pt x="2133" y="2455"/>
                    </a:lnTo>
                    <a:lnTo>
                      <a:pt x="2141" y="2463"/>
                    </a:lnTo>
                    <a:lnTo>
                      <a:pt x="2151" y="2469"/>
                    </a:lnTo>
                    <a:lnTo>
                      <a:pt x="2161" y="2474"/>
                    </a:lnTo>
                    <a:lnTo>
                      <a:pt x="2170" y="2477"/>
                    </a:lnTo>
                    <a:lnTo>
                      <a:pt x="2181" y="2481"/>
                    </a:lnTo>
                    <a:lnTo>
                      <a:pt x="2193" y="2482"/>
                    </a:lnTo>
                    <a:lnTo>
                      <a:pt x="2204" y="2483"/>
                    </a:lnTo>
                    <a:lnTo>
                      <a:pt x="2204" y="2483"/>
                    </a:lnTo>
                    <a:lnTo>
                      <a:pt x="2216" y="2482"/>
                    </a:lnTo>
                    <a:lnTo>
                      <a:pt x="2229" y="2481"/>
                    </a:lnTo>
                    <a:lnTo>
                      <a:pt x="2240" y="2477"/>
                    </a:lnTo>
                    <a:lnTo>
                      <a:pt x="2249" y="2474"/>
                    </a:lnTo>
                    <a:lnTo>
                      <a:pt x="2259" y="2469"/>
                    </a:lnTo>
                    <a:lnTo>
                      <a:pt x="2269" y="2463"/>
                    </a:lnTo>
                    <a:lnTo>
                      <a:pt x="2277" y="2455"/>
                    </a:lnTo>
                    <a:lnTo>
                      <a:pt x="2284" y="2447"/>
                    </a:lnTo>
                    <a:lnTo>
                      <a:pt x="2292" y="2438"/>
                    </a:lnTo>
                    <a:lnTo>
                      <a:pt x="2298" y="2429"/>
                    </a:lnTo>
                    <a:lnTo>
                      <a:pt x="2303" y="2418"/>
                    </a:lnTo>
                    <a:lnTo>
                      <a:pt x="2308" y="2407"/>
                    </a:lnTo>
                    <a:lnTo>
                      <a:pt x="2311" y="2395"/>
                    </a:lnTo>
                    <a:lnTo>
                      <a:pt x="2314" y="2382"/>
                    </a:lnTo>
                    <a:lnTo>
                      <a:pt x="2316" y="2369"/>
                    </a:lnTo>
                    <a:lnTo>
                      <a:pt x="2316" y="2356"/>
                    </a:lnTo>
                    <a:lnTo>
                      <a:pt x="2316" y="2356"/>
                    </a:lnTo>
                    <a:lnTo>
                      <a:pt x="2316" y="2341"/>
                    </a:lnTo>
                    <a:lnTo>
                      <a:pt x="2314" y="2329"/>
                    </a:lnTo>
                    <a:lnTo>
                      <a:pt x="2311" y="2316"/>
                    </a:lnTo>
                    <a:lnTo>
                      <a:pt x="2308" y="2303"/>
                    </a:lnTo>
                    <a:lnTo>
                      <a:pt x="2303" y="2293"/>
                    </a:lnTo>
                    <a:lnTo>
                      <a:pt x="2298" y="2282"/>
                    </a:lnTo>
                    <a:lnTo>
                      <a:pt x="2292" y="2272"/>
                    </a:lnTo>
                    <a:lnTo>
                      <a:pt x="2284" y="2263"/>
                    </a:lnTo>
                    <a:lnTo>
                      <a:pt x="2277" y="2255"/>
                    </a:lnTo>
                    <a:lnTo>
                      <a:pt x="2269" y="2249"/>
                    </a:lnTo>
                    <a:lnTo>
                      <a:pt x="2259" y="2241"/>
                    </a:lnTo>
                    <a:lnTo>
                      <a:pt x="2249" y="2237"/>
                    </a:lnTo>
                    <a:lnTo>
                      <a:pt x="2240" y="2233"/>
                    </a:lnTo>
                    <a:lnTo>
                      <a:pt x="2229" y="2229"/>
                    </a:lnTo>
                    <a:lnTo>
                      <a:pt x="2216" y="2228"/>
                    </a:lnTo>
                    <a:lnTo>
                      <a:pt x="2204" y="2227"/>
                    </a:lnTo>
                    <a:lnTo>
                      <a:pt x="2204" y="2227"/>
                    </a:lnTo>
                    <a:close/>
                    <a:moveTo>
                      <a:pt x="2204" y="2426"/>
                    </a:moveTo>
                    <a:lnTo>
                      <a:pt x="2204" y="2426"/>
                    </a:lnTo>
                    <a:lnTo>
                      <a:pt x="2193" y="2425"/>
                    </a:lnTo>
                    <a:lnTo>
                      <a:pt x="2185" y="2421"/>
                    </a:lnTo>
                    <a:lnTo>
                      <a:pt x="2176" y="2415"/>
                    </a:lnTo>
                    <a:lnTo>
                      <a:pt x="2169" y="2407"/>
                    </a:lnTo>
                    <a:lnTo>
                      <a:pt x="2163" y="2397"/>
                    </a:lnTo>
                    <a:lnTo>
                      <a:pt x="2158" y="2385"/>
                    </a:lnTo>
                    <a:lnTo>
                      <a:pt x="2156" y="2370"/>
                    </a:lnTo>
                    <a:lnTo>
                      <a:pt x="2156" y="2356"/>
                    </a:lnTo>
                    <a:lnTo>
                      <a:pt x="2156" y="2356"/>
                    </a:lnTo>
                    <a:lnTo>
                      <a:pt x="2156" y="2340"/>
                    </a:lnTo>
                    <a:lnTo>
                      <a:pt x="2158" y="2327"/>
                    </a:lnTo>
                    <a:lnTo>
                      <a:pt x="2163" y="2314"/>
                    </a:lnTo>
                    <a:lnTo>
                      <a:pt x="2169" y="2303"/>
                    </a:lnTo>
                    <a:lnTo>
                      <a:pt x="2176" y="2295"/>
                    </a:lnTo>
                    <a:lnTo>
                      <a:pt x="2185" y="2289"/>
                    </a:lnTo>
                    <a:lnTo>
                      <a:pt x="2193" y="2285"/>
                    </a:lnTo>
                    <a:lnTo>
                      <a:pt x="2204" y="2284"/>
                    </a:lnTo>
                    <a:lnTo>
                      <a:pt x="2204" y="2284"/>
                    </a:lnTo>
                    <a:lnTo>
                      <a:pt x="2215" y="2285"/>
                    </a:lnTo>
                    <a:lnTo>
                      <a:pt x="2225" y="2289"/>
                    </a:lnTo>
                    <a:lnTo>
                      <a:pt x="2233" y="2295"/>
                    </a:lnTo>
                    <a:lnTo>
                      <a:pt x="2241" y="2303"/>
                    </a:lnTo>
                    <a:lnTo>
                      <a:pt x="2247" y="2314"/>
                    </a:lnTo>
                    <a:lnTo>
                      <a:pt x="2250" y="2327"/>
                    </a:lnTo>
                    <a:lnTo>
                      <a:pt x="2253" y="2340"/>
                    </a:lnTo>
                    <a:lnTo>
                      <a:pt x="2254" y="2356"/>
                    </a:lnTo>
                    <a:lnTo>
                      <a:pt x="2254" y="2356"/>
                    </a:lnTo>
                    <a:lnTo>
                      <a:pt x="2253" y="2370"/>
                    </a:lnTo>
                    <a:lnTo>
                      <a:pt x="2250" y="2385"/>
                    </a:lnTo>
                    <a:lnTo>
                      <a:pt x="2247" y="2397"/>
                    </a:lnTo>
                    <a:lnTo>
                      <a:pt x="2241" y="2407"/>
                    </a:lnTo>
                    <a:lnTo>
                      <a:pt x="2233" y="2415"/>
                    </a:lnTo>
                    <a:lnTo>
                      <a:pt x="2225" y="2421"/>
                    </a:lnTo>
                    <a:lnTo>
                      <a:pt x="2215" y="2425"/>
                    </a:lnTo>
                    <a:lnTo>
                      <a:pt x="2204" y="2426"/>
                    </a:lnTo>
                    <a:lnTo>
                      <a:pt x="2204" y="2426"/>
                    </a:lnTo>
                    <a:close/>
                    <a:moveTo>
                      <a:pt x="921" y="2313"/>
                    </a:moveTo>
                    <a:lnTo>
                      <a:pt x="995" y="2477"/>
                    </a:lnTo>
                    <a:lnTo>
                      <a:pt x="928" y="2477"/>
                    </a:lnTo>
                    <a:lnTo>
                      <a:pt x="877" y="2364"/>
                    </a:lnTo>
                    <a:lnTo>
                      <a:pt x="845" y="2404"/>
                    </a:lnTo>
                    <a:lnTo>
                      <a:pt x="845" y="2477"/>
                    </a:lnTo>
                    <a:lnTo>
                      <a:pt x="785" y="2477"/>
                    </a:lnTo>
                    <a:lnTo>
                      <a:pt x="785" y="2161"/>
                    </a:lnTo>
                    <a:lnTo>
                      <a:pt x="845" y="2131"/>
                    </a:lnTo>
                    <a:lnTo>
                      <a:pt x="845" y="2327"/>
                    </a:lnTo>
                    <a:lnTo>
                      <a:pt x="845" y="2327"/>
                    </a:lnTo>
                    <a:lnTo>
                      <a:pt x="868" y="2295"/>
                    </a:lnTo>
                    <a:lnTo>
                      <a:pt x="916" y="2233"/>
                    </a:lnTo>
                    <a:lnTo>
                      <a:pt x="987" y="2233"/>
                    </a:lnTo>
                    <a:lnTo>
                      <a:pt x="921" y="2313"/>
                    </a:lnTo>
                    <a:close/>
                    <a:moveTo>
                      <a:pt x="1208" y="2477"/>
                    </a:moveTo>
                    <a:lnTo>
                      <a:pt x="1147" y="2477"/>
                    </a:lnTo>
                    <a:lnTo>
                      <a:pt x="1147" y="2233"/>
                    </a:lnTo>
                    <a:lnTo>
                      <a:pt x="1208" y="2233"/>
                    </a:lnTo>
                    <a:lnTo>
                      <a:pt x="1208" y="2254"/>
                    </a:lnTo>
                    <a:lnTo>
                      <a:pt x="1208" y="2254"/>
                    </a:lnTo>
                    <a:lnTo>
                      <a:pt x="1214" y="2248"/>
                    </a:lnTo>
                    <a:lnTo>
                      <a:pt x="1220" y="2243"/>
                    </a:lnTo>
                    <a:lnTo>
                      <a:pt x="1227" y="2238"/>
                    </a:lnTo>
                    <a:lnTo>
                      <a:pt x="1235" y="2234"/>
                    </a:lnTo>
                    <a:lnTo>
                      <a:pt x="1243" y="2232"/>
                    </a:lnTo>
                    <a:lnTo>
                      <a:pt x="1252" y="2229"/>
                    </a:lnTo>
                    <a:lnTo>
                      <a:pt x="1260" y="2228"/>
                    </a:lnTo>
                    <a:lnTo>
                      <a:pt x="1270" y="2227"/>
                    </a:lnTo>
                    <a:lnTo>
                      <a:pt x="1270" y="2227"/>
                    </a:lnTo>
                    <a:lnTo>
                      <a:pt x="1281" y="2228"/>
                    </a:lnTo>
                    <a:lnTo>
                      <a:pt x="1290" y="2229"/>
                    </a:lnTo>
                    <a:lnTo>
                      <a:pt x="1299" y="2232"/>
                    </a:lnTo>
                    <a:lnTo>
                      <a:pt x="1309" y="2234"/>
                    </a:lnTo>
                    <a:lnTo>
                      <a:pt x="1316" y="2239"/>
                    </a:lnTo>
                    <a:lnTo>
                      <a:pt x="1323" y="2244"/>
                    </a:lnTo>
                    <a:lnTo>
                      <a:pt x="1331" y="2249"/>
                    </a:lnTo>
                    <a:lnTo>
                      <a:pt x="1337" y="2256"/>
                    </a:lnTo>
                    <a:lnTo>
                      <a:pt x="1342" y="2263"/>
                    </a:lnTo>
                    <a:lnTo>
                      <a:pt x="1346" y="2272"/>
                    </a:lnTo>
                    <a:lnTo>
                      <a:pt x="1350" y="2280"/>
                    </a:lnTo>
                    <a:lnTo>
                      <a:pt x="1354" y="2291"/>
                    </a:lnTo>
                    <a:lnTo>
                      <a:pt x="1356" y="2302"/>
                    </a:lnTo>
                    <a:lnTo>
                      <a:pt x="1357" y="2313"/>
                    </a:lnTo>
                    <a:lnTo>
                      <a:pt x="1359" y="2325"/>
                    </a:lnTo>
                    <a:lnTo>
                      <a:pt x="1360" y="2339"/>
                    </a:lnTo>
                    <a:lnTo>
                      <a:pt x="1360" y="2477"/>
                    </a:lnTo>
                    <a:lnTo>
                      <a:pt x="1299" y="2477"/>
                    </a:lnTo>
                    <a:lnTo>
                      <a:pt x="1299" y="2342"/>
                    </a:lnTo>
                    <a:lnTo>
                      <a:pt x="1299" y="2342"/>
                    </a:lnTo>
                    <a:lnTo>
                      <a:pt x="1298" y="2329"/>
                    </a:lnTo>
                    <a:lnTo>
                      <a:pt x="1297" y="2316"/>
                    </a:lnTo>
                    <a:lnTo>
                      <a:pt x="1293" y="2306"/>
                    </a:lnTo>
                    <a:lnTo>
                      <a:pt x="1288" y="2297"/>
                    </a:lnTo>
                    <a:lnTo>
                      <a:pt x="1282" y="2291"/>
                    </a:lnTo>
                    <a:lnTo>
                      <a:pt x="1275" y="2286"/>
                    </a:lnTo>
                    <a:lnTo>
                      <a:pt x="1265" y="2284"/>
                    </a:lnTo>
                    <a:lnTo>
                      <a:pt x="1254" y="2283"/>
                    </a:lnTo>
                    <a:lnTo>
                      <a:pt x="1254" y="2283"/>
                    </a:lnTo>
                    <a:lnTo>
                      <a:pt x="1244" y="2284"/>
                    </a:lnTo>
                    <a:lnTo>
                      <a:pt x="1235" y="2286"/>
                    </a:lnTo>
                    <a:lnTo>
                      <a:pt x="1226" y="2291"/>
                    </a:lnTo>
                    <a:lnTo>
                      <a:pt x="1220" y="2299"/>
                    </a:lnTo>
                    <a:lnTo>
                      <a:pt x="1215" y="2306"/>
                    </a:lnTo>
                    <a:lnTo>
                      <a:pt x="1212" y="2317"/>
                    </a:lnTo>
                    <a:lnTo>
                      <a:pt x="1209" y="2329"/>
                    </a:lnTo>
                    <a:lnTo>
                      <a:pt x="1208" y="2342"/>
                    </a:lnTo>
                    <a:lnTo>
                      <a:pt x="1208" y="2477"/>
                    </a:lnTo>
                    <a:close/>
                    <a:moveTo>
                      <a:pt x="1551" y="2250"/>
                    </a:moveTo>
                    <a:lnTo>
                      <a:pt x="1551" y="2250"/>
                    </a:lnTo>
                    <a:lnTo>
                      <a:pt x="1544" y="2245"/>
                    </a:lnTo>
                    <a:lnTo>
                      <a:pt x="1538" y="2240"/>
                    </a:lnTo>
                    <a:lnTo>
                      <a:pt x="1532" y="2237"/>
                    </a:lnTo>
                    <a:lnTo>
                      <a:pt x="1525" y="2233"/>
                    </a:lnTo>
                    <a:lnTo>
                      <a:pt x="1518" y="2231"/>
                    </a:lnTo>
                    <a:lnTo>
                      <a:pt x="1510" y="2229"/>
                    </a:lnTo>
                    <a:lnTo>
                      <a:pt x="1503" y="2228"/>
                    </a:lnTo>
                    <a:lnTo>
                      <a:pt x="1496" y="2227"/>
                    </a:lnTo>
                    <a:lnTo>
                      <a:pt x="1496" y="2227"/>
                    </a:lnTo>
                    <a:lnTo>
                      <a:pt x="1485" y="2228"/>
                    </a:lnTo>
                    <a:lnTo>
                      <a:pt x="1475" y="2229"/>
                    </a:lnTo>
                    <a:lnTo>
                      <a:pt x="1465" y="2232"/>
                    </a:lnTo>
                    <a:lnTo>
                      <a:pt x="1456" y="2237"/>
                    </a:lnTo>
                    <a:lnTo>
                      <a:pt x="1447" y="2240"/>
                    </a:lnTo>
                    <a:lnTo>
                      <a:pt x="1440" y="2246"/>
                    </a:lnTo>
                    <a:lnTo>
                      <a:pt x="1433" y="2254"/>
                    </a:lnTo>
                    <a:lnTo>
                      <a:pt x="1425" y="2261"/>
                    </a:lnTo>
                    <a:lnTo>
                      <a:pt x="1419" y="2269"/>
                    </a:lnTo>
                    <a:lnTo>
                      <a:pt x="1414" y="2279"/>
                    </a:lnTo>
                    <a:lnTo>
                      <a:pt x="1410" y="2289"/>
                    </a:lnTo>
                    <a:lnTo>
                      <a:pt x="1406" y="2301"/>
                    </a:lnTo>
                    <a:lnTo>
                      <a:pt x="1404" y="2312"/>
                    </a:lnTo>
                    <a:lnTo>
                      <a:pt x="1401" y="2325"/>
                    </a:lnTo>
                    <a:lnTo>
                      <a:pt x="1400" y="2339"/>
                    </a:lnTo>
                    <a:lnTo>
                      <a:pt x="1400" y="2352"/>
                    </a:lnTo>
                    <a:lnTo>
                      <a:pt x="1400" y="2352"/>
                    </a:lnTo>
                    <a:lnTo>
                      <a:pt x="1400" y="2368"/>
                    </a:lnTo>
                    <a:lnTo>
                      <a:pt x="1401" y="2381"/>
                    </a:lnTo>
                    <a:lnTo>
                      <a:pt x="1404" y="2395"/>
                    </a:lnTo>
                    <a:lnTo>
                      <a:pt x="1406" y="2408"/>
                    </a:lnTo>
                    <a:lnTo>
                      <a:pt x="1410" y="2419"/>
                    </a:lnTo>
                    <a:lnTo>
                      <a:pt x="1414" y="2430"/>
                    </a:lnTo>
                    <a:lnTo>
                      <a:pt x="1419" y="2440"/>
                    </a:lnTo>
                    <a:lnTo>
                      <a:pt x="1425" y="2448"/>
                    </a:lnTo>
                    <a:lnTo>
                      <a:pt x="1431" y="2457"/>
                    </a:lnTo>
                    <a:lnTo>
                      <a:pt x="1439" y="2463"/>
                    </a:lnTo>
                    <a:lnTo>
                      <a:pt x="1446" y="2469"/>
                    </a:lnTo>
                    <a:lnTo>
                      <a:pt x="1455" y="2474"/>
                    </a:lnTo>
                    <a:lnTo>
                      <a:pt x="1464" y="2477"/>
                    </a:lnTo>
                    <a:lnTo>
                      <a:pt x="1474" y="2481"/>
                    </a:lnTo>
                    <a:lnTo>
                      <a:pt x="1484" y="2482"/>
                    </a:lnTo>
                    <a:lnTo>
                      <a:pt x="1495" y="2483"/>
                    </a:lnTo>
                    <a:lnTo>
                      <a:pt x="1495" y="2483"/>
                    </a:lnTo>
                    <a:lnTo>
                      <a:pt x="1502" y="2482"/>
                    </a:lnTo>
                    <a:lnTo>
                      <a:pt x="1510" y="2481"/>
                    </a:lnTo>
                    <a:lnTo>
                      <a:pt x="1518" y="2480"/>
                    </a:lnTo>
                    <a:lnTo>
                      <a:pt x="1525" y="2477"/>
                    </a:lnTo>
                    <a:lnTo>
                      <a:pt x="1531" y="2474"/>
                    </a:lnTo>
                    <a:lnTo>
                      <a:pt x="1538" y="2470"/>
                    </a:lnTo>
                    <a:lnTo>
                      <a:pt x="1544" y="2465"/>
                    </a:lnTo>
                    <a:lnTo>
                      <a:pt x="1551" y="2459"/>
                    </a:lnTo>
                    <a:lnTo>
                      <a:pt x="1551" y="2465"/>
                    </a:lnTo>
                    <a:lnTo>
                      <a:pt x="1551" y="2465"/>
                    </a:lnTo>
                    <a:lnTo>
                      <a:pt x="1551" y="2475"/>
                    </a:lnTo>
                    <a:lnTo>
                      <a:pt x="1549" y="2486"/>
                    </a:lnTo>
                    <a:lnTo>
                      <a:pt x="1546" y="2497"/>
                    </a:lnTo>
                    <a:lnTo>
                      <a:pt x="1543" y="2502"/>
                    </a:lnTo>
                    <a:lnTo>
                      <a:pt x="1541" y="2506"/>
                    </a:lnTo>
                    <a:lnTo>
                      <a:pt x="1536" y="2511"/>
                    </a:lnTo>
                    <a:lnTo>
                      <a:pt x="1531" y="2516"/>
                    </a:lnTo>
                    <a:lnTo>
                      <a:pt x="1525" y="2520"/>
                    </a:lnTo>
                    <a:lnTo>
                      <a:pt x="1518" y="2524"/>
                    </a:lnTo>
                    <a:lnTo>
                      <a:pt x="1508" y="2526"/>
                    </a:lnTo>
                    <a:lnTo>
                      <a:pt x="1498" y="2528"/>
                    </a:lnTo>
                    <a:lnTo>
                      <a:pt x="1486" y="2530"/>
                    </a:lnTo>
                    <a:lnTo>
                      <a:pt x="1472" y="2530"/>
                    </a:lnTo>
                    <a:lnTo>
                      <a:pt x="1469" y="2530"/>
                    </a:lnTo>
                    <a:lnTo>
                      <a:pt x="1491" y="2577"/>
                    </a:lnTo>
                    <a:lnTo>
                      <a:pt x="1492" y="2577"/>
                    </a:lnTo>
                    <a:lnTo>
                      <a:pt x="1492" y="2577"/>
                    </a:lnTo>
                    <a:lnTo>
                      <a:pt x="1507" y="2577"/>
                    </a:lnTo>
                    <a:lnTo>
                      <a:pt x="1520" y="2576"/>
                    </a:lnTo>
                    <a:lnTo>
                      <a:pt x="1532" y="2572"/>
                    </a:lnTo>
                    <a:lnTo>
                      <a:pt x="1544" y="2570"/>
                    </a:lnTo>
                    <a:lnTo>
                      <a:pt x="1555" y="2565"/>
                    </a:lnTo>
                    <a:lnTo>
                      <a:pt x="1565" y="2560"/>
                    </a:lnTo>
                    <a:lnTo>
                      <a:pt x="1574" y="2554"/>
                    </a:lnTo>
                    <a:lnTo>
                      <a:pt x="1581" y="2547"/>
                    </a:lnTo>
                    <a:lnTo>
                      <a:pt x="1588" y="2538"/>
                    </a:lnTo>
                    <a:lnTo>
                      <a:pt x="1594" y="2530"/>
                    </a:lnTo>
                    <a:lnTo>
                      <a:pt x="1599" y="2519"/>
                    </a:lnTo>
                    <a:lnTo>
                      <a:pt x="1603" y="2508"/>
                    </a:lnTo>
                    <a:lnTo>
                      <a:pt x="1606" y="2497"/>
                    </a:lnTo>
                    <a:lnTo>
                      <a:pt x="1609" y="2483"/>
                    </a:lnTo>
                    <a:lnTo>
                      <a:pt x="1610" y="2470"/>
                    </a:lnTo>
                    <a:lnTo>
                      <a:pt x="1610" y="2455"/>
                    </a:lnTo>
                    <a:lnTo>
                      <a:pt x="1610" y="2233"/>
                    </a:lnTo>
                    <a:lnTo>
                      <a:pt x="1551" y="2233"/>
                    </a:lnTo>
                    <a:lnTo>
                      <a:pt x="1551" y="2250"/>
                    </a:lnTo>
                    <a:close/>
                    <a:moveTo>
                      <a:pt x="1551" y="2307"/>
                    </a:moveTo>
                    <a:lnTo>
                      <a:pt x="1551" y="2403"/>
                    </a:lnTo>
                    <a:lnTo>
                      <a:pt x="1551" y="2403"/>
                    </a:lnTo>
                    <a:lnTo>
                      <a:pt x="1542" y="2412"/>
                    </a:lnTo>
                    <a:lnTo>
                      <a:pt x="1534" y="2420"/>
                    </a:lnTo>
                    <a:lnTo>
                      <a:pt x="1527" y="2423"/>
                    </a:lnTo>
                    <a:lnTo>
                      <a:pt x="1521" y="2425"/>
                    </a:lnTo>
                    <a:lnTo>
                      <a:pt x="1515" y="2426"/>
                    </a:lnTo>
                    <a:lnTo>
                      <a:pt x="1507" y="2427"/>
                    </a:lnTo>
                    <a:lnTo>
                      <a:pt x="1507" y="2427"/>
                    </a:lnTo>
                    <a:lnTo>
                      <a:pt x="1499" y="2426"/>
                    </a:lnTo>
                    <a:lnTo>
                      <a:pt x="1491" y="2424"/>
                    </a:lnTo>
                    <a:lnTo>
                      <a:pt x="1484" y="2420"/>
                    </a:lnTo>
                    <a:lnTo>
                      <a:pt x="1476" y="2413"/>
                    </a:lnTo>
                    <a:lnTo>
                      <a:pt x="1470" y="2403"/>
                    </a:lnTo>
                    <a:lnTo>
                      <a:pt x="1465" y="2390"/>
                    </a:lnTo>
                    <a:lnTo>
                      <a:pt x="1463" y="2373"/>
                    </a:lnTo>
                    <a:lnTo>
                      <a:pt x="1462" y="2351"/>
                    </a:lnTo>
                    <a:lnTo>
                      <a:pt x="1462" y="2351"/>
                    </a:lnTo>
                    <a:lnTo>
                      <a:pt x="1463" y="2333"/>
                    </a:lnTo>
                    <a:lnTo>
                      <a:pt x="1465" y="2317"/>
                    </a:lnTo>
                    <a:lnTo>
                      <a:pt x="1470" y="2305"/>
                    </a:lnTo>
                    <a:lnTo>
                      <a:pt x="1476" y="2296"/>
                    </a:lnTo>
                    <a:lnTo>
                      <a:pt x="1484" y="2290"/>
                    </a:lnTo>
                    <a:lnTo>
                      <a:pt x="1491" y="2285"/>
                    </a:lnTo>
                    <a:lnTo>
                      <a:pt x="1499" y="2284"/>
                    </a:lnTo>
                    <a:lnTo>
                      <a:pt x="1507" y="2283"/>
                    </a:lnTo>
                    <a:lnTo>
                      <a:pt x="1507" y="2283"/>
                    </a:lnTo>
                    <a:lnTo>
                      <a:pt x="1515" y="2284"/>
                    </a:lnTo>
                    <a:lnTo>
                      <a:pt x="1523" y="2285"/>
                    </a:lnTo>
                    <a:lnTo>
                      <a:pt x="1529" y="2288"/>
                    </a:lnTo>
                    <a:lnTo>
                      <a:pt x="1535" y="2291"/>
                    </a:lnTo>
                    <a:lnTo>
                      <a:pt x="1540" y="2295"/>
                    </a:lnTo>
                    <a:lnTo>
                      <a:pt x="1543" y="2299"/>
                    </a:lnTo>
                    <a:lnTo>
                      <a:pt x="1551" y="2307"/>
                    </a:lnTo>
                    <a:lnTo>
                      <a:pt x="1551" y="2307"/>
                    </a:lnTo>
                    <a:close/>
                    <a:moveTo>
                      <a:pt x="1033" y="2233"/>
                    </a:moveTo>
                    <a:lnTo>
                      <a:pt x="1094" y="2233"/>
                    </a:lnTo>
                    <a:lnTo>
                      <a:pt x="1094" y="2341"/>
                    </a:lnTo>
                    <a:lnTo>
                      <a:pt x="1094" y="2477"/>
                    </a:lnTo>
                    <a:lnTo>
                      <a:pt x="1033" y="2477"/>
                    </a:lnTo>
                    <a:lnTo>
                      <a:pt x="1033" y="2233"/>
                    </a:lnTo>
                    <a:close/>
                    <a:moveTo>
                      <a:pt x="1094" y="2167"/>
                    </a:moveTo>
                    <a:lnTo>
                      <a:pt x="1094" y="2198"/>
                    </a:lnTo>
                    <a:lnTo>
                      <a:pt x="1033" y="2198"/>
                    </a:lnTo>
                    <a:lnTo>
                      <a:pt x="1033" y="2137"/>
                    </a:lnTo>
                    <a:lnTo>
                      <a:pt x="1094" y="2137"/>
                    </a:lnTo>
                    <a:lnTo>
                      <a:pt x="1094" y="2167"/>
                    </a:lnTo>
                    <a:close/>
                    <a:moveTo>
                      <a:pt x="2542" y="2161"/>
                    </a:moveTo>
                    <a:lnTo>
                      <a:pt x="2603" y="2131"/>
                    </a:lnTo>
                    <a:lnTo>
                      <a:pt x="2603" y="2352"/>
                    </a:lnTo>
                    <a:lnTo>
                      <a:pt x="2603" y="2477"/>
                    </a:lnTo>
                    <a:lnTo>
                      <a:pt x="2542" y="2477"/>
                    </a:lnTo>
                    <a:lnTo>
                      <a:pt x="2542" y="2161"/>
                    </a:lnTo>
                    <a:close/>
                    <a:moveTo>
                      <a:pt x="437" y="834"/>
                    </a:moveTo>
                    <a:lnTo>
                      <a:pt x="936" y="834"/>
                    </a:lnTo>
                    <a:lnTo>
                      <a:pt x="936" y="544"/>
                    </a:lnTo>
                    <a:lnTo>
                      <a:pt x="437" y="544"/>
                    </a:lnTo>
                    <a:lnTo>
                      <a:pt x="437" y="317"/>
                    </a:lnTo>
                    <a:lnTo>
                      <a:pt x="989" y="317"/>
                    </a:lnTo>
                    <a:lnTo>
                      <a:pt x="806" y="0"/>
                    </a:lnTo>
                    <a:lnTo>
                      <a:pt x="24" y="0"/>
                    </a:lnTo>
                    <a:lnTo>
                      <a:pt x="24" y="1378"/>
                    </a:lnTo>
                    <a:lnTo>
                      <a:pt x="1126" y="1378"/>
                    </a:lnTo>
                    <a:lnTo>
                      <a:pt x="1126" y="1061"/>
                    </a:lnTo>
                    <a:lnTo>
                      <a:pt x="437" y="1061"/>
                    </a:lnTo>
                    <a:lnTo>
                      <a:pt x="437" y="834"/>
                    </a:lnTo>
                    <a:close/>
                    <a:moveTo>
                      <a:pt x="1860" y="0"/>
                    </a:moveTo>
                    <a:lnTo>
                      <a:pt x="1626" y="450"/>
                    </a:lnTo>
                    <a:lnTo>
                      <a:pt x="1393" y="0"/>
                    </a:lnTo>
                    <a:lnTo>
                      <a:pt x="936" y="0"/>
                    </a:lnTo>
                    <a:lnTo>
                      <a:pt x="1417" y="834"/>
                    </a:lnTo>
                    <a:lnTo>
                      <a:pt x="1417" y="1378"/>
                    </a:lnTo>
                    <a:lnTo>
                      <a:pt x="1829" y="1378"/>
                    </a:lnTo>
                    <a:lnTo>
                      <a:pt x="1829" y="834"/>
                    </a:lnTo>
                    <a:lnTo>
                      <a:pt x="2311" y="0"/>
                    </a:lnTo>
                    <a:lnTo>
                      <a:pt x="18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</p:grpSp>
        <p:sp>
          <p:nvSpPr>
            <p:cNvPr id="40" name="Content Placeholder 5">
              <a:extLst>
                <a:ext uri="{FF2B5EF4-FFF2-40B4-BE49-F238E27FC236}">
                  <a16:creationId xmlns:a16="http://schemas.microsoft.com/office/drawing/2014/main" id="{3C1ADC1C-DD59-421E-A56D-4A2DD6F6DDC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28588" y="-12187"/>
              <a:ext cx="799089" cy="310587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Context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&amp; Scope</a:t>
              </a:r>
            </a:p>
          </p:txBody>
        </p:sp>
        <p:sp>
          <p:nvSpPr>
            <p:cNvPr id="41" name="Content Placeholder 5">
              <a:extLst>
                <a:ext uri="{FF2B5EF4-FFF2-40B4-BE49-F238E27FC236}">
                  <a16:creationId xmlns:a16="http://schemas.microsoft.com/office/drawing/2014/main" id="{4918DAB4-0E91-4446-BCC0-D5D97A24B64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653573" y="1246"/>
              <a:ext cx="1008804" cy="283721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en-US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 Timeline</a:t>
              </a:r>
            </a:p>
          </p:txBody>
        </p:sp>
        <p:sp>
          <p:nvSpPr>
            <p:cNvPr id="42" name="Content Placeholder 5">
              <a:extLst>
                <a:ext uri="{FF2B5EF4-FFF2-40B4-BE49-F238E27FC236}">
                  <a16:creationId xmlns:a16="http://schemas.microsoft.com/office/drawing/2014/main" id="{9990C9A7-C6AC-49E5-9B86-CFD17BC592D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77810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Detailed Scope &amp; Assumptions</a:t>
              </a:r>
            </a:p>
          </p:txBody>
        </p:sp>
        <p:sp>
          <p:nvSpPr>
            <p:cNvPr id="43" name="Content Placeholder 5">
              <a:extLst>
                <a:ext uri="{FF2B5EF4-FFF2-40B4-BE49-F238E27FC236}">
                  <a16:creationId xmlns:a16="http://schemas.microsoft.com/office/drawing/2014/main" id="{D2637040-3EE7-4996-90C8-2487077F0D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97101" y="47457"/>
              <a:ext cx="1279397" cy="191298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b="1" kern="0" err="1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Proposed</a:t>
              </a: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 Solution &amp; </a:t>
              </a:r>
              <a:r>
                <a:rPr lang="fr-FR" sz="800" b="1" kern="0" err="1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Approach</a:t>
              </a:r>
              <a:endParaRPr lang="fr-FR" sz="800" b="1" kern="0">
                <a:solidFill>
                  <a:srgbClr val="FFE600"/>
                </a:solidFill>
                <a:latin typeface="EYInterstate Bold" panose="02000803030000020004" pitchFamily="2" charset="0"/>
                <a:ea typeface="+mn-ea"/>
                <a:cs typeface="+mn-cs"/>
              </a:endParaRPr>
            </a:p>
          </p:txBody>
        </p:sp>
        <p:sp>
          <p:nvSpPr>
            <p:cNvPr id="44" name="Content Placeholder 5">
              <a:extLst>
                <a:ext uri="{FF2B5EF4-FFF2-40B4-BE49-F238E27FC236}">
                  <a16:creationId xmlns:a16="http://schemas.microsoft.com/office/drawing/2014/main" id="{EDC18D8A-B872-42FC-AB76-8DCEC0131F9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45922" y="75112"/>
              <a:ext cx="1138227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ject Team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Governance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5" name="Content Placeholder 5">
              <a:extLst>
                <a:ext uri="{FF2B5EF4-FFF2-40B4-BE49-F238E27FC236}">
                  <a16:creationId xmlns:a16="http://schemas.microsoft.com/office/drawing/2014/main" id="{E5AFB42F-AD6D-4928-A5C0-8DAB9515B34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31801" y="75112"/>
              <a:ext cx="1097554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Value Proposition</a:t>
              </a:r>
            </a:p>
          </p:txBody>
        </p:sp>
        <p:sp>
          <p:nvSpPr>
            <p:cNvPr id="46" name="Content Placeholder 5">
              <a:extLst>
                <a:ext uri="{FF2B5EF4-FFF2-40B4-BE49-F238E27FC236}">
                  <a16:creationId xmlns:a16="http://schemas.microsoft.com/office/drawing/2014/main" id="{F5143612-8AA3-4ED9-9477-3342A2E8B66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734717" y="79567"/>
              <a:ext cx="773670" cy="12707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Teams Profiles</a:t>
              </a:r>
            </a:p>
          </p:txBody>
        </p:sp>
        <p:sp>
          <p:nvSpPr>
            <p:cNvPr id="47" name="Content Placeholder 5">
              <a:extLst>
                <a:ext uri="{FF2B5EF4-FFF2-40B4-BE49-F238E27FC236}">
                  <a16:creationId xmlns:a16="http://schemas.microsoft.com/office/drawing/2014/main" id="{9DFC2CD6-0126-4810-92CF-879071010E1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98779" y="54928"/>
              <a:ext cx="866515" cy="1763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Credentials</a:t>
              </a:r>
            </a:p>
          </p:txBody>
        </p:sp>
        <p:sp>
          <p:nvSpPr>
            <p:cNvPr id="48" name="Content Placeholder 5">
              <a:extLst>
                <a:ext uri="{FF2B5EF4-FFF2-40B4-BE49-F238E27FC236}">
                  <a16:creationId xmlns:a16="http://schemas.microsoft.com/office/drawing/2014/main" id="{7D0FF8F6-30B4-474B-9758-D287F6DA934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229765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end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42589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ECDA38-9A54-405F-83FD-C2C8A8B87B3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9B05771F-985B-43A3-B810-16E3E1851D68}" type="datetime3">
              <a:rPr lang="en-US" smtClean="0"/>
              <a:t>2 July 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4A337-C481-46B0-A487-BEEC61FC34F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6212A2-9F1E-4808-9F79-71FEE70E5D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81981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8ABFE52-8B9C-459B-B350-E3ADCFE74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55931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675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506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99017" indent="-99017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506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45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06154" indent="-106154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45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68484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266A06-263B-4A4A-913D-FDC2AFF122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55931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675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506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99017" indent="-99017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506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45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06154" indent="-106154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45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324135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1B113FC-110C-4156-AE54-B6BF409697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55931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675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506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99017" indent="-99017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506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45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06154" indent="-106154" algn="l" defTabSz="5593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45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031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26739" y="457199"/>
            <a:ext cx="6009412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8544" tIns="34272" rIns="68544" bIns="34272" numCol="1" anchor="t" anchorCtr="0" compatLnSpc="1">
            <a:prstTxWarp prst="textNoShape">
              <a:avLst/>
            </a:prstTxWarp>
          </a:bodyPr>
          <a:lstStyle/>
          <a:p>
            <a:endParaRPr lang="en-GB" sz="1349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00160" y="1677507"/>
            <a:ext cx="6583680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/>
              <a:t>Title (EY Interstate Light </a:t>
            </a:r>
            <a:br>
              <a:rPr lang="en-GB"/>
            </a:br>
            <a:r>
              <a:rPr lang="en-GB"/>
              <a:t>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0160" y="2685128"/>
            <a:ext cx="6583680" cy="645742"/>
          </a:xfrm>
        </p:spPr>
        <p:txBody>
          <a:bodyPr/>
          <a:lstStyle>
            <a:lvl1pPr marL="0" marR="0" indent="0" algn="l" defTabSz="68545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199">
                <a:solidFill>
                  <a:srgbClr val="404040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rgbClr val="404040"/>
                </a:solidFill>
              </a:defRPr>
            </a:lvl2pPr>
            <a:lvl3pPr marL="685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199"/>
              <a:t>Subtitle (EY Interstate 16 point)</a:t>
            </a:r>
          </a:p>
          <a:p>
            <a:pPr marL="0" marR="0" lvl="0" indent="0" algn="l" defTabSz="68545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>
                <a:latin typeface="EYInterstate Regular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777580" y="5691442"/>
            <a:ext cx="755904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615982" y="5587587"/>
            <a:ext cx="1393431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77581" y="6001571"/>
            <a:ext cx="4119033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7581" y="6199189"/>
            <a:ext cx="4119033" cy="180000"/>
          </a:xfrm>
        </p:spPr>
        <p:txBody>
          <a:bodyPr/>
          <a:lstStyle>
            <a:lvl1pPr marL="0" indent="0">
              <a:buNone/>
              <a:defRPr sz="9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5977" y="5897024"/>
            <a:ext cx="768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396E1D-5C76-4ADE-9002-02AC4DD83A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481" y="5340096"/>
            <a:ext cx="1316736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167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2800" cy="5943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2" y="1442718"/>
            <a:ext cx="4954924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50" y="3990497"/>
            <a:ext cx="3087667" cy="180000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50" y="4233140"/>
            <a:ext cx="3087667" cy="180000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2" y="3882880"/>
            <a:ext cx="778553" cy="58521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506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3" y="1442723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3" y="1939806"/>
            <a:ext cx="5462580" cy="1611554"/>
          </a:xfrm>
        </p:spPr>
        <p:txBody>
          <a:bodyPr/>
          <a:lstStyle>
            <a:lvl1pPr marL="0" indent="0">
              <a:buNone/>
              <a:defRPr sz="8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0865A7-88A1-4179-82B7-13BDA35F141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EBEDFAA0-E69B-4776-9581-7FC7C8BA877E}" type="datetime3">
              <a:rPr lang="en-US" smtClean="0"/>
              <a:t>2 July 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7C51E9-620F-4C67-9485-FC4B1DECDB1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E53B3B-B504-465C-9948-C1D8C2E6999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BC3BE292-A77B-0C9E-29BE-6D305DC8F482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609282" y="884600"/>
            <a:ext cx="11118430" cy="23150"/>
          </a:xfrm>
          <a:prstGeom prst="line">
            <a:avLst/>
          </a:prstGeom>
          <a:noFill/>
          <a:ln w="19050">
            <a:solidFill>
              <a:srgbClr val="FFE6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9976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4"/>
            <a:ext cx="2383219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2" y="294200"/>
            <a:ext cx="8887371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2" y="1137921"/>
            <a:ext cx="2741455" cy="5018184"/>
          </a:xfrm>
        </p:spPr>
        <p:txBody>
          <a:bodyPr/>
          <a:lstStyle>
            <a:lvl1pPr marL="0" indent="0">
              <a:buNone/>
              <a:defRPr sz="1011">
                <a:solidFill>
                  <a:schemeClr val="bg1"/>
                </a:solidFill>
              </a:defRPr>
            </a:lvl1pPr>
            <a:lvl2pPr marL="200389" indent="0">
              <a:buNone/>
              <a:defRPr sz="1011">
                <a:solidFill>
                  <a:schemeClr val="bg1"/>
                </a:solidFill>
              </a:defRPr>
            </a:lvl2pPr>
            <a:lvl3pPr marL="400779" indent="0">
              <a:buNone/>
              <a:defRPr sz="899">
                <a:solidFill>
                  <a:schemeClr val="bg1"/>
                </a:solidFill>
              </a:defRPr>
            </a:lvl3pPr>
            <a:lvl4pPr marL="601168" indent="0">
              <a:buNone/>
              <a:defRPr sz="787">
                <a:solidFill>
                  <a:schemeClr val="bg1"/>
                </a:solidFill>
              </a:defRPr>
            </a:lvl4pPr>
            <a:lvl5pPr marL="801557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4" y="1137921"/>
            <a:ext cx="2802383" cy="5018184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389" indent="0">
              <a:buNone/>
              <a:defRPr sz="1011">
                <a:solidFill>
                  <a:schemeClr val="bg1"/>
                </a:solidFill>
              </a:defRPr>
            </a:lvl2pPr>
            <a:lvl3pPr marL="400779" indent="0">
              <a:buNone/>
              <a:defRPr sz="899">
                <a:solidFill>
                  <a:schemeClr val="bg1"/>
                </a:solidFill>
              </a:defRPr>
            </a:lvl3pPr>
            <a:lvl4pPr marL="601168" indent="0">
              <a:buNone/>
              <a:defRPr sz="787">
                <a:solidFill>
                  <a:schemeClr val="bg1"/>
                </a:solidFill>
              </a:defRPr>
            </a:lvl4pPr>
            <a:lvl5pPr marL="801557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4" y="1137927"/>
            <a:ext cx="2767159" cy="2796151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389" indent="0">
              <a:buNone/>
              <a:defRPr sz="1011">
                <a:solidFill>
                  <a:schemeClr val="bg1"/>
                </a:solidFill>
              </a:defRPr>
            </a:lvl2pPr>
            <a:lvl3pPr marL="400779" indent="0">
              <a:buNone/>
              <a:defRPr sz="899">
                <a:solidFill>
                  <a:schemeClr val="bg1"/>
                </a:solidFill>
              </a:defRPr>
            </a:lvl3pPr>
            <a:lvl4pPr marL="601168" indent="0">
              <a:buNone/>
              <a:defRPr sz="787">
                <a:solidFill>
                  <a:schemeClr val="bg1"/>
                </a:solidFill>
              </a:defRPr>
            </a:lvl4pPr>
            <a:lvl5pPr marL="801557" indent="0">
              <a:buNone/>
              <a:defRPr sz="6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7806" y="907750"/>
            <a:ext cx="8923507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83DDCC9E-6578-4A91-9E69-0D46A07C49C5}" type="datetime3">
              <a:rPr lang="en-US" smtClean="0"/>
              <a:t>2 July 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58990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41" y="0"/>
            <a:ext cx="5968061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5917" y="2050889"/>
            <a:ext cx="4535597" cy="1055708"/>
          </a:xfrm>
        </p:spPr>
        <p:txBody>
          <a:bodyPr/>
          <a:lstStyle>
            <a:lvl1pPr marL="0" indent="0">
              <a:buNone/>
              <a:defRPr sz="1686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5917" y="3312530"/>
            <a:ext cx="4535597" cy="1055708"/>
          </a:xfrm>
        </p:spPr>
        <p:txBody>
          <a:bodyPr/>
          <a:lstStyle>
            <a:lvl1pPr marL="0" indent="0">
              <a:buNone/>
              <a:defRPr sz="8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5FA5F4-2C73-4B43-B1F9-ACD0523E32E1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9D30FF40-FE04-4743-BEA8-340D9A5E0731}" type="datetime3">
              <a:rPr lang="en-US" smtClean="0"/>
              <a:t>2 July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F2117D-1604-45F6-B4EC-F3C188119CD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CD1EA-7C3D-4424-8A2B-88892F289C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DF382460-151C-05E0-EA74-FE1CB048FE2E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609282" y="884600"/>
            <a:ext cx="11118430" cy="23150"/>
          </a:xfrm>
          <a:prstGeom prst="line">
            <a:avLst/>
          </a:prstGeom>
          <a:noFill/>
          <a:ln w="19050">
            <a:solidFill>
              <a:srgbClr val="FFE6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926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6755" y="2504281"/>
            <a:ext cx="4445484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00389" marR="0" lvl="0" indent="-200389" defTabSz="566351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B00D41-84A6-4D84-AAAE-0067EC8AF9C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F817ECCF-CBA0-4C4D-974E-7BD0CFAD7C3E}" type="datetime3">
              <a:rPr lang="en-US" smtClean="0"/>
              <a:t>2 July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77F6EB-21D5-4EE8-8A81-25BDB5A28BA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7FF3F-46CF-4130-9246-1A95F22F2C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DF3E1C34-67BE-051B-73C9-20E18B34D349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609282" y="884600"/>
            <a:ext cx="11118430" cy="23150"/>
          </a:xfrm>
          <a:prstGeom prst="line">
            <a:avLst/>
          </a:prstGeom>
          <a:noFill/>
          <a:ln w="19050">
            <a:solidFill>
              <a:srgbClr val="FFE6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9517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40DE8-8F4D-4084-8CB3-259B7386B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F21B66-EF35-42E2-98F6-2B445D2588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BE1CA10A-9A77-4291-B038-2BACB6C85108}" type="datetime3">
              <a:rPr lang="en-US" smtClean="0"/>
              <a:t>2 July 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6EEFB-0946-4328-B1EF-7567E57C0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BE56A-99A8-45B4-A8F6-67B842B2A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F2E14A0-4C0C-DBDA-CFDE-F0C76FC6FC6B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609282" y="884600"/>
            <a:ext cx="11118430" cy="23150"/>
          </a:xfrm>
          <a:prstGeom prst="line">
            <a:avLst/>
          </a:prstGeom>
          <a:noFill/>
          <a:ln w="19050">
            <a:solidFill>
              <a:srgbClr val="FFE6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2274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104670"/>
              </p:ext>
            </p:extLst>
          </p:nvPr>
        </p:nvGraphicFramePr>
        <p:xfrm>
          <a:off x="2121" y="1594"/>
          <a:ext cx="211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CB083FE1-E99D-44D7-999D-47CFE928C923}"/>
              </a:ext>
            </a:extLst>
          </p:cNvPr>
          <p:cNvSpPr/>
          <p:nvPr userDrawn="1"/>
        </p:nvSpPr>
        <p:spPr>
          <a:xfrm>
            <a:off x="-792287" y="600412"/>
            <a:ext cx="1181100" cy="0"/>
          </a:xfrm>
          <a:custGeom>
            <a:avLst/>
            <a:gdLst>
              <a:gd name="connsiteX0" fmla="*/ 0 w 1181100"/>
              <a:gd name="connsiteY0" fmla="*/ 0 h 0"/>
              <a:gd name="connsiteX1" fmla="*/ 1181100 w 1181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81100">
                <a:moveTo>
                  <a:pt x="0" y="0"/>
                </a:moveTo>
                <a:lnTo>
                  <a:pt x="1181100" y="0"/>
                </a:lnTo>
              </a:path>
            </a:pathLst>
          </a:cu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ED65D4E-691A-4FBD-BE99-95B5192433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478450"/>
            <a:ext cx="11175818" cy="476462"/>
          </a:xfrm>
        </p:spPr>
        <p:txBody>
          <a:bodyPr numCol="1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lang="en-US" sz="1600" b="0" kern="1200" cap="none" baseline="0" noProof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marL="169790" indent="0">
              <a:buNone/>
              <a:defRPr/>
            </a:lvl2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0" name="Rectangle 36">
            <a:extLst>
              <a:ext uri="{FF2B5EF4-FFF2-40B4-BE49-F238E27FC236}">
                <a16:creationId xmlns:a16="http://schemas.microsoft.com/office/drawing/2014/main" id="{B7B7CC29-EB94-49A6-83FA-332151D992B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99441" y="6544316"/>
            <a:ext cx="284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EY Consulting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F5AC0C0-15C0-4C5F-8FCE-4876E0838DAB}"/>
              </a:ext>
            </a:extLst>
          </p:cNvPr>
          <p:cNvGrpSpPr/>
          <p:nvPr userDrawn="1"/>
        </p:nvGrpSpPr>
        <p:grpSpPr>
          <a:xfrm>
            <a:off x="0" y="-2662"/>
            <a:ext cx="12212298" cy="362728"/>
            <a:chOff x="0" y="-12187"/>
            <a:chExt cx="12212298" cy="362728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B41973B-5E41-4B83-9C43-7BF517003DEA}"/>
                </a:ext>
              </a:extLst>
            </p:cNvPr>
            <p:cNvGrpSpPr/>
            <p:nvPr userDrawn="1"/>
          </p:nvGrpSpPr>
          <p:grpSpPr>
            <a:xfrm>
              <a:off x="0" y="1"/>
              <a:ext cx="12192000" cy="350540"/>
              <a:chOff x="0" y="1"/>
              <a:chExt cx="12192000" cy="350540"/>
            </a:xfrm>
          </p:grpSpPr>
          <p:sp>
            <p:nvSpPr>
              <p:cNvPr id="51" name="AutoShape 4">
                <a:extLst>
                  <a:ext uri="{FF2B5EF4-FFF2-40B4-BE49-F238E27FC236}">
                    <a16:creationId xmlns:a16="http://schemas.microsoft.com/office/drawing/2014/main" id="{E97F71B4-AF30-43F4-B1E6-A8B3422CE08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4680" y="68072"/>
                <a:ext cx="167539" cy="200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2AD21D53-EB09-4A14-A0C7-5DAD15F50D42}"/>
                  </a:ext>
                </a:extLst>
              </p:cNvPr>
              <p:cNvGrpSpPr/>
              <p:nvPr userDrawn="1"/>
            </p:nvGrpSpPr>
            <p:grpSpPr>
              <a:xfrm>
                <a:off x="0" y="1"/>
                <a:ext cx="12192000" cy="350540"/>
                <a:chOff x="0" y="1"/>
                <a:chExt cx="12192000" cy="350540"/>
              </a:xfrm>
            </p:grpSpPr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C9E68585-CBE0-43DC-A6DD-2C68C9EA25C6}"/>
                    </a:ext>
                  </a:extLst>
                </p:cNvPr>
                <p:cNvSpPr/>
                <p:nvPr userDrawn="1"/>
              </p:nvSpPr>
              <p:spPr>
                <a:xfrm>
                  <a:off x="0" y="1"/>
                  <a:ext cx="12192000" cy="350540"/>
                </a:xfrm>
                <a:prstGeom prst="rect">
                  <a:avLst/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7498753A-6C3E-4421-A5A7-D2CD01CA4499}"/>
                    </a:ext>
                  </a:extLst>
                </p:cNvPr>
                <p:cNvGrpSpPr/>
                <p:nvPr userDrawn="1"/>
              </p:nvGrpSpPr>
              <p:grpSpPr>
                <a:xfrm>
                  <a:off x="81557" y="51130"/>
                  <a:ext cx="11861822" cy="211888"/>
                  <a:chOff x="81557" y="51130"/>
                  <a:chExt cx="11861822" cy="211888"/>
                </a:xfrm>
              </p:grpSpPr>
              <p:grpSp>
                <p:nvGrpSpPr>
                  <p:cNvPr id="56" name="Group 55">
                    <a:extLst>
                      <a:ext uri="{FF2B5EF4-FFF2-40B4-BE49-F238E27FC236}">
                        <a16:creationId xmlns:a16="http://schemas.microsoft.com/office/drawing/2014/main" id="{3373DA55-B89F-48E6-990B-6C1DBDFA32B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81557" y="62687"/>
                    <a:ext cx="167539" cy="200331"/>
                    <a:chOff x="784680" y="68072"/>
                    <a:chExt cx="167539" cy="200331"/>
                  </a:xfrm>
                </p:grpSpPr>
                <p:sp>
                  <p:nvSpPr>
                    <p:cNvPr id="65" name="Freeform 6">
                      <a:extLst>
                        <a:ext uri="{FF2B5EF4-FFF2-40B4-BE49-F238E27FC236}">
                          <a16:creationId xmlns:a16="http://schemas.microsoft.com/office/drawing/2014/main" id="{B3896E52-103F-44B5-998A-FF7D5D37248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84680" y="68072"/>
                      <a:ext cx="134278" cy="50020"/>
                    </a:xfrm>
                    <a:custGeom>
                      <a:avLst/>
                      <a:gdLst>
                        <a:gd name="T0" fmla="*/ 2723 w 2723"/>
                        <a:gd name="T1" fmla="*/ 0 h 994"/>
                        <a:gd name="T2" fmla="*/ 0 w 2723"/>
                        <a:gd name="T3" fmla="*/ 994 h 994"/>
                        <a:gd name="T4" fmla="*/ 2723 w 2723"/>
                        <a:gd name="T5" fmla="*/ 513 h 994"/>
                        <a:gd name="T6" fmla="*/ 2723 w 2723"/>
                        <a:gd name="T7" fmla="*/ 0 h 9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723" h="994">
                          <a:moveTo>
                            <a:pt x="2723" y="0"/>
                          </a:moveTo>
                          <a:lnTo>
                            <a:pt x="0" y="994"/>
                          </a:lnTo>
                          <a:lnTo>
                            <a:pt x="2723" y="513"/>
                          </a:lnTo>
                          <a:lnTo>
                            <a:pt x="2723" y="0"/>
                          </a:lnTo>
                          <a:close/>
                        </a:path>
                      </a:pathLst>
                    </a:custGeom>
                    <a:solidFill>
                      <a:srgbClr val="F7DF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  <p:sp>
                  <p:nvSpPr>
                    <p:cNvPr id="66" name="Freeform 7">
                      <a:extLst>
                        <a:ext uri="{FF2B5EF4-FFF2-40B4-BE49-F238E27FC236}">
                          <a16:creationId xmlns:a16="http://schemas.microsoft.com/office/drawing/2014/main" id="{12C312C6-5D50-4F33-BDA4-B9A905BDD249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84680" y="138954"/>
                      <a:ext cx="167539" cy="129449"/>
                    </a:xfrm>
                    <a:custGeom>
                      <a:avLst/>
                      <a:gdLst>
                        <a:gd name="T0" fmla="*/ 256 w 3400"/>
                        <a:gd name="T1" fmla="*/ 1749 h 2577"/>
                        <a:gd name="T2" fmla="*/ 278 w 3400"/>
                        <a:gd name="T3" fmla="*/ 1978 h 2577"/>
                        <a:gd name="T4" fmla="*/ 166 w 3400"/>
                        <a:gd name="T5" fmla="*/ 1993 h 2577"/>
                        <a:gd name="T6" fmla="*/ 386 w 3400"/>
                        <a:gd name="T7" fmla="*/ 1940 h 2577"/>
                        <a:gd name="T8" fmla="*/ 458 w 3400"/>
                        <a:gd name="T9" fmla="*/ 2046 h 2577"/>
                        <a:gd name="T10" fmla="*/ 1255 w 3400"/>
                        <a:gd name="T11" fmla="*/ 1820 h 2577"/>
                        <a:gd name="T12" fmla="*/ 1339 w 3400"/>
                        <a:gd name="T13" fmla="*/ 1914 h 2577"/>
                        <a:gd name="T14" fmla="*/ 767 w 3400"/>
                        <a:gd name="T15" fmla="*/ 1703 h 2577"/>
                        <a:gd name="T16" fmla="*/ 813 w 3400"/>
                        <a:gd name="T17" fmla="*/ 1884 h 2577"/>
                        <a:gd name="T18" fmla="*/ 947 w 3400"/>
                        <a:gd name="T19" fmla="*/ 2042 h 2577"/>
                        <a:gd name="T20" fmla="*/ 916 w 3400"/>
                        <a:gd name="T21" fmla="*/ 1855 h 2577"/>
                        <a:gd name="T22" fmla="*/ 2225 w 3400"/>
                        <a:gd name="T23" fmla="*/ 2049 h 2577"/>
                        <a:gd name="T24" fmla="*/ 2376 w 3400"/>
                        <a:gd name="T25" fmla="*/ 1924 h 2577"/>
                        <a:gd name="T26" fmla="*/ 2312 w 3400"/>
                        <a:gd name="T27" fmla="*/ 1906 h 2577"/>
                        <a:gd name="T28" fmla="*/ 2267 w 3400"/>
                        <a:gd name="T29" fmla="*/ 1855 h 2577"/>
                        <a:gd name="T30" fmla="*/ 1441 w 3400"/>
                        <a:gd name="T31" fmla="*/ 1911 h 2577"/>
                        <a:gd name="T32" fmla="*/ 1591 w 3400"/>
                        <a:gd name="T33" fmla="*/ 2031 h 2577"/>
                        <a:gd name="T34" fmla="*/ 1622 w 3400"/>
                        <a:gd name="T35" fmla="*/ 2119 h 2577"/>
                        <a:gd name="T36" fmla="*/ 1507 w 3400"/>
                        <a:gd name="T37" fmla="*/ 1962 h 2577"/>
                        <a:gd name="T38" fmla="*/ 1902 w 3400"/>
                        <a:gd name="T39" fmla="*/ 1848 h 2577"/>
                        <a:gd name="T40" fmla="*/ 1797 w 3400"/>
                        <a:gd name="T41" fmla="*/ 1958 h 2577"/>
                        <a:gd name="T42" fmla="*/ 2006 w 3400"/>
                        <a:gd name="T43" fmla="*/ 1884 h 2577"/>
                        <a:gd name="T44" fmla="*/ 1857 w 3400"/>
                        <a:gd name="T45" fmla="*/ 1968 h 2577"/>
                        <a:gd name="T46" fmla="*/ 1881 w 3400"/>
                        <a:gd name="T47" fmla="*/ 2002 h 2577"/>
                        <a:gd name="T48" fmla="*/ 2467 w 3400"/>
                        <a:gd name="T49" fmla="*/ 1946 h 2577"/>
                        <a:gd name="T50" fmla="*/ 2452 w 3400"/>
                        <a:gd name="T51" fmla="*/ 1821 h 2577"/>
                        <a:gd name="T52" fmla="*/ 2521 w 3400"/>
                        <a:gd name="T53" fmla="*/ 2055 h 2577"/>
                        <a:gd name="T54" fmla="*/ 2555 w 3400"/>
                        <a:gd name="T55" fmla="*/ 1883 h 2577"/>
                        <a:gd name="T56" fmla="*/ 3202 w 3400"/>
                        <a:gd name="T57" fmla="*/ 1928 h 2577"/>
                        <a:gd name="T58" fmla="*/ 3006 w 3400"/>
                        <a:gd name="T59" fmla="*/ 1854 h 2577"/>
                        <a:gd name="T60" fmla="*/ 3140 w 3400"/>
                        <a:gd name="T61" fmla="*/ 2049 h 2577"/>
                        <a:gd name="T62" fmla="*/ 2905 w 3400"/>
                        <a:gd name="T63" fmla="*/ 1964 h 2577"/>
                        <a:gd name="T64" fmla="*/ 2868 w 3400"/>
                        <a:gd name="T65" fmla="*/ 2041 h 2577"/>
                        <a:gd name="T66" fmla="*/ 2713 w 3400"/>
                        <a:gd name="T67" fmla="*/ 2051 h 2577"/>
                        <a:gd name="T68" fmla="*/ 2747 w 3400"/>
                        <a:gd name="T69" fmla="*/ 1996 h 2577"/>
                        <a:gd name="T70" fmla="*/ 3300 w 3400"/>
                        <a:gd name="T71" fmla="*/ 1805 h 2577"/>
                        <a:gd name="T72" fmla="*/ 1073 w 3400"/>
                        <a:gd name="T73" fmla="*/ 2049 h 2577"/>
                        <a:gd name="T74" fmla="*/ 2660 w 3400"/>
                        <a:gd name="T75" fmla="*/ 2279 h 2577"/>
                        <a:gd name="T76" fmla="*/ 2763 w 3400"/>
                        <a:gd name="T77" fmla="*/ 2480 h 2577"/>
                        <a:gd name="T78" fmla="*/ 2737 w 3400"/>
                        <a:gd name="T79" fmla="*/ 2285 h 2577"/>
                        <a:gd name="T80" fmla="*/ 690 w 3400"/>
                        <a:gd name="T81" fmla="*/ 2289 h 2577"/>
                        <a:gd name="T82" fmla="*/ 740 w 3400"/>
                        <a:gd name="T83" fmla="*/ 2301 h 2577"/>
                        <a:gd name="T84" fmla="*/ 222 w 3400"/>
                        <a:gd name="T85" fmla="*/ 2352 h 2577"/>
                        <a:gd name="T86" fmla="*/ 341 w 3400"/>
                        <a:gd name="T87" fmla="*/ 2395 h 2577"/>
                        <a:gd name="T88" fmla="*/ 554 w 3400"/>
                        <a:gd name="T89" fmla="*/ 2395 h 2577"/>
                        <a:gd name="T90" fmla="*/ 412 w 3400"/>
                        <a:gd name="T91" fmla="*/ 2407 h 2577"/>
                        <a:gd name="T92" fmla="*/ 484 w 3400"/>
                        <a:gd name="T93" fmla="*/ 2407 h 2577"/>
                        <a:gd name="T94" fmla="*/ 2419 w 3400"/>
                        <a:gd name="T95" fmla="*/ 2248 h 2577"/>
                        <a:gd name="T96" fmla="*/ 1758 w 3400"/>
                        <a:gd name="T97" fmla="*/ 2233 h 2577"/>
                        <a:gd name="T98" fmla="*/ 2133 w 3400"/>
                        <a:gd name="T99" fmla="*/ 2255 h 2577"/>
                        <a:gd name="T100" fmla="*/ 2204 w 3400"/>
                        <a:gd name="T101" fmla="*/ 2483 h 2577"/>
                        <a:gd name="T102" fmla="*/ 2269 w 3400"/>
                        <a:gd name="T103" fmla="*/ 2249 h 2577"/>
                        <a:gd name="T104" fmla="*/ 2204 w 3400"/>
                        <a:gd name="T105" fmla="*/ 2284 h 2577"/>
                        <a:gd name="T106" fmla="*/ 845 w 3400"/>
                        <a:gd name="T107" fmla="*/ 2131 h 2577"/>
                        <a:gd name="T108" fmla="*/ 1323 w 3400"/>
                        <a:gd name="T109" fmla="*/ 2244 h 2577"/>
                        <a:gd name="T110" fmla="*/ 1220 w 3400"/>
                        <a:gd name="T111" fmla="*/ 2299 h 2577"/>
                        <a:gd name="T112" fmla="*/ 1410 w 3400"/>
                        <a:gd name="T113" fmla="*/ 2289 h 2577"/>
                        <a:gd name="T114" fmla="*/ 1525 w 3400"/>
                        <a:gd name="T115" fmla="*/ 2477 h 2577"/>
                        <a:gd name="T116" fmla="*/ 1544 w 3400"/>
                        <a:gd name="T117" fmla="*/ 2570 h 2577"/>
                        <a:gd name="T118" fmla="*/ 1491 w 3400"/>
                        <a:gd name="T119" fmla="*/ 2424 h 2577"/>
                        <a:gd name="T120" fmla="*/ 1094 w 3400"/>
                        <a:gd name="T121" fmla="*/ 2341 h 2577"/>
                        <a:gd name="T122" fmla="*/ 437 w 3400"/>
                        <a:gd name="T123" fmla="*/ 1061 h 25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3400" h="2577">
                          <a:moveTo>
                            <a:pt x="283" y="1942"/>
                          </a:moveTo>
                          <a:lnTo>
                            <a:pt x="283" y="1942"/>
                          </a:lnTo>
                          <a:lnTo>
                            <a:pt x="283" y="1934"/>
                          </a:lnTo>
                          <a:lnTo>
                            <a:pt x="282" y="1927"/>
                          </a:lnTo>
                          <a:lnTo>
                            <a:pt x="278" y="1912"/>
                          </a:lnTo>
                          <a:lnTo>
                            <a:pt x="272" y="1900"/>
                          </a:lnTo>
                          <a:lnTo>
                            <a:pt x="265" y="1890"/>
                          </a:lnTo>
                          <a:lnTo>
                            <a:pt x="256" y="1883"/>
                          </a:lnTo>
                          <a:lnTo>
                            <a:pt x="248" y="1877"/>
                          </a:lnTo>
                          <a:lnTo>
                            <a:pt x="241" y="1872"/>
                          </a:lnTo>
                          <a:lnTo>
                            <a:pt x="233" y="1868"/>
                          </a:lnTo>
                          <a:lnTo>
                            <a:pt x="233" y="1868"/>
                          </a:lnTo>
                          <a:lnTo>
                            <a:pt x="242" y="1862"/>
                          </a:lnTo>
                          <a:lnTo>
                            <a:pt x="249" y="1856"/>
                          </a:lnTo>
                          <a:lnTo>
                            <a:pt x="255" y="1849"/>
                          </a:lnTo>
                          <a:lnTo>
                            <a:pt x="261" y="1840"/>
                          </a:lnTo>
                          <a:lnTo>
                            <a:pt x="266" y="1832"/>
                          </a:lnTo>
                          <a:lnTo>
                            <a:pt x="269" y="1822"/>
                          </a:lnTo>
                          <a:lnTo>
                            <a:pt x="271" y="1812"/>
                          </a:lnTo>
                          <a:lnTo>
                            <a:pt x="271" y="1801"/>
                          </a:lnTo>
                          <a:lnTo>
                            <a:pt x="271" y="1801"/>
                          </a:lnTo>
                          <a:lnTo>
                            <a:pt x="271" y="1792"/>
                          </a:lnTo>
                          <a:lnTo>
                            <a:pt x="270" y="1782"/>
                          </a:lnTo>
                          <a:lnTo>
                            <a:pt x="267" y="1773"/>
                          </a:lnTo>
                          <a:lnTo>
                            <a:pt x="265" y="1765"/>
                          </a:lnTo>
                          <a:lnTo>
                            <a:pt x="261" y="1756"/>
                          </a:lnTo>
                          <a:lnTo>
                            <a:pt x="256" y="1749"/>
                          </a:lnTo>
                          <a:lnTo>
                            <a:pt x="250" y="1743"/>
                          </a:lnTo>
                          <a:lnTo>
                            <a:pt x="244" y="1737"/>
                          </a:lnTo>
                          <a:lnTo>
                            <a:pt x="237" y="1732"/>
                          </a:lnTo>
                          <a:lnTo>
                            <a:pt x="230" y="1727"/>
                          </a:lnTo>
                          <a:lnTo>
                            <a:pt x="221" y="1724"/>
                          </a:lnTo>
                          <a:lnTo>
                            <a:pt x="211" y="1720"/>
                          </a:lnTo>
                          <a:lnTo>
                            <a:pt x="202" y="1718"/>
                          </a:lnTo>
                          <a:lnTo>
                            <a:pt x="191" y="1715"/>
                          </a:lnTo>
                          <a:lnTo>
                            <a:pt x="180" y="1715"/>
                          </a:lnTo>
                          <a:lnTo>
                            <a:pt x="168" y="1714"/>
                          </a:lnTo>
                          <a:lnTo>
                            <a:pt x="24" y="1714"/>
                          </a:lnTo>
                          <a:lnTo>
                            <a:pt x="24" y="2049"/>
                          </a:lnTo>
                          <a:lnTo>
                            <a:pt x="166" y="2049"/>
                          </a:lnTo>
                          <a:lnTo>
                            <a:pt x="166" y="2049"/>
                          </a:lnTo>
                          <a:lnTo>
                            <a:pt x="180" y="2049"/>
                          </a:lnTo>
                          <a:lnTo>
                            <a:pt x="192" y="2048"/>
                          </a:lnTo>
                          <a:lnTo>
                            <a:pt x="204" y="2046"/>
                          </a:lnTo>
                          <a:lnTo>
                            <a:pt x="215" y="2042"/>
                          </a:lnTo>
                          <a:lnTo>
                            <a:pt x="226" y="2038"/>
                          </a:lnTo>
                          <a:lnTo>
                            <a:pt x="236" y="2034"/>
                          </a:lnTo>
                          <a:lnTo>
                            <a:pt x="244" y="2028"/>
                          </a:lnTo>
                          <a:lnTo>
                            <a:pt x="252" y="2021"/>
                          </a:lnTo>
                          <a:lnTo>
                            <a:pt x="259" y="2014"/>
                          </a:lnTo>
                          <a:lnTo>
                            <a:pt x="265" y="2006"/>
                          </a:lnTo>
                          <a:lnTo>
                            <a:pt x="271" y="1997"/>
                          </a:lnTo>
                          <a:lnTo>
                            <a:pt x="275" y="1987"/>
                          </a:lnTo>
                          <a:lnTo>
                            <a:pt x="278" y="1978"/>
                          </a:lnTo>
                          <a:lnTo>
                            <a:pt x="281" y="1967"/>
                          </a:lnTo>
                          <a:lnTo>
                            <a:pt x="282" y="1955"/>
                          </a:lnTo>
                          <a:lnTo>
                            <a:pt x="283" y="1942"/>
                          </a:lnTo>
                          <a:lnTo>
                            <a:pt x="283" y="1942"/>
                          </a:lnTo>
                          <a:close/>
                          <a:moveTo>
                            <a:pt x="166" y="1993"/>
                          </a:moveTo>
                          <a:lnTo>
                            <a:pt x="86" y="1993"/>
                          </a:lnTo>
                          <a:lnTo>
                            <a:pt x="86" y="1897"/>
                          </a:lnTo>
                          <a:lnTo>
                            <a:pt x="166" y="1897"/>
                          </a:lnTo>
                          <a:lnTo>
                            <a:pt x="166" y="1897"/>
                          </a:lnTo>
                          <a:lnTo>
                            <a:pt x="179" y="1899"/>
                          </a:lnTo>
                          <a:lnTo>
                            <a:pt x="188" y="1900"/>
                          </a:lnTo>
                          <a:lnTo>
                            <a:pt x="197" y="1904"/>
                          </a:lnTo>
                          <a:lnTo>
                            <a:pt x="204" y="1910"/>
                          </a:lnTo>
                          <a:lnTo>
                            <a:pt x="210" y="1916"/>
                          </a:lnTo>
                          <a:lnTo>
                            <a:pt x="214" y="1924"/>
                          </a:lnTo>
                          <a:lnTo>
                            <a:pt x="216" y="1934"/>
                          </a:lnTo>
                          <a:lnTo>
                            <a:pt x="218" y="1945"/>
                          </a:lnTo>
                          <a:lnTo>
                            <a:pt x="218" y="1945"/>
                          </a:lnTo>
                          <a:lnTo>
                            <a:pt x="216" y="1956"/>
                          </a:lnTo>
                          <a:lnTo>
                            <a:pt x="214" y="1966"/>
                          </a:lnTo>
                          <a:lnTo>
                            <a:pt x="209" y="1974"/>
                          </a:lnTo>
                          <a:lnTo>
                            <a:pt x="204" y="1980"/>
                          </a:lnTo>
                          <a:lnTo>
                            <a:pt x="197" y="1986"/>
                          </a:lnTo>
                          <a:lnTo>
                            <a:pt x="188" y="1990"/>
                          </a:lnTo>
                          <a:lnTo>
                            <a:pt x="177" y="1992"/>
                          </a:lnTo>
                          <a:lnTo>
                            <a:pt x="166" y="1993"/>
                          </a:lnTo>
                          <a:lnTo>
                            <a:pt x="166" y="1993"/>
                          </a:lnTo>
                          <a:close/>
                          <a:moveTo>
                            <a:pt x="165" y="1843"/>
                          </a:moveTo>
                          <a:lnTo>
                            <a:pt x="86" y="1843"/>
                          </a:lnTo>
                          <a:lnTo>
                            <a:pt x="86" y="1771"/>
                          </a:lnTo>
                          <a:lnTo>
                            <a:pt x="163" y="1771"/>
                          </a:lnTo>
                          <a:lnTo>
                            <a:pt x="163" y="1771"/>
                          </a:lnTo>
                          <a:lnTo>
                            <a:pt x="173" y="1772"/>
                          </a:lnTo>
                          <a:lnTo>
                            <a:pt x="182" y="1773"/>
                          </a:lnTo>
                          <a:lnTo>
                            <a:pt x="190" y="1776"/>
                          </a:lnTo>
                          <a:lnTo>
                            <a:pt x="196" y="1780"/>
                          </a:lnTo>
                          <a:lnTo>
                            <a:pt x="201" y="1786"/>
                          </a:lnTo>
                          <a:lnTo>
                            <a:pt x="204" y="1792"/>
                          </a:lnTo>
                          <a:lnTo>
                            <a:pt x="205" y="1799"/>
                          </a:lnTo>
                          <a:lnTo>
                            <a:pt x="207" y="1807"/>
                          </a:lnTo>
                          <a:lnTo>
                            <a:pt x="207" y="1807"/>
                          </a:lnTo>
                          <a:lnTo>
                            <a:pt x="207" y="1814"/>
                          </a:lnTo>
                          <a:lnTo>
                            <a:pt x="205" y="1820"/>
                          </a:lnTo>
                          <a:lnTo>
                            <a:pt x="203" y="1826"/>
                          </a:lnTo>
                          <a:lnTo>
                            <a:pt x="199" y="1831"/>
                          </a:lnTo>
                          <a:lnTo>
                            <a:pt x="193" y="1835"/>
                          </a:lnTo>
                          <a:lnTo>
                            <a:pt x="186" y="1839"/>
                          </a:lnTo>
                          <a:lnTo>
                            <a:pt x="177" y="1842"/>
                          </a:lnTo>
                          <a:lnTo>
                            <a:pt x="165" y="1843"/>
                          </a:lnTo>
                          <a:lnTo>
                            <a:pt x="165" y="1843"/>
                          </a:lnTo>
                          <a:close/>
                          <a:moveTo>
                            <a:pt x="326" y="1944"/>
                          </a:moveTo>
                          <a:lnTo>
                            <a:pt x="326" y="1805"/>
                          </a:lnTo>
                          <a:lnTo>
                            <a:pt x="386" y="1805"/>
                          </a:lnTo>
                          <a:lnTo>
                            <a:pt x="386" y="1940"/>
                          </a:lnTo>
                          <a:lnTo>
                            <a:pt x="386" y="1940"/>
                          </a:lnTo>
                          <a:lnTo>
                            <a:pt x="386" y="1953"/>
                          </a:lnTo>
                          <a:lnTo>
                            <a:pt x="389" y="1967"/>
                          </a:lnTo>
                          <a:lnTo>
                            <a:pt x="392" y="1976"/>
                          </a:lnTo>
                          <a:lnTo>
                            <a:pt x="397" y="1985"/>
                          </a:lnTo>
                          <a:lnTo>
                            <a:pt x="403" y="1991"/>
                          </a:lnTo>
                          <a:lnTo>
                            <a:pt x="411" y="1996"/>
                          </a:lnTo>
                          <a:lnTo>
                            <a:pt x="420" y="1998"/>
                          </a:lnTo>
                          <a:lnTo>
                            <a:pt x="431" y="2000"/>
                          </a:lnTo>
                          <a:lnTo>
                            <a:pt x="431" y="2000"/>
                          </a:lnTo>
                          <a:lnTo>
                            <a:pt x="442" y="1998"/>
                          </a:lnTo>
                          <a:lnTo>
                            <a:pt x="451" y="1996"/>
                          </a:lnTo>
                          <a:lnTo>
                            <a:pt x="459" y="1991"/>
                          </a:lnTo>
                          <a:lnTo>
                            <a:pt x="465" y="1985"/>
                          </a:lnTo>
                          <a:lnTo>
                            <a:pt x="470" y="1976"/>
                          </a:lnTo>
                          <a:lnTo>
                            <a:pt x="474" y="1966"/>
                          </a:lnTo>
                          <a:lnTo>
                            <a:pt x="476" y="1953"/>
                          </a:lnTo>
                          <a:lnTo>
                            <a:pt x="476" y="1940"/>
                          </a:lnTo>
                          <a:lnTo>
                            <a:pt x="476" y="1805"/>
                          </a:lnTo>
                          <a:lnTo>
                            <a:pt x="537" y="1805"/>
                          </a:lnTo>
                          <a:lnTo>
                            <a:pt x="537" y="2049"/>
                          </a:lnTo>
                          <a:lnTo>
                            <a:pt x="476" y="2049"/>
                          </a:lnTo>
                          <a:lnTo>
                            <a:pt x="476" y="2030"/>
                          </a:lnTo>
                          <a:lnTo>
                            <a:pt x="476" y="2030"/>
                          </a:lnTo>
                          <a:lnTo>
                            <a:pt x="471" y="2036"/>
                          </a:lnTo>
                          <a:lnTo>
                            <a:pt x="464" y="2041"/>
                          </a:lnTo>
                          <a:lnTo>
                            <a:pt x="458" y="2046"/>
                          </a:lnTo>
                          <a:lnTo>
                            <a:pt x="451" y="2048"/>
                          </a:lnTo>
                          <a:lnTo>
                            <a:pt x="444" y="2052"/>
                          </a:lnTo>
                          <a:lnTo>
                            <a:pt x="435" y="2053"/>
                          </a:lnTo>
                          <a:lnTo>
                            <a:pt x="427" y="2054"/>
                          </a:lnTo>
                          <a:lnTo>
                            <a:pt x="418" y="2055"/>
                          </a:lnTo>
                          <a:lnTo>
                            <a:pt x="418" y="2055"/>
                          </a:lnTo>
                          <a:lnTo>
                            <a:pt x="403" y="2054"/>
                          </a:lnTo>
                          <a:lnTo>
                            <a:pt x="391" y="2052"/>
                          </a:lnTo>
                          <a:lnTo>
                            <a:pt x="380" y="2048"/>
                          </a:lnTo>
                          <a:lnTo>
                            <a:pt x="369" y="2043"/>
                          </a:lnTo>
                          <a:lnTo>
                            <a:pt x="361" y="2037"/>
                          </a:lnTo>
                          <a:lnTo>
                            <a:pt x="354" y="2031"/>
                          </a:lnTo>
                          <a:lnTo>
                            <a:pt x="348" y="2023"/>
                          </a:lnTo>
                          <a:lnTo>
                            <a:pt x="341" y="2014"/>
                          </a:lnTo>
                          <a:lnTo>
                            <a:pt x="338" y="2006"/>
                          </a:lnTo>
                          <a:lnTo>
                            <a:pt x="334" y="1997"/>
                          </a:lnTo>
                          <a:lnTo>
                            <a:pt x="329" y="1978"/>
                          </a:lnTo>
                          <a:lnTo>
                            <a:pt x="327" y="1959"/>
                          </a:lnTo>
                          <a:lnTo>
                            <a:pt x="326" y="1944"/>
                          </a:lnTo>
                          <a:lnTo>
                            <a:pt x="326" y="1944"/>
                          </a:lnTo>
                          <a:close/>
                          <a:moveTo>
                            <a:pt x="1249" y="2049"/>
                          </a:moveTo>
                          <a:lnTo>
                            <a:pt x="1188" y="2049"/>
                          </a:lnTo>
                          <a:lnTo>
                            <a:pt x="1188" y="1805"/>
                          </a:lnTo>
                          <a:lnTo>
                            <a:pt x="1249" y="1805"/>
                          </a:lnTo>
                          <a:lnTo>
                            <a:pt x="1249" y="1826"/>
                          </a:lnTo>
                          <a:lnTo>
                            <a:pt x="1249" y="1826"/>
                          </a:lnTo>
                          <a:lnTo>
                            <a:pt x="1255" y="1820"/>
                          </a:lnTo>
                          <a:lnTo>
                            <a:pt x="1261" y="1814"/>
                          </a:lnTo>
                          <a:lnTo>
                            <a:pt x="1269" y="1810"/>
                          </a:lnTo>
                          <a:lnTo>
                            <a:pt x="1276" y="1806"/>
                          </a:lnTo>
                          <a:lnTo>
                            <a:pt x="1284" y="1803"/>
                          </a:lnTo>
                          <a:lnTo>
                            <a:pt x="1292" y="1801"/>
                          </a:lnTo>
                          <a:lnTo>
                            <a:pt x="1301" y="1800"/>
                          </a:lnTo>
                          <a:lnTo>
                            <a:pt x="1310" y="1799"/>
                          </a:lnTo>
                          <a:lnTo>
                            <a:pt x="1310" y="1799"/>
                          </a:lnTo>
                          <a:lnTo>
                            <a:pt x="1321" y="1800"/>
                          </a:lnTo>
                          <a:lnTo>
                            <a:pt x="1331" y="1801"/>
                          </a:lnTo>
                          <a:lnTo>
                            <a:pt x="1340" y="1804"/>
                          </a:lnTo>
                          <a:lnTo>
                            <a:pt x="1349" y="1806"/>
                          </a:lnTo>
                          <a:lnTo>
                            <a:pt x="1357" y="1810"/>
                          </a:lnTo>
                          <a:lnTo>
                            <a:pt x="1365" y="1816"/>
                          </a:lnTo>
                          <a:lnTo>
                            <a:pt x="1371" y="1821"/>
                          </a:lnTo>
                          <a:lnTo>
                            <a:pt x="1377" y="1828"/>
                          </a:lnTo>
                          <a:lnTo>
                            <a:pt x="1383" y="1835"/>
                          </a:lnTo>
                          <a:lnTo>
                            <a:pt x="1386" y="1844"/>
                          </a:lnTo>
                          <a:lnTo>
                            <a:pt x="1391" y="1852"/>
                          </a:lnTo>
                          <a:lnTo>
                            <a:pt x="1394" y="1862"/>
                          </a:lnTo>
                          <a:lnTo>
                            <a:pt x="1396" y="1873"/>
                          </a:lnTo>
                          <a:lnTo>
                            <a:pt x="1399" y="1885"/>
                          </a:lnTo>
                          <a:lnTo>
                            <a:pt x="1400" y="1897"/>
                          </a:lnTo>
                          <a:lnTo>
                            <a:pt x="1400" y="1911"/>
                          </a:lnTo>
                          <a:lnTo>
                            <a:pt x="1400" y="2049"/>
                          </a:lnTo>
                          <a:lnTo>
                            <a:pt x="1339" y="2049"/>
                          </a:lnTo>
                          <a:lnTo>
                            <a:pt x="1339" y="1914"/>
                          </a:lnTo>
                          <a:lnTo>
                            <a:pt x="1339" y="1914"/>
                          </a:lnTo>
                          <a:lnTo>
                            <a:pt x="1339" y="1900"/>
                          </a:lnTo>
                          <a:lnTo>
                            <a:pt x="1337" y="1888"/>
                          </a:lnTo>
                          <a:lnTo>
                            <a:pt x="1333" y="1878"/>
                          </a:lnTo>
                          <a:lnTo>
                            <a:pt x="1328" y="1869"/>
                          </a:lnTo>
                          <a:lnTo>
                            <a:pt x="1322" y="1863"/>
                          </a:lnTo>
                          <a:lnTo>
                            <a:pt x="1315" y="1859"/>
                          </a:lnTo>
                          <a:lnTo>
                            <a:pt x="1306" y="1856"/>
                          </a:lnTo>
                          <a:lnTo>
                            <a:pt x="1295" y="1855"/>
                          </a:lnTo>
                          <a:lnTo>
                            <a:pt x="1295" y="1855"/>
                          </a:lnTo>
                          <a:lnTo>
                            <a:pt x="1284" y="1856"/>
                          </a:lnTo>
                          <a:lnTo>
                            <a:pt x="1275" y="1859"/>
                          </a:lnTo>
                          <a:lnTo>
                            <a:pt x="1267" y="1863"/>
                          </a:lnTo>
                          <a:lnTo>
                            <a:pt x="1261" y="1869"/>
                          </a:lnTo>
                          <a:lnTo>
                            <a:pt x="1255" y="1878"/>
                          </a:lnTo>
                          <a:lnTo>
                            <a:pt x="1252" y="1889"/>
                          </a:lnTo>
                          <a:lnTo>
                            <a:pt x="1249" y="1901"/>
                          </a:lnTo>
                          <a:lnTo>
                            <a:pt x="1249" y="1914"/>
                          </a:lnTo>
                          <a:lnTo>
                            <a:pt x="1249" y="2049"/>
                          </a:lnTo>
                          <a:close/>
                          <a:moveTo>
                            <a:pt x="653" y="1927"/>
                          </a:moveTo>
                          <a:lnTo>
                            <a:pt x="653" y="2049"/>
                          </a:lnTo>
                          <a:lnTo>
                            <a:pt x="592" y="2049"/>
                          </a:lnTo>
                          <a:lnTo>
                            <a:pt x="592" y="1805"/>
                          </a:lnTo>
                          <a:lnTo>
                            <a:pt x="653" y="1805"/>
                          </a:lnTo>
                          <a:lnTo>
                            <a:pt x="653" y="1927"/>
                          </a:lnTo>
                          <a:close/>
                          <a:moveTo>
                            <a:pt x="706" y="1733"/>
                          </a:moveTo>
                          <a:lnTo>
                            <a:pt x="767" y="1703"/>
                          </a:lnTo>
                          <a:lnTo>
                            <a:pt x="767" y="1924"/>
                          </a:lnTo>
                          <a:lnTo>
                            <a:pt x="767" y="2049"/>
                          </a:lnTo>
                          <a:lnTo>
                            <a:pt x="706" y="2049"/>
                          </a:lnTo>
                          <a:lnTo>
                            <a:pt x="706" y="1733"/>
                          </a:lnTo>
                          <a:close/>
                          <a:moveTo>
                            <a:pt x="959" y="1822"/>
                          </a:moveTo>
                          <a:lnTo>
                            <a:pt x="959" y="1822"/>
                          </a:lnTo>
                          <a:lnTo>
                            <a:pt x="954" y="1816"/>
                          </a:lnTo>
                          <a:lnTo>
                            <a:pt x="948" y="1812"/>
                          </a:lnTo>
                          <a:lnTo>
                            <a:pt x="941" y="1807"/>
                          </a:lnTo>
                          <a:lnTo>
                            <a:pt x="934" y="1805"/>
                          </a:lnTo>
                          <a:lnTo>
                            <a:pt x="927" y="1803"/>
                          </a:lnTo>
                          <a:lnTo>
                            <a:pt x="920" y="1800"/>
                          </a:lnTo>
                          <a:lnTo>
                            <a:pt x="905" y="1799"/>
                          </a:lnTo>
                          <a:lnTo>
                            <a:pt x="905" y="1799"/>
                          </a:lnTo>
                          <a:lnTo>
                            <a:pt x="894" y="1800"/>
                          </a:lnTo>
                          <a:lnTo>
                            <a:pt x="883" y="1801"/>
                          </a:lnTo>
                          <a:lnTo>
                            <a:pt x="874" y="1804"/>
                          </a:lnTo>
                          <a:lnTo>
                            <a:pt x="865" y="1807"/>
                          </a:lnTo>
                          <a:lnTo>
                            <a:pt x="857" y="1812"/>
                          </a:lnTo>
                          <a:lnTo>
                            <a:pt x="848" y="1818"/>
                          </a:lnTo>
                          <a:lnTo>
                            <a:pt x="841" y="1826"/>
                          </a:lnTo>
                          <a:lnTo>
                            <a:pt x="835" y="1833"/>
                          </a:lnTo>
                          <a:lnTo>
                            <a:pt x="829" y="1842"/>
                          </a:lnTo>
                          <a:lnTo>
                            <a:pt x="824" y="1851"/>
                          </a:lnTo>
                          <a:lnTo>
                            <a:pt x="819" y="1861"/>
                          </a:lnTo>
                          <a:lnTo>
                            <a:pt x="815" y="1872"/>
                          </a:lnTo>
                          <a:lnTo>
                            <a:pt x="813" y="1884"/>
                          </a:lnTo>
                          <a:lnTo>
                            <a:pt x="811" y="1897"/>
                          </a:lnTo>
                          <a:lnTo>
                            <a:pt x="809" y="1911"/>
                          </a:lnTo>
                          <a:lnTo>
                            <a:pt x="809" y="1924"/>
                          </a:lnTo>
                          <a:lnTo>
                            <a:pt x="809" y="1924"/>
                          </a:lnTo>
                          <a:lnTo>
                            <a:pt x="809" y="1940"/>
                          </a:lnTo>
                          <a:lnTo>
                            <a:pt x="811" y="1953"/>
                          </a:lnTo>
                          <a:lnTo>
                            <a:pt x="813" y="1967"/>
                          </a:lnTo>
                          <a:lnTo>
                            <a:pt x="815" y="1979"/>
                          </a:lnTo>
                          <a:lnTo>
                            <a:pt x="819" y="1991"/>
                          </a:lnTo>
                          <a:lnTo>
                            <a:pt x="823" y="2002"/>
                          </a:lnTo>
                          <a:lnTo>
                            <a:pt x="828" y="2012"/>
                          </a:lnTo>
                          <a:lnTo>
                            <a:pt x="834" y="2020"/>
                          </a:lnTo>
                          <a:lnTo>
                            <a:pt x="841" y="2029"/>
                          </a:lnTo>
                          <a:lnTo>
                            <a:pt x="847" y="2035"/>
                          </a:lnTo>
                          <a:lnTo>
                            <a:pt x="855" y="2041"/>
                          </a:lnTo>
                          <a:lnTo>
                            <a:pt x="864" y="2046"/>
                          </a:lnTo>
                          <a:lnTo>
                            <a:pt x="872" y="2049"/>
                          </a:lnTo>
                          <a:lnTo>
                            <a:pt x="882" y="2053"/>
                          </a:lnTo>
                          <a:lnTo>
                            <a:pt x="893" y="2054"/>
                          </a:lnTo>
                          <a:lnTo>
                            <a:pt x="904" y="2055"/>
                          </a:lnTo>
                          <a:lnTo>
                            <a:pt x="904" y="2055"/>
                          </a:lnTo>
                          <a:lnTo>
                            <a:pt x="911" y="2054"/>
                          </a:lnTo>
                          <a:lnTo>
                            <a:pt x="919" y="2053"/>
                          </a:lnTo>
                          <a:lnTo>
                            <a:pt x="926" y="2052"/>
                          </a:lnTo>
                          <a:lnTo>
                            <a:pt x="933" y="2049"/>
                          </a:lnTo>
                          <a:lnTo>
                            <a:pt x="939" y="2046"/>
                          </a:lnTo>
                          <a:lnTo>
                            <a:pt x="947" y="2042"/>
                          </a:lnTo>
                          <a:lnTo>
                            <a:pt x="953" y="2037"/>
                          </a:lnTo>
                          <a:lnTo>
                            <a:pt x="959" y="2031"/>
                          </a:lnTo>
                          <a:lnTo>
                            <a:pt x="959" y="2049"/>
                          </a:lnTo>
                          <a:lnTo>
                            <a:pt x="1020" y="2049"/>
                          </a:lnTo>
                          <a:lnTo>
                            <a:pt x="1020" y="1703"/>
                          </a:lnTo>
                          <a:lnTo>
                            <a:pt x="959" y="1733"/>
                          </a:lnTo>
                          <a:lnTo>
                            <a:pt x="959" y="1822"/>
                          </a:lnTo>
                          <a:close/>
                          <a:moveTo>
                            <a:pt x="916" y="2000"/>
                          </a:moveTo>
                          <a:lnTo>
                            <a:pt x="916" y="2000"/>
                          </a:lnTo>
                          <a:lnTo>
                            <a:pt x="909" y="1998"/>
                          </a:lnTo>
                          <a:lnTo>
                            <a:pt x="900" y="1996"/>
                          </a:lnTo>
                          <a:lnTo>
                            <a:pt x="893" y="1992"/>
                          </a:lnTo>
                          <a:lnTo>
                            <a:pt x="886" y="1985"/>
                          </a:lnTo>
                          <a:lnTo>
                            <a:pt x="880" y="1975"/>
                          </a:lnTo>
                          <a:lnTo>
                            <a:pt x="875" y="1962"/>
                          </a:lnTo>
                          <a:lnTo>
                            <a:pt x="871" y="1945"/>
                          </a:lnTo>
                          <a:lnTo>
                            <a:pt x="870" y="1923"/>
                          </a:lnTo>
                          <a:lnTo>
                            <a:pt x="870" y="1923"/>
                          </a:lnTo>
                          <a:lnTo>
                            <a:pt x="871" y="1904"/>
                          </a:lnTo>
                          <a:lnTo>
                            <a:pt x="875" y="1889"/>
                          </a:lnTo>
                          <a:lnTo>
                            <a:pt x="880" y="1877"/>
                          </a:lnTo>
                          <a:lnTo>
                            <a:pt x="886" y="1868"/>
                          </a:lnTo>
                          <a:lnTo>
                            <a:pt x="892" y="1861"/>
                          </a:lnTo>
                          <a:lnTo>
                            <a:pt x="900" y="1857"/>
                          </a:lnTo>
                          <a:lnTo>
                            <a:pt x="908" y="1855"/>
                          </a:lnTo>
                          <a:lnTo>
                            <a:pt x="916" y="1855"/>
                          </a:lnTo>
                          <a:lnTo>
                            <a:pt x="916" y="1855"/>
                          </a:lnTo>
                          <a:lnTo>
                            <a:pt x="924" y="1855"/>
                          </a:lnTo>
                          <a:lnTo>
                            <a:pt x="931" y="1857"/>
                          </a:lnTo>
                          <a:lnTo>
                            <a:pt x="938" y="1860"/>
                          </a:lnTo>
                          <a:lnTo>
                            <a:pt x="943" y="1863"/>
                          </a:lnTo>
                          <a:lnTo>
                            <a:pt x="948" y="1867"/>
                          </a:lnTo>
                          <a:lnTo>
                            <a:pt x="953" y="1871"/>
                          </a:lnTo>
                          <a:lnTo>
                            <a:pt x="959" y="1879"/>
                          </a:lnTo>
                          <a:lnTo>
                            <a:pt x="959" y="1975"/>
                          </a:lnTo>
                          <a:lnTo>
                            <a:pt x="959" y="1975"/>
                          </a:lnTo>
                          <a:lnTo>
                            <a:pt x="951" y="1984"/>
                          </a:lnTo>
                          <a:lnTo>
                            <a:pt x="943" y="1991"/>
                          </a:lnTo>
                          <a:lnTo>
                            <a:pt x="938" y="1995"/>
                          </a:lnTo>
                          <a:lnTo>
                            <a:pt x="931" y="1997"/>
                          </a:lnTo>
                          <a:lnTo>
                            <a:pt x="925" y="1998"/>
                          </a:lnTo>
                          <a:lnTo>
                            <a:pt x="916" y="2000"/>
                          </a:lnTo>
                          <a:lnTo>
                            <a:pt x="916" y="2000"/>
                          </a:lnTo>
                          <a:close/>
                          <a:moveTo>
                            <a:pt x="2278" y="1799"/>
                          </a:moveTo>
                          <a:lnTo>
                            <a:pt x="2278" y="1799"/>
                          </a:lnTo>
                          <a:lnTo>
                            <a:pt x="2272" y="1800"/>
                          </a:lnTo>
                          <a:lnTo>
                            <a:pt x="2265" y="1801"/>
                          </a:lnTo>
                          <a:lnTo>
                            <a:pt x="2250" y="1805"/>
                          </a:lnTo>
                          <a:lnTo>
                            <a:pt x="2237" y="1812"/>
                          </a:lnTo>
                          <a:lnTo>
                            <a:pt x="2225" y="1822"/>
                          </a:lnTo>
                          <a:lnTo>
                            <a:pt x="2225" y="1709"/>
                          </a:lnTo>
                          <a:lnTo>
                            <a:pt x="2164" y="1739"/>
                          </a:lnTo>
                          <a:lnTo>
                            <a:pt x="2164" y="2049"/>
                          </a:lnTo>
                          <a:lnTo>
                            <a:pt x="2225" y="2049"/>
                          </a:lnTo>
                          <a:lnTo>
                            <a:pt x="2225" y="2031"/>
                          </a:lnTo>
                          <a:lnTo>
                            <a:pt x="2225" y="2031"/>
                          </a:lnTo>
                          <a:lnTo>
                            <a:pt x="2230" y="2037"/>
                          </a:lnTo>
                          <a:lnTo>
                            <a:pt x="2237" y="2042"/>
                          </a:lnTo>
                          <a:lnTo>
                            <a:pt x="2243" y="2046"/>
                          </a:lnTo>
                          <a:lnTo>
                            <a:pt x="2250" y="2049"/>
                          </a:lnTo>
                          <a:lnTo>
                            <a:pt x="2257" y="2052"/>
                          </a:lnTo>
                          <a:lnTo>
                            <a:pt x="2265" y="2053"/>
                          </a:lnTo>
                          <a:lnTo>
                            <a:pt x="2272" y="2054"/>
                          </a:lnTo>
                          <a:lnTo>
                            <a:pt x="2280" y="2055"/>
                          </a:lnTo>
                          <a:lnTo>
                            <a:pt x="2280" y="2055"/>
                          </a:lnTo>
                          <a:lnTo>
                            <a:pt x="2291" y="2054"/>
                          </a:lnTo>
                          <a:lnTo>
                            <a:pt x="2302" y="2053"/>
                          </a:lnTo>
                          <a:lnTo>
                            <a:pt x="2311" y="2051"/>
                          </a:lnTo>
                          <a:lnTo>
                            <a:pt x="2321" y="2046"/>
                          </a:lnTo>
                          <a:lnTo>
                            <a:pt x="2329" y="2041"/>
                          </a:lnTo>
                          <a:lnTo>
                            <a:pt x="2337" y="2036"/>
                          </a:lnTo>
                          <a:lnTo>
                            <a:pt x="2344" y="2029"/>
                          </a:lnTo>
                          <a:lnTo>
                            <a:pt x="2350" y="2021"/>
                          </a:lnTo>
                          <a:lnTo>
                            <a:pt x="2356" y="2012"/>
                          </a:lnTo>
                          <a:lnTo>
                            <a:pt x="2361" y="2002"/>
                          </a:lnTo>
                          <a:lnTo>
                            <a:pt x="2365" y="1991"/>
                          </a:lnTo>
                          <a:lnTo>
                            <a:pt x="2368" y="1980"/>
                          </a:lnTo>
                          <a:lnTo>
                            <a:pt x="2372" y="1968"/>
                          </a:lnTo>
                          <a:lnTo>
                            <a:pt x="2373" y="1955"/>
                          </a:lnTo>
                          <a:lnTo>
                            <a:pt x="2374" y="1940"/>
                          </a:lnTo>
                          <a:lnTo>
                            <a:pt x="2376" y="1924"/>
                          </a:lnTo>
                          <a:lnTo>
                            <a:pt x="2376" y="1924"/>
                          </a:lnTo>
                          <a:lnTo>
                            <a:pt x="2374" y="1911"/>
                          </a:lnTo>
                          <a:lnTo>
                            <a:pt x="2373" y="1897"/>
                          </a:lnTo>
                          <a:lnTo>
                            <a:pt x="2371" y="1884"/>
                          </a:lnTo>
                          <a:lnTo>
                            <a:pt x="2368" y="1872"/>
                          </a:lnTo>
                          <a:lnTo>
                            <a:pt x="2365" y="1861"/>
                          </a:lnTo>
                          <a:lnTo>
                            <a:pt x="2360" y="1851"/>
                          </a:lnTo>
                          <a:lnTo>
                            <a:pt x="2355" y="1842"/>
                          </a:lnTo>
                          <a:lnTo>
                            <a:pt x="2349" y="1833"/>
                          </a:lnTo>
                          <a:lnTo>
                            <a:pt x="2343" y="1826"/>
                          </a:lnTo>
                          <a:lnTo>
                            <a:pt x="2336" y="1818"/>
                          </a:lnTo>
                          <a:lnTo>
                            <a:pt x="2327" y="1812"/>
                          </a:lnTo>
                          <a:lnTo>
                            <a:pt x="2319" y="1807"/>
                          </a:lnTo>
                          <a:lnTo>
                            <a:pt x="2310" y="1804"/>
                          </a:lnTo>
                          <a:lnTo>
                            <a:pt x="2300" y="1801"/>
                          </a:lnTo>
                          <a:lnTo>
                            <a:pt x="2289" y="1800"/>
                          </a:lnTo>
                          <a:lnTo>
                            <a:pt x="2278" y="1799"/>
                          </a:lnTo>
                          <a:lnTo>
                            <a:pt x="2278" y="1799"/>
                          </a:lnTo>
                          <a:close/>
                          <a:moveTo>
                            <a:pt x="2267" y="1855"/>
                          </a:moveTo>
                          <a:lnTo>
                            <a:pt x="2267" y="1855"/>
                          </a:lnTo>
                          <a:lnTo>
                            <a:pt x="2276" y="1856"/>
                          </a:lnTo>
                          <a:lnTo>
                            <a:pt x="2284" y="1859"/>
                          </a:lnTo>
                          <a:lnTo>
                            <a:pt x="2292" y="1863"/>
                          </a:lnTo>
                          <a:lnTo>
                            <a:pt x="2299" y="1871"/>
                          </a:lnTo>
                          <a:lnTo>
                            <a:pt x="2305" y="1879"/>
                          </a:lnTo>
                          <a:lnTo>
                            <a:pt x="2309" y="1891"/>
                          </a:lnTo>
                          <a:lnTo>
                            <a:pt x="2312" y="1906"/>
                          </a:lnTo>
                          <a:lnTo>
                            <a:pt x="2314" y="1923"/>
                          </a:lnTo>
                          <a:lnTo>
                            <a:pt x="2314" y="1923"/>
                          </a:lnTo>
                          <a:lnTo>
                            <a:pt x="2312" y="1941"/>
                          </a:lnTo>
                          <a:lnTo>
                            <a:pt x="2310" y="1957"/>
                          </a:lnTo>
                          <a:lnTo>
                            <a:pt x="2308" y="1969"/>
                          </a:lnTo>
                          <a:lnTo>
                            <a:pt x="2303" y="1980"/>
                          </a:lnTo>
                          <a:lnTo>
                            <a:pt x="2295" y="1989"/>
                          </a:lnTo>
                          <a:lnTo>
                            <a:pt x="2288" y="1995"/>
                          </a:lnTo>
                          <a:lnTo>
                            <a:pt x="2280" y="1998"/>
                          </a:lnTo>
                          <a:lnTo>
                            <a:pt x="2269" y="2000"/>
                          </a:lnTo>
                          <a:lnTo>
                            <a:pt x="2269" y="2000"/>
                          </a:lnTo>
                          <a:lnTo>
                            <a:pt x="2260" y="1998"/>
                          </a:lnTo>
                          <a:lnTo>
                            <a:pt x="2253" y="1997"/>
                          </a:lnTo>
                          <a:lnTo>
                            <a:pt x="2247" y="1993"/>
                          </a:lnTo>
                          <a:lnTo>
                            <a:pt x="2241" y="1991"/>
                          </a:lnTo>
                          <a:lnTo>
                            <a:pt x="2231" y="1983"/>
                          </a:lnTo>
                          <a:lnTo>
                            <a:pt x="2225" y="1976"/>
                          </a:lnTo>
                          <a:lnTo>
                            <a:pt x="2225" y="1879"/>
                          </a:lnTo>
                          <a:lnTo>
                            <a:pt x="2225" y="1879"/>
                          </a:lnTo>
                          <a:lnTo>
                            <a:pt x="2229" y="1874"/>
                          </a:lnTo>
                          <a:lnTo>
                            <a:pt x="2233" y="1869"/>
                          </a:lnTo>
                          <a:lnTo>
                            <a:pt x="2238" y="1865"/>
                          </a:lnTo>
                          <a:lnTo>
                            <a:pt x="2243" y="1861"/>
                          </a:lnTo>
                          <a:lnTo>
                            <a:pt x="2249" y="1859"/>
                          </a:lnTo>
                          <a:lnTo>
                            <a:pt x="2255" y="1856"/>
                          </a:lnTo>
                          <a:lnTo>
                            <a:pt x="2261" y="1855"/>
                          </a:lnTo>
                          <a:lnTo>
                            <a:pt x="2267" y="1855"/>
                          </a:lnTo>
                          <a:lnTo>
                            <a:pt x="2267" y="1855"/>
                          </a:lnTo>
                          <a:close/>
                          <a:moveTo>
                            <a:pt x="1591" y="1822"/>
                          </a:moveTo>
                          <a:lnTo>
                            <a:pt x="1591" y="1822"/>
                          </a:lnTo>
                          <a:lnTo>
                            <a:pt x="1586" y="1817"/>
                          </a:lnTo>
                          <a:lnTo>
                            <a:pt x="1580" y="1812"/>
                          </a:lnTo>
                          <a:lnTo>
                            <a:pt x="1572" y="1809"/>
                          </a:lnTo>
                          <a:lnTo>
                            <a:pt x="1566" y="1805"/>
                          </a:lnTo>
                          <a:lnTo>
                            <a:pt x="1559" y="1803"/>
                          </a:lnTo>
                          <a:lnTo>
                            <a:pt x="1552" y="1800"/>
                          </a:lnTo>
                          <a:lnTo>
                            <a:pt x="1544" y="1800"/>
                          </a:lnTo>
                          <a:lnTo>
                            <a:pt x="1537" y="1799"/>
                          </a:lnTo>
                          <a:lnTo>
                            <a:pt x="1537" y="1799"/>
                          </a:lnTo>
                          <a:lnTo>
                            <a:pt x="1526" y="1800"/>
                          </a:lnTo>
                          <a:lnTo>
                            <a:pt x="1515" y="1801"/>
                          </a:lnTo>
                          <a:lnTo>
                            <a:pt x="1506" y="1804"/>
                          </a:lnTo>
                          <a:lnTo>
                            <a:pt x="1497" y="1807"/>
                          </a:lnTo>
                          <a:lnTo>
                            <a:pt x="1489" y="1812"/>
                          </a:lnTo>
                          <a:lnTo>
                            <a:pt x="1480" y="1818"/>
                          </a:lnTo>
                          <a:lnTo>
                            <a:pt x="1473" y="1826"/>
                          </a:lnTo>
                          <a:lnTo>
                            <a:pt x="1467" y="1833"/>
                          </a:lnTo>
                          <a:lnTo>
                            <a:pt x="1461" y="1842"/>
                          </a:lnTo>
                          <a:lnTo>
                            <a:pt x="1456" y="1851"/>
                          </a:lnTo>
                          <a:lnTo>
                            <a:pt x="1451" y="1861"/>
                          </a:lnTo>
                          <a:lnTo>
                            <a:pt x="1447" y="1872"/>
                          </a:lnTo>
                          <a:lnTo>
                            <a:pt x="1445" y="1884"/>
                          </a:lnTo>
                          <a:lnTo>
                            <a:pt x="1442" y="1897"/>
                          </a:lnTo>
                          <a:lnTo>
                            <a:pt x="1441" y="1911"/>
                          </a:lnTo>
                          <a:lnTo>
                            <a:pt x="1441" y="1924"/>
                          </a:lnTo>
                          <a:lnTo>
                            <a:pt x="1441" y="1924"/>
                          </a:lnTo>
                          <a:lnTo>
                            <a:pt x="1441" y="1940"/>
                          </a:lnTo>
                          <a:lnTo>
                            <a:pt x="1442" y="1953"/>
                          </a:lnTo>
                          <a:lnTo>
                            <a:pt x="1445" y="1967"/>
                          </a:lnTo>
                          <a:lnTo>
                            <a:pt x="1447" y="1979"/>
                          </a:lnTo>
                          <a:lnTo>
                            <a:pt x="1451" y="1991"/>
                          </a:lnTo>
                          <a:lnTo>
                            <a:pt x="1455" y="2002"/>
                          </a:lnTo>
                          <a:lnTo>
                            <a:pt x="1461" y="2012"/>
                          </a:lnTo>
                          <a:lnTo>
                            <a:pt x="1465" y="2020"/>
                          </a:lnTo>
                          <a:lnTo>
                            <a:pt x="1473" y="2029"/>
                          </a:lnTo>
                          <a:lnTo>
                            <a:pt x="1479" y="2035"/>
                          </a:lnTo>
                          <a:lnTo>
                            <a:pt x="1487" y="2041"/>
                          </a:lnTo>
                          <a:lnTo>
                            <a:pt x="1496" y="2046"/>
                          </a:lnTo>
                          <a:lnTo>
                            <a:pt x="1504" y="2049"/>
                          </a:lnTo>
                          <a:lnTo>
                            <a:pt x="1514" y="2053"/>
                          </a:lnTo>
                          <a:lnTo>
                            <a:pt x="1525" y="2054"/>
                          </a:lnTo>
                          <a:lnTo>
                            <a:pt x="1536" y="2054"/>
                          </a:lnTo>
                          <a:lnTo>
                            <a:pt x="1536" y="2054"/>
                          </a:lnTo>
                          <a:lnTo>
                            <a:pt x="1543" y="2054"/>
                          </a:lnTo>
                          <a:lnTo>
                            <a:pt x="1551" y="2053"/>
                          </a:lnTo>
                          <a:lnTo>
                            <a:pt x="1558" y="2052"/>
                          </a:lnTo>
                          <a:lnTo>
                            <a:pt x="1565" y="2049"/>
                          </a:lnTo>
                          <a:lnTo>
                            <a:pt x="1572" y="2046"/>
                          </a:lnTo>
                          <a:lnTo>
                            <a:pt x="1578" y="2041"/>
                          </a:lnTo>
                          <a:lnTo>
                            <a:pt x="1585" y="2037"/>
                          </a:lnTo>
                          <a:lnTo>
                            <a:pt x="1591" y="2031"/>
                          </a:lnTo>
                          <a:lnTo>
                            <a:pt x="1591" y="2037"/>
                          </a:lnTo>
                          <a:lnTo>
                            <a:pt x="1591" y="2037"/>
                          </a:lnTo>
                          <a:lnTo>
                            <a:pt x="1591" y="2047"/>
                          </a:lnTo>
                          <a:lnTo>
                            <a:pt x="1589" y="2058"/>
                          </a:lnTo>
                          <a:lnTo>
                            <a:pt x="1587" y="2069"/>
                          </a:lnTo>
                          <a:lnTo>
                            <a:pt x="1585" y="2074"/>
                          </a:lnTo>
                          <a:lnTo>
                            <a:pt x="1581" y="2079"/>
                          </a:lnTo>
                          <a:lnTo>
                            <a:pt x="1577" y="2083"/>
                          </a:lnTo>
                          <a:lnTo>
                            <a:pt x="1572" y="2088"/>
                          </a:lnTo>
                          <a:lnTo>
                            <a:pt x="1565" y="2092"/>
                          </a:lnTo>
                          <a:lnTo>
                            <a:pt x="1558" y="2094"/>
                          </a:lnTo>
                          <a:lnTo>
                            <a:pt x="1549" y="2098"/>
                          </a:lnTo>
                          <a:lnTo>
                            <a:pt x="1538" y="2099"/>
                          </a:lnTo>
                          <a:lnTo>
                            <a:pt x="1526" y="2102"/>
                          </a:lnTo>
                          <a:lnTo>
                            <a:pt x="1513" y="2102"/>
                          </a:lnTo>
                          <a:lnTo>
                            <a:pt x="1510" y="2102"/>
                          </a:lnTo>
                          <a:lnTo>
                            <a:pt x="1531" y="2149"/>
                          </a:lnTo>
                          <a:lnTo>
                            <a:pt x="1532" y="2149"/>
                          </a:lnTo>
                          <a:lnTo>
                            <a:pt x="1532" y="2149"/>
                          </a:lnTo>
                          <a:lnTo>
                            <a:pt x="1547" y="2149"/>
                          </a:lnTo>
                          <a:lnTo>
                            <a:pt x="1560" y="2147"/>
                          </a:lnTo>
                          <a:lnTo>
                            <a:pt x="1574" y="2144"/>
                          </a:lnTo>
                          <a:lnTo>
                            <a:pt x="1585" y="2141"/>
                          </a:lnTo>
                          <a:lnTo>
                            <a:pt x="1595" y="2137"/>
                          </a:lnTo>
                          <a:lnTo>
                            <a:pt x="1605" y="2132"/>
                          </a:lnTo>
                          <a:lnTo>
                            <a:pt x="1614" y="2125"/>
                          </a:lnTo>
                          <a:lnTo>
                            <a:pt x="1622" y="2119"/>
                          </a:lnTo>
                          <a:lnTo>
                            <a:pt x="1630" y="2110"/>
                          </a:lnTo>
                          <a:lnTo>
                            <a:pt x="1634" y="2100"/>
                          </a:lnTo>
                          <a:lnTo>
                            <a:pt x="1640" y="2091"/>
                          </a:lnTo>
                          <a:lnTo>
                            <a:pt x="1644" y="2080"/>
                          </a:lnTo>
                          <a:lnTo>
                            <a:pt x="1648" y="2068"/>
                          </a:lnTo>
                          <a:lnTo>
                            <a:pt x="1650" y="2055"/>
                          </a:lnTo>
                          <a:lnTo>
                            <a:pt x="1651" y="2042"/>
                          </a:lnTo>
                          <a:lnTo>
                            <a:pt x="1651" y="2026"/>
                          </a:lnTo>
                          <a:lnTo>
                            <a:pt x="1651" y="1805"/>
                          </a:lnTo>
                          <a:lnTo>
                            <a:pt x="1591" y="1805"/>
                          </a:lnTo>
                          <a:lnTo>
                            <a:pt x="1591" y="1822"/>
                          </a:lnTo>
                          <a:close/>
                          <a:moveTo>
                            <a:pt x="1591" y="1879"/>
                          </a:moveTo>
                          <a:lnTo>
                            <a:pt x="1591" y="1975"/>
                          </a:lnTo>
                          <a:lnTo>
                            <a:pt x="1591" y="1975"/>
                          </a:lnTo>
                          <a:lnTo>
                            <a:pt x="1583" y="1984"/>
                          </a:lnTo>
                          <a:lnTo>
                            <a:pt x="1574" y="1992"/>
                          </a:lnTo>
                          <a:lnTo>
                            <a:pt x="1569" y="1995"/>
                          </a:lnTo>
                          <a:lnTo>
                            <a:pt x="1563" y="1997"/>
                          </a:lnTo>
                          <a:lnTo>
                            <a:pt x="1555" y="1998"/>
                          </a:lnTo>
                          <a:lnTo>
                            <a:pt x="1548" y="2000"/>
                          </a:lnTo>
                          <a:lnTo>
                            <a:pt x="1548" y="2000"/>
                          </a:lnTo>
                          <a:lnTo>
                            <a:pt x="1540" y="1998"/>
                          </a:lnTo>
                          <a:lnTo>
                            <a:pt x="1532" y="1996"/>
                          </a:lnTo>
                          <a:lnTo>
                            <a:pt x="1524" y="1991"/>
                          </a:lnTo>
                          <a:lnTo>
                            <a:pt x="1518" y="1985"/>
                          </a:lnTo>
                          <a:lnTo>
                            <a:pt x="1512" y="1975"/>
                          </a:lnTo>
                          <a:lnTo>
                            <a:pt x="1507" y="1962"/>
                          </a:lnTo>
                          <a:lnTo>
                            <a:pt x="1503" y="1945"/>
                          </a:lnTo>
                          <a:lnTo>
                            <a:pt x="1502" y="1923"/>
                          </a:lnTo>
                          <a:lnTo>
                            <a:pt x="1502" y="1923"/>
                          </a:lnTo>
                          <a:lnTo>
                            <a:pt x="1503" y="1904"/>
                          </a:lnTo>
                          <a:lnTo>
                            <a:pt x="1507" y="1889"/>
                          </a:lnTo>
                          <a:lnTo>
                            <a:pt x="1512" y="1877"/>
                          </a:lnTo>
                          <a:lnTo>
                            <a:pt x="1518" y="1868"/>
                          </a:lnTo>
                          <a:lnTo>
                            <a:pt x="1524" y="1861"/>
                          </a:lnTo>
                          <a:lnTo>
                            <a:pt x="1532" y="1857"/>
                          </a:lnTo>
                          <a:lnTo>
                            <a:pt x="1540" y="1855"/>
                          </a:lnTo>
                          <a:lnTo>
                            <a:pt x="1548" y="1855"/>
                          </a:lnTo>
                          <a:lnTo>
                            <a:pt x="1548" y="1855"/>
                          </a:lnTo>
                          <a:lnTo>
                            <a:pt x="1555" y="1855"/>
                          </a:lnTo>
                          <a:lnTo>
                            <a:pt x="1563" y="1857"/>
                          </a:lnTo>
                          <a:lnTo>
                            <a:pt x="1570" y="1860"/>
                          </a:lnTo>
                          <a:lnTo>
                            <a:pt x="1575" y="1862"/>
                          </a:lnTo>
                          <a:lnTo>
                            <a:pt x="1580" y="1867"/>
                          </a:lnTo>
                          <a:lnTo>
                            <a:pt x="1585" y="1871"/>
                          </a:lnTo>
                          <a:lnTo>
                            <a:pt x="1591" y="1879"/>
                          </a:lnTo>
                          <a:lnTo>
                            <a:pt x="1591" y="1879"/>
                          </a:lnTo>
                          <a:close/>
                          <a:moveTo>
                            <a:pt x="1840" y="1865"/>
                          </a:moveTo>
                          <a:lnTo>
                            <a:pt x="1840" y="1865"/>
                          </a:lnTo>
                          <a:lnTo>
                            <a:pt x="1854" y="1857"/>
                          </a:lnTo>
                          <a:lnTo>
                            <a:pt x="1869" y="1852"/>
                          </a:lnTo>
                          <a:lnTo>
                            <a:pt x="1885" y="1849"/>
                          </a:lnTo>
                          <a:lnTo>
                            <a:pt x="1902" y="1848"/>
                          </a:lnTo>
                          <a:lnTo>
                            <a:pt x="1902" y="1848"/>
                          </a:lnTo>
                          <a:lnTo>
                            <a:pt x="1913" y="1849"/>
                          </a:lnTo>
                          <a:lnTo>
                            <a:pt x="1921" y="1850"/>
                          </a:lnTo>
                          <a:lnTo>
                            <a:pt x="1928" y="1852"/>
                          </a:lnTo>
                          <a:lnTo>
                            <a:pt x="1935" y="1857"/>
                          </a:lnTo>
                          <a:lnTo>
                            <a:pt x="1939" y="1862"/>
                          </a:lnTo>
                          <a:lnTo>
                            <a:pt x="1943" y="1868"/>
                          </a:lnTo>
                          <a:lnTo>
                            <a:pt x="1945" y="1874"/>
                          </a:lnTo>
                          <a:lnTo>
                            <a:pt x="1945" y="1883"/>
                          </a:lnTo>
                          <a:lnTo>
                            <a:pt x="1945" y="1900"/>
                          </a:lnTo>
                          <a:lnTo>
                            <a:pt x="1945" y="1900"/>
                          </a:lnTo>
                          <a:lnTo>
                            <a:pt x="1935" y="1895"/>
                          </a:lnTo>
                          <a:lnTo>
                            <a:pt x="1921" y="1891"/>
                          </a:lnTo>
                          <a:lnTo>
                            <a:pt x="1908" y="1889"/>
                          </a:lnTo>
                          <a:lnTo>
                            <a:pt x="1893" y="1888"/>
                          </a:lnTo>
                          <a:lnTo>
                            <a:pt x="1893" y="1888"/>
                          </a:lnTo>
                          <a:lnTo>
                            <a:pt x="1876" y="1889"/>
                          </a:lnTo>
                          <a:lnTo>
                            <a:pt x="1859" y="1893"/>
                          </a:lnTo>
                          <a:lnTo>
                            <a:pt x="1843" y="1897"/>
                          </a:lnTo>
                          <a:lnTo>
                            <a:pt x="1835" y="1901"/>
                          </a:lnTo>
                          <a:lnTo>
                            <a:pt x="1828" y="1906"/>
                          </a:lnTo>
                          <a:lnTo>
                            <a:pt x="1822" y="1911"/>
                          </a:lnTo>
                          <a:lnTo>
                            <a:pt x="1815" y="1917"/>
                          </a:lnTo>
                          <a:lnTo>
                            <a:pt x="1809" y="1923"/>
                          </a:lnTo>
                          <a:lnTo>
                            <a:pt x="1805" y="1930"/>
                          </a:lnTo>
                          <a:lnTo>
                            <a:pt x="1801" y="1939"/>
                          </a:lnTo>
                          <a:lnTo>
                            <a:pt x="1798" y="1948"/>
                          </a:lnTo>
                          <a:lnTo>
                            <a:pt x="1797" y="1958"/>
                          </a:lnTo>
                          <a:lnTo>
                            <a:pt x="1796" y="1968"/>
                          </a:lnTo>
                          <a:lnTo>
                            <a:pt x="1796" y="1968"/>
                          </a:lnTo>
                          <a:lnTo>
                            <a:pt x="1797" y="1980"/>
                          </a:lnTo>
                          <a:lnTo>
                            <a:pt x="1798" y="1991"/>
                          </a:lnTo>
                          <a:lnTo>
                            <a:pt x="1801" y="2000"/>
                          </a:lnTo>
                          <a:lnTo>
                            <a:pt x="1805" y="2009"/>
                          </a:lnTo>
                          <a:lnTo>
                            <a:pt x="1808" y="2017"/>
                          </a:lnTo>
                          <a:lnTo>
                            <a:pt x="1814" y="2024"/>
                          </a:lnTo>
                          <a:lnTo>
                            <a:pt x="1819" y="2030"/>
                          </a:lnTo>
                          <a:lnTo>
                            <a:pt x="1826" y="2036"/>
                          </a:lnTo>
                          <a:lnTo>
                            <a:pt x="1832" y="2041"/>
                          </a:lnTo>
                          <a:lnTo>
                            <a:pt x="1840" y="2045"/>
                          </a:lnTo>
                          <a:lnTo>
                            <a:pt x="1856" y="2051"/>
                          </a:lnTo>
                          <a:lnTo>
                            <a:pt x="1871" y="2054"/>
                          </a:lnTo>
                          <a:lnTo>
                            <a:pt x="1887" y="2055"/>
                          </a:lnTo>
                          <a:lnTo>
                            <a:pt x="1887" y="2055"/>
                          </a:lnTo>
                          <a:lnTo>
                            <a:pt x="1901" y="2053"/>
                          </a:lnTo>
                          <a:lnTo>
                            <a:pt x="1909" y="2052"/>
                          </a:lnTo>
                          <a:lnTo>
                            <a:pt x="1916" y="2049"/>
                          </a:lnTo>
                          <a:lnTo>
                            <a:pt x="1925" y="2046"/>
                          </a:lnTo>
                          <a:lnTo>
                            <a:pt x="1932" y="2041"/>
                          </a:lnTo>
                          <a:lnTo>
                            <a:pt x="1939" y="2036"/>
                          </a:lnTo>
                          <a:lnTo>
                            <a:pt x="1945" y="2030"/>
                          </a:lnTo>
                          <a:lnTo>
                            <a:pt x="1945" y="2049"/>
                          </a:lnTo>
                          <a:lnTo>
                            <a:pt x="2006" y="2049"/>
                          </a:lnTo>
                          <a:lnTo>
                            <a:pt x="2006" y="1884"/>
                          </a:lnTo>
                          <a:lnTo>
                            <a:pt x="2006" y="1884"/>
                          </a:lnTo>
                          <a:lnTo>
                            <a:pt x="2006" y="1874"/>
                          </a:lnTo>
                          <a:lnTo>
                            <a:pt x="2005" y="1866"/>
                          </a:lnTo>
                          <a:lnTo>
                            <a:pt x="2003" y="1857"/>
                          </a:lnTo>
                          <a:lnTo>
                            <a:pt x="2000" y="1849"/>
                          </a:lnTo>
                          <a:lnTo>
                            <a:pt x="1995" y="1842"/>
                          </a:lnTo>
                          <a:lnTo>
                            <a:pt x="1992" y="1834"/>
                          </a:lnTo>
                          <a:lnTo>
                            <a:pt x="1986" y="1828"/>
                          </a:lnTo>
                          <a:lnTo>
                            <a:pt x="1979" y="1822"/>
                          </a:lnTo>
                          <a:lnTo>
                            <a:pt x="1973" y="1817"/>
                          </a:lnTo>
                          <a:lnTo>
                            <a:pt x="1966" y="1812"/>
                          </a:lnTo>
                          <a:lnTo>
                            <a:pt x="1958" y="1809"/>
                          </a:lnTo>
                          <a:lnTo>
                            <a:pt x="1949" y="1805"/>
                          </a:lnTo>
                          <a:lnTo>
                            <a:pt x="1939" y="1803"/>
                          </a:lnTo>
                          <a:lnTo>
                            <a:pt x="1930" y="1801"/>
                          </a:lnTo>
                          <a:lnTo>
                            <a:pt x="1919" y="1800"/>
                          </a:lnTo>
                          <a:lnTo>
                            <a:pt x="1908" y="1799"/>
                          </a:lnTo>
                          <a:lnTo>
                            <a:pt x="1908" y="1799"/>
                          </a:lnTo>
                          <a:lnTo>
                            <a:pt x="1894" y="1800"/>
                          </a:lnTo>
                          <a:lnTo>
                            <a:pt x="1883" y="1800"/>
                          </a:lnTo>
                          <a:lnTo>
                            <a:pt x="1871" y="1803"/>
                          </a:lnTo>
                          <a:lnTo>
                            <a:pt x="1859" y="1805"/>
                          </a:lnTo>
                          <a:lnTo>
                            <a:pt x="1848" y="1809"/>
                          </a:lnTo>
                          <a:lnTo>
                            <a:pt x="1837" y="1812"/>
                          </a:lnTo>
                          <a:lnTo>
                            <a:pt x="1826" y="1817"/>
                          </a:lnTo>
                          <a:lnTo>
                            <a:pt x="1815" y="1823"/>
                          </a:lnTo>
                          <a:lnTo>
                            <a:pt x="1840" y="1865"/>
                          </a:lnTo>
                          <a:close/>
                          <a:moveTo>
                            <a:pt x="1857" y="1968"/>
                          </a:moveTo>
                          <a:lnTo>
                            <a:pt x="1857" y="1968"/>
                          </a:lnTo>
                          <a:lnTo>
                            <a:pt x="1857" y="1961"/>
                          </a:lnTo>
                          <a:lnTo>
                            <a:pt x="1859" y="1953"/>
                          </a:lnTo>
                          <a:lnTo>
                            <a:pt x="1863" y="1947"/>
                          </a:lnTo>
                          <a:lnTo>
                            <a:pt x="1868" y="1942"/>
                          </a:lnTo>
                          <a:lnTo>
                            <a:pt x="1874" y="1939"/>
                          </a:lnTo>
                          <a:lnTo>
                            <a:pt x="1881" y="1936"/>
                          </a:lnTo>
                          <a:lnTo>
                            <a:pt x="1890" y="1934"/>
                          </a:lnTo>
                          <a:lnTo>
                            <a:pt x="1898" y="1934"/>
                          </a:lnTo>
                          <a:lnTo>
                            <a:pt x="1898" y="1934"/>
                          </a:lnTo>
                          <a:lnTo>
                            <a:pt x="1911" y="1934"/>
                          </a:lnTo>
                          <a:lnTo>
                            <a:pt x="1924" y="1936"/>
                          </a:lnTo>
                          <a:lnTo>
                            <a:pt x="1935" y="1940"/>
                          </a:lnTo>
                          <a:lnTo>
                            <a:pt x="1945" y="1946"/>
                          </a:lnTo>
                          <a:lnTo>
                            <a:pt x="1945" y="1979"/>
                          </a:lnTo>
                          <a:lnTo>
                            <a:pt x="1945" y="1979"/>
                          </a:lnTo>
                          <a:lnTo>
                            <a:pt x="1943" y="1984"/>
                          </a:lnTo>
                          <a:lnTo>
                            <a:pt x="1938" y="1989"/>
                          </a:lnTo>
                          <a:lnTo>
                            <a:pt x="1933" y="1993"/>
                          </a:lnTo>
                          <a:lnTo>
                            <a:pt x="1927" y="1997"/>
                          </a:lnTo>
                          <a:lnTo>
                            <a:pt x="1921" y="2001"/>
                          </a:lnTo>
                          <a:lnTo>
                            <a:pt x="1914" y="2003"/>
                          </a:lnTo>
                          <a:lnTo>
                            <a:pt x="1907" y="2004"/>
                          </a:lnTo>
                          <a:lnTo>
                            <a:pt x="1898" y="2006"/>
                          </a:lnTo>
                          <a:lnTo>
                            <a:pt x="1898" y="2006"/>
                          </a:lnTo>
                          <a:lnTo>
                            <a:pt x="1890" y="2004"/>
                          </a:lnTo>
                          <a:lnTo>
                            <a:pt x="1881" y="2002"/>
                          </a:lnTo>
                          <a:lnTo>
                            <a:pt x="1874" y="2000"/>
                          </a:lnTo>
                          <a:lnTo>
                            <a:pt x="1868" y="1995"/>
                          </a:lnTo>
                          <a:lnTo>
                            <a:pt x="1863" y="1990"/>
                          </a:lnTo>
                          <a:lnTo>
                            <a:pt x="1859" y="1984"/>
                          </a:lnTo>
                          <a:lnTo>
                            <a:pt x="1858" y="1976"/>
                          </a:lnTo>
                          <a:lnTo>
                            <a:pt x="1857" y="1968"/>
                          </a:lnTo>
                          <a:lnTo>
                            <a:pt x="1857" y="1968"/>
                          </a:lnTo>
                          <a:close/>
                          <a:moveTo>
                            <a:pt x="2569" y="1979"/>
                          </a:moveTo>
                          <a:lnTo>
                            <a:pt x="2569" y="1979"/>
                          </a:lnTo>
                          <a:lnTo>
                            <a:pt x="2560" y="1986"/>
                          </a:lnTo>
                          <a:lnTo>
                            <a:pt x="2549" y="1992"/>
                          </a:lnTo>
                          <a:lnTo>
                            <a:pt x="2543" y="1995"/>
                          </a:lnTo>
                          <a:lnTo>
                            <a:pt x="2536" y="1997"/>
                          </a:lnTo>
                          <a:lnTo>
                            <a:pt x="2529" y="1998"/>
                          </a:lnTo>
                          <a:lnTo>
                            <a:pt x="2521" y="2000"/>
                          </a:lnTo>
                          <a:lnTo>
                            <a:pt x="2521" y="2000"/>
                          </a:lnTo>
                          <a:lnTo>
                            <a:pt x="2515" y="1998"/>
                          </a:lnTo>
                          <a:lnTo>
                            <a:pt x="2508" y="1998"/>
                          </a:lnTo>
                          <a:lnTo>
                            <a:pt x="2500" y="1996"/>
                          </a:lnTo>
                          <a:lnTo>
                            <a:pt x="2490" y="1991"/>
                          </a:lnTo>
                          <a:lnTo>
                            <a:pt x="2481" y="1985"/>
                          </a:lnTo>
                          <a:lnTo>
                            <a:pt x="2478" y="1980"/>
                          </a:lnTo>
                          <a:lnTo>
                            <a:pt x="2474" y="1975"/>
                          </a:lnTo>
                          <a:lnTo>
                            <a:pt x="2472" y="1969"/>
                          </a:lnTo>
                          <a:lnTo>
                            <a:pt x="2469" y="1962"/>
                          </a:lnTo>
                          <a:lnTo>
                            <a:pt x="2468" y="1955"/>
                          </a:lnTo>
                          <a:lnTo>
                            <a:pt x="2467" y="1946"/>
                          </a:lnTo>
                          <a:lnTo>
                            <a:pt x="2616" y="1946"/>
                          </a:lnTo>
                          <a:lnTo>
                            <a:pt x="2616" y="1946"/>
                          </a:lnTo>
                          <a:lnTo>
                            <a:pt x="2617" y="1928"/>
                          </a:lnTo>
                          <a:lnTo>
                            <a:pt x="2617" y="1928"/>
                          </a:lnTo>
                          <a:lnTo>
                            <a:pt x="2617" y="1913"/>
                          </a:lnTo>
                          <a:lnTo>
                            <a:pt x="2615" y="1900"/>
                          </a:lnTo>
                          <a:lnTo>
                            <a:pt x="2614" y="1886"/>
                          </a:lnTo>
                          <a:lnTo>
                            <a:pt x="2610" y="1874"/>
                          </a:lnTo>
                          <a:lnTo>
                            <a:pt x="2607" y="1863"/>
                          </a:lnTo>
                          <a:lnTo>
                            <a:pt x="2602" y="1852"/>
                          </a:lnTo>
                          <a:lnTo>
                            <a:pt x="2596" y="1843"/>
                          </a:lnTo>
                          <a:lnTo>
                            <a:pt x="2589" y="1834"/>
                          </a:lnTo>
                          <a:lnTo>
                            <a:pt x="2582" y="1826"/>
                          </a:lnTo>
                          <a:lnTo>
                            <a:pt x="2575" y="1820"/>
                          </a:lnTo>
                          <a:lnTo>
                            <a:pt x="2566" y="1814"/>
                          </a:lnTo>
                          <a:lnTo>
                            <a:pt x="2557" y="1809"/>
                          </a:lnTo>
                          <a:lnTo>
                            <a:pt x="2547" y="1805"/>
                          </a:lnTo>
                          <a:lnTo>
                            <a:pt x="2537" y="1801"/>
                          </a:lnTo>
                          <a:lnTo>
                            <a:pt x="2526" y="1800"/>
                          </a:lnTo>
                          <a:lnTo>
                            <a:pt x="2514" y="1799"/>
                          </a:lnTo>
                          <a:lnTo>
                            <a:pt x="2514" y="1799"/>
                          </a:lnTo>
                          <a:lnTo>
                            <a:pt x="2503" y="1800"/>
                          </a:lnTo>
                          <a:lnTo>
                            <a:pt x="2492" y="1801"/>
                          </a:lnTo>
                          <a:lnTo>
                            <a:pt x="2481" y="1805"/>
                          </a:lnTo>
                          <a:lnTo>
                            <a:pt x="2470" y="1809"/>
                          </a:lnTo>
                          <a:lnTo>
                            <a:pt x="2461" y="1814"/>
                          </a:lnTo>
                          <a:lnTo>
                            <a:pt x="2452" y="1821"/>
                          </a:lnTo>
                          <a:lnTo>
                            <a:pt x="2444" y="1827"/>
                          </a:lnTo>
                          <a:lnTo>
                            <a:pt x="2436" y="1835"/>
                          </a:lnTo>
                          <a:lnTo>
                            <a:pt x="2429" y="1844"/>
                          </a:lnTo>
                          <a:lnTo>
                            <a:pt x="2423" y="1854"/>
                          </a:lnTo>
                          <a:lnTo>
                            <a:pt x="2418" y="1865"/>
                          </a:lnTo>
                          <a:lnTo>
                            <a:pt x="2413" y="1876"/>
                          </a:lnTo>
                          <a:lnTo>
                            <a:pt x="2410" y="1888"/>
                          </a:lnTo>
                          <a:lnTo>
                            <a:pt x="2407" y="1901"/>
                          </a:lnTo>
                          <a:lnTo>
                            <a:pt x="2406" y="1913"/>
                          </a:lnTo>
                          <a:lnTo>
                            <a:pt x="2405" y="1928"/>
                          </a:lnTo>
                          <a:lnTo>
                            <a:pt x="2405" y="1928"/>
                          </a:lnTo>
                          <a:lnTo>
                            <a:pt x="2406" y="1941"/>
                          </a:lnTo>
                          <a:lnTo>
                            <a:pt x="2407" y="1955"/>
                          </a:lnTo>
                          <a:lnTo>
                            <a:pt x="2410" y="1968"/>
                          </a:lnTo>
                          <a:lnTo>
                            <a:pt x="2413" y="1980"/>
                          </a:lnTo>
                          <a:lnTo>
                            <a:pt x="2418" y="1991"/>
                          </a:lnTo>
                          <a:lnTo>
                            <a:pt x="2423" y="2002"/>
                          </a:lnTo>
                          <a:lnTo>
                            <a:pt x="2429" y="2012"/>
                          </a:lnTo>
                          <a:lnTo>
                            <a:pt x="2436" y="2020"/>
                          </a:lnTo>
                          <a:lnTo>
                            <a:pt x="2445" y="2028"/>
                          </a:lnTo>
                          <a:lnTo>
                            <a:pt x="2453" y="2035"/>
                          </a:lnTo>
                          <a:lnTo>
                            <a:pt x="2463" y="2041"/>
                          </a:lnTo>
                          <a:lnTo>
                            <a:pt x="2473" y="2046"/>
                          </a:lnTo>
                          <a:lnTo>
                            <a:pt x="2484" y="2049"/>
                          </a:lnTo>
                          <a:lnTo>
                            <a:pt x="2496" y="2053"/>
                          </a:lnTo>
                          <a:lnTo>
                            <a:pt x="2508" y="2054"/>
                          </a:lnTo>
                          <a:lnTo>
                            <a:pt x="2521" y="2055"/>
                          </a:lnTo>
                          <a:lnTo>
                            <a:pt x="2521" y="2055"/>
                          </a:lnTo>
                          <a:lnTo>
                            <a:pt x="2534" y="2054"/>
                          </a:lnTo>
                          <a:lnTo>
                            <a:pt x="2545" y="2053"/>
                          </a:lnTo>
                          <a:lnTo>
                            <a:pt x="2557" y="2049"/>
                          </a:lnTo>
                          <a:lnTo>
                            <a:pt x="2568" y="2046"/>
                          </a:lnTo>
                          <a:lnTo>
                            <a:pt x="2579" y="2040"/>
                          </a:lnTo>
                          <a:lnTo>
                            <a:pt x="2588" y="2034"/>
                          </a:lnTo>
                          <a:lnTo>
                            <a:pt x="2598" y="2025"/>
                          </a:lnTo>
                          <a:lnTo>
                            <a:pt x="2608" y="2017"/>
                          </a:lnTo>
                          <a:lnTo>
                            <a:pt x="2569" y="1979"/>
                          </a:lnTo>
                          <a:close/>
                          <a:moveTo>
                            <a:pt x="2468" y="1901"/>
                          </a:moveTo>
                          <a:lnTo>
                            <a:pt x="2468" y="1901"/>
                          </a:lnTo>
                          <a:lnTo>
                            <a:pt x="2469" y="1890"/>
                          </a:lnTo>
                          <a:lnTo>
                            <a:pt x="2472" y="1880"/>
                          </a:lnTo>
                          <a:lnTo>
                            <a:pt x="2475" y="1872"/>
                          </a:lnTo>
                          <a:lnTo>
                            <a:pt x="2481" y="1865"/>
                          </a:lnTo>
                          <a:lnTo>
                            <a:pt x="2487" y="1859"/>
                          </a:lnTo>
                          <a:lnTo>
                            <a:pt x="2495" y="1855"/>
                          </a:lnTo>
                          <a:lnTo>
                            <a:pt x="2503" y="1851"/>
                          </a:lnTo>
                          <a:lnTo>
                            <a:pt x="2513" y="1851"/>
                          </a:lnTo>
                          <a:lnTo>
                            <a:pt x="2513" y="1851"/>
                          </a:lnTo>
                          <a:lnTo>
                            <a:pt x="2524" y="1852"/>
                          </a:lnTo>
                          <a:lnTo>
                            <a:pt x="2534" y="1855"/>
                          </a:lnTo>
                          <a:lnTo>
                            <a:pt x="2541" y="1860"/>
                          </a:lnTo>
                          <a:lnTo>
                            <a:pt x="2547" y="1867"/>
                          </a:lnTo>
                          <a:lnTo>
                            <a:pt x="2552" y="1874"/>
                          </a:lnTo>
                          <a:lnTo>
                            <a:pt x="2555" y="1883"/>
                          </a:lnTo>
                          <a:lnTo>
                            <a:pt x="2558" y="1893"/>
                          </a:lnTo>
                          <a:lnTo>
                            <a:pt x="2559" y="1901"/>
                          </a:lnTo>
                          <a:lnTo>
                            <a:pt x="2468" y="1901"/>
                          </a:lnTo>
                          <a:close/>
                          <a:moveTo>
                            <a:pt x="3153" y="1979"/>
                          </a:moveTo>
                          <a:lnTo>
                            <a:pt x="3153" y="1979"/>
                          </a:lnTo>
                          <a:lnTo>
                            <a:pt x="3144" y="1986"/>
                          </a:lnTo>
                          <a:lnTo>
                            <a:pt x="3134" y="1992"/>
                          </a:lnTo>
                          <a:lnTo>
                            <a:pt x="3127" y="1995"/>
                          </a:lnTo>
                          <a:lnTo>
                            <a:pt x="3121" y="1997"/>
                          </a:lnTo>
                          <a:lnTo>
                            <a:pt x="3113" y="1998"/>
                          </a:lnTo>
                          <a:lnTo>
                            <a:pt x="3105" y="2000"/>
                          </a:lnTo>
                          <a:lnTo>
                            <a:pt x="3105" y="2000"/>
                          </a:lnTo>
                          <a:lnTo>
                            <a:pt x="3099" y="1998"/>
                          </a:lnTo>
                          <a:lnTo>
                            <a:pt x="3091" y="1998"/>
                          </a:lnTo>
                          <a:lnTo>
                            <a:pt x="3083" y="1996"/>
                          </a:lnTo>
                          <a:lnTo>
                            <a:pt x="3074" y="1991"/>
                          </a:lnTo>
                          <a:lnTo>
                            <a:pt x="3066" y="1985"/>
                          </a:lnTo>
                          <a:lnTo>
                            <a:pt x="3062" y="1980"/>
                          </a:lnTo>
                          <a:lnTo>
                            <a:pt x="3059" y="1975"/>
                          </a:lnTo>
                          <a:lnTo>
                            <a:pt x="3056" y="1969"/>
                          </a:lnTo>
                          <a:lnTo>
                            <a:pt x="3054" y="1962"/>
                          </a:lnTo>
                          <a:lnTo>
                            <a:pt x="3051" y="1955"/>
                          </a:lnTo>
                          <a:lnTo>
                            <a:pt x="3050" y="1946"/>
                          </a:lnTo>
                          <a:lnTo>
                            <a:pt x="3201" y="1946"/>
                          </a:lnTo>
                          <a:lnTo>
                            <a:pt x="3201" y="1946"/>
                          </a:lnTo>
                          <a:lnTo>
                            <a:pt x="3202" y="1928"/>
                          </a:lnTo>
                          <a:lnTo>
                            <a:pt x="3202" y="1928"/>
                          </a:lnTo>
                          <a:lnTo>
                            <a:pt x="3201" y="1913"/>
                          </a:lnTo>
                          <a:lnTo>
                            <a:pt x="3199" y="1900"/>
                          </a:lnTo>
                          <a:lnTo>
                            <a:pt x="3197" y="1886"/>
                          </a:lnTo>
                          <a:lnTo>
                            <a:pt x="3195" y="1874"/>
                          </a:lnTo>
                          <a:lnTo>
                            <a:pt x="3190" y="1863"/>
                          </a:lnTo>
                          <a:lnTo>
                            <a:pt x="3185" y="1852"/>
                          </a:lnTo>
                          <a:lnTo>
                            <a:pt x="3180" y="1843"/>
                          </a:lnTo>
                          <a:lnTo>
                            <a:pt x="3174" y="1834"/>
                          </a:lnTo>
                          <a:lnTo>
                            <a:pt x="3167" y="1826"/>
                          </a:lnTo>
                          <a:lnTo>
                            <a:pt x="3158" y="1820"/>
                          </a:lnTo>
                          <a:lnTo>
                            <a:pt x="3150" y="1814"/>
                          </a:lnTo>
                          <a:lnTo>
                            <a:pt x="3141" y="1809"/>
                          </a:lnTo>
                          <a:lnTo>
                            <a:pt x="3131" y="1805"/>
                          </a:lnTo>
                          <a:lnTo>
                            <a:pt x="3121" y="1801"/>
                          </a:lnTo>
                          <a:lnTo>
                            <a:pt x="3110" y="1800"/>
                          </a:lnTo>
                          <a:lnTo>
                            <a:pt x="3099" y="1799"/>
                          </a:lnTo>
                          <a:lnTo>
                            <a:pt x="3099" y="1799"/>
                          </a:lnTo>
                          <a:lnTo>
                            <a:pt x="3086" y="1800"/>
                          </a:lnTo>
                          <a:lnTo>
                            <a:pt x="3076" y="1801"/>
                          </a:lnTo>
                          <a:lnTo>
                            <a:pt x="3065" y="1805"/>
                          </a:lnTo>
                          <a:lnTo>
                            <a:pt x="3055" y="1809"/>
                          </a:lnTo>
                          <a:lnTo>
                            <a:pt x="3045" y="1814"/>
                          </a:lnTo>
                          <a:lnTo>
                            <a:pt x="3035" y="1821"/>
                          </a:lnTo>
                          <a:lnTo>
                            <a:pt x="3028" y="1827"/>
                          </a:lnTo>
                          <a:lnTo>
                            <a:pt x="3020" y="1835"/>
                          </a:lnTo>
                          <a:lnTo>
                            <a:pt x="3012" y="1844"/>
                          </a:lnTo>
                          <a:lnTo>
                            <a:pt x="3006" y="1854"/>
                          </a:lnTo>
                          <a:lnTo>
                            <a:pt x="3001" y="1865"/>
                          </a:lnTo>
                          <a:lnTo>
                            <a:pt x="2997" y="1876"/>
                          </a:lnTo>
                          <a:lnTo>
                            <a:pt x="2994" y="1888"/>
                          </a:lnTo>
                          <a:lnTo>
                            <a:pt x="2990" y="1901"/>
                          </a:lnTo>
                          <a:lnTo>
                            <a:pt x="2989" y="1913"/>
                          </a:lnTo>
                          <a:lnTo>
                            <a:pt x="2989" y="1928"/>
                          </a:lnTo>
                          <a:lnTo>
                            <a:pt x="2989" y="1928"/>
                          </a:lnTo>
                          <a:lnTo>
                            <a:pt x="2989" y="1941"/>
                          </a:lnTo>
                          <a:lnTo>
                            <a:pt x="2990" y="1955"/>
                          </a:lnTo>
                          <a:lnTo>
                            <a:pt x="2993" y="1968"/>
                          </a:lnTo>
                          <a:lnTo>
                            <a:pt x="2997" y="1980"/>
                          </a:lnTo>
                          <a:lnTo>
                            <a:pt x="3001" y="1991"/>
                          </a:lnTo>
                          <a:lnTo>
                            <a:pt x="3008" y="2002"/>
                          </a:lnTo>
                          <a:lnTo>
                            <a:pt x="3014" y="2012"/>
                          </a:lnTo>
                          <a:lnTo>
                            <a:pt x="3021" y="2020"/>
                          </a:lnTo>
                          <a:lnTo>
                            <a:pt x="3028" y="2028"/>
                          </a:lnTo>
                          <a:lnTo>
                            <a:pt x="3037" y="2035"/>
                          </a:lnTo>
                          <a:lnTo>
                            <a:pt x="3046" y="2041"/>
                          </a:lnTo>
                          <a:lnTo>
                            <a:pt x="3057" y="2046"/>
                          </a:lnTo>
                          <a:lnTo>
                            <a:pt x="3068" y="2049"/>
                          </a:lnTo>
                          <a:lnTo>
                            <a:pt x="3079" y="2053"/>
                          </a:lnTo>
                          <a:lnTo>
                            <a:pt x="3093" y="2054"/>
                          </a:lnTo>
                          <a:lnTo>
                            <a:pt x="3105" y="2055"/>
                          </a:lnTo>
                          <a:lnTo>
                            <a:pt x="3105" y="2055"/>
                          </a:lnTo>
                          <a:lnTo>
                            <a:pt x="3117" y="2054"/>
                          </a:lnTo>
                          <a:lnTo>
                            <a:pt x="3129" y="2053"/>
                          </a:lnTo>
                          <a:lnTo>
                            <a:pt x="3140" y="2049"/>
                          </a:lnTo>
                          <a:lnTo>
                            <a:pt x="3151" y="2046"/>
                          </a:lnTo>
                          <a:lnTo>
                            <a:pt x="3162" y="2040"/>
                          </a:lnTo>
                          <a:lnTo>
                            <a:pt x="3173" y="2034"/>
                          </a:lnTo>
                          <a:lnTo>
                            <a:pt x="3182" y="2025"/>
                          </a:lnTo>
                          <a:lnTo>
                            <a:pt x="3191" y="2017"/>
                          </a:lnTo>
                          <a:lnTo>
                            <a:pt x="3153" y="1979"/>
                          </a:lnTo>
                          <a:close/>
                          <a:moveTo>
                            <a:pt x="3051" y="1901"/>
                          </a:moveTo>
                          <a:lnTo>
                            <a:pt x="3051" y="1901"/>
                          </a:lnTo>
                          <a:lnTo>
                            <a:pt x="3052" y="1890"/>
                          </a:lnTo>
                          <a:lnTo>
                            <a:pt x="3056" y="1880"/>
                          </a:lnTo>
                          <a:lnTo>
                            <a:pt x="3060" y="1872"/>
                          </a:lnTo>
                          <a:lnTo>
                            <a:pt x="3065" y="1865"/>
                          </a:lnTo>
                          <a:lnTo>
                            <a:pt x="3072" y="1859"/>
                          </a:lnTo>
                          <a:lnTo>
                            <a:pt x="3079" y="1855"/>
                          </a:lnTo>
                          <a:lnTo>
                            <a:pt x="3088" y="1851"/>
                          </a:lnTo>
                          <a:lnTo>
                            <a:pt x="3097" y="1851"/>
                          </a:lnTo>
                          <a:lnTo>
                            <a:pt x="3097" y="1851"/>
                          </a:lnTo>
                          <a:lnTo>
                            <a:pt x="3108" y="1852"/>
                          </a:lnTo>
                          <a:lnTo>
                            <a:pt x="3117" y="1855"/>
                          </a:lnTo>
                          <a:lnTo>
                            <a:pt x="3125" y="1860"/>
                          </a:lnTo>
                          <a:lnTo>
                            <a:pt x="3131" y="1867"/>
                          </a:lnTo>
                          <a:lnTo>
                            <a:pt x="3136" y="1874"/>
                          </a:lnTo>
                          <a:lnTo>
                            <a:pt x="3140" y="1883"/>
                          </a:lnTo>
                          <a:lnTo>
                            <a:pt x="3142" y="1893"/>
                          </a:lnTo>
                          <a:lnTo>
                            <a:pt x="3144" y="1901"/>
                          </a:lnTo>
                          <a:lnTo>
                            <a:pt x="3051" y="1901"/>
                          </a:lnTo>
                          <a:close/>
                          <a:moveTo>
                            <a:pt x="2905" y="1964"/>
                          </a:moveTo>
                          <a:lnTo>
                            <a:pt x="2905" y="1964"/>
                          </a:lnTo>
                          <a:lnTo>
                            <a:pt x="2905" y="1973"/>
                          </a:lnTo>
                          <a:lnTo>
                            <a:pt x="2907" y="1979"/>
                          </a:lnTo>
                          <a:lnTo>
                            <a:pt x="2909" y="1985"/>
                          </a:lnTo>
                          <a:lnTo>
                            <a:pt x="2912" y="1990"/>
                          </a:lnTo>
                          <a:lnTo>
                            <a:pt x="2915" y="1993"/>
                          </a:lnTo>
                          <a:lnTo>
                            <a:pt x="2920" y="1996"/>
                          </a:lnTo>
                          <a:lnTo>
                            <a:pt x="2925" y="1997"/>
                          </a:lnTo>
                          <a:lnTo>
                            <a:pt x="2932" y="1997"/>
                          </a:lnTo>
                          <a:lnTo>
                            <a:pt x="2932" y="1997"/>
                          </a:lnTo>
                          <a:lnTo>
                            <a:pt x="2941" y="1997"/>
                          </a:lnTo>
                          <a:lnTo>
                            <a:pt x="2950" y="1995"/>
                          </a:lnTo>
                          <a:lnTo>
                            <a:pt x="2960" y="1991"/>
                          </a:lnTo>
                          <a:lnTo>
                            <a:pt x="2969" y="1986"/>
                          </a:lnTo>
                          <a:lnTo>
                            <a:pt x="2961" y="2043"/>
                          </a:lnTo>
                          <a:lnTo>
                            <a:pt x="2961" y="2043"/>
                          </a:lnTo>
                          <a:lnTo>
                            <a:pt x="2950" y="2048"/>
                          </a:lnTo>
                          <a:lnTo>
                            <a:pt x="2937" y="2052"/>
                          </a:lnTo>
                          <a:lnTo>
                            <a:pt x="2924" y="2054"/>
                          </a:lnTo>
                          <a:lnTo>
                            <a:pt x="2910" y="2055"/>
                          </a:lnTo>
                          <a:lnTo>
                            <a:pt x="2910" y="2055"/>
                          </a:lnTo>
                          <a:lnTo>
                            <a:pt x="2902" y="2054"/>
                          </a:lnTo>
                          <a:lnTo>
                            <a:pt x="2893" y="2053"/>
                          </a:lnTo>
                          <a:lnTo>
                            <a:pt x="2886" y="2051"/>
                          </a:lnTo>
                          <a:lnTo>
                            <a:pt x="2880" y="2048"/>
                          </a:lnTo>
                          <a:lnTo>
                            <a:pt x="2874" y="2045"/>
                          </a:lnTo>
                          <a:lnTo>
                            <a:pt x="2868" y="2041"/>
                          </a:lnTo>
                          <a:lnTo>
                            <a:pt x="2864" y="2036"/>
                          </a:lnTo>
                          <a:lnTo>
                            <a:pt x="2859" y="2030"/>
                          </a:lnTo>
                          <a:lnTo>
                            <a:pt x="2853" y="2019"/>
                          </a:lnTo>
                          <a:lnTo>
                            <a:pt x="2848" y="2006"/>
                          </a:lnTo>
                          <a:lnTo>
                            <a:pt x="2846" y="1993"/>
                          </a:lnTo>
                          <a:lnTo>
                            <a:pt x="2845" y="1980"/>
                          </a:lnTo>
                          <a:lnTo>
                            <a:pt x="2845" y="1861"/>
                          </a:lnTo>
                          <a:lnTo>
                            <a:pt x="2807" y="1861"/>
                          </a:lnTo>
                          <a:lnTo>
                            <a:pt x="2807" y="1805"/>
                          </a:lnTo>
                          <a:lnTo>
                            <a:pt x="2845" y="1805"/>
                          </a:lnTo>
                          <a:lnTo>
                            <a:pt x="2845" y="1742"/>
                          </a:lnTo>
                          <a:lnTo>
                            <a:pt x="2905" y="1711"/>
                          </a:lnTo>
                          <a:lnTo>
                            <a:pt x="2905" y="1805"/>
                          </a:lnTo>
                          <a:lnTo>
                            <a:pt x="2960" y="1805"/>
                          </a:lnTo>
                          <a:lnTo>
                            <a:pt x="2960" y="1861"/>
                          </a:lnTo>
                          <a:lnTo>
                            <a:pt x="2905" y="1861"/>
                          </a:lnTo>
                          <a:lnTo>
                            <a:pt x="2905" y="1964"/>
                          </a:lnTo>
                          <a:close/>
                          <a:moveTo>
                            <a:pt x="2788" y="2043"/>
                          </a:moveTo>
                          <a:lnTo>
                            <a:pt x="2788" y="2043"/>
                          </a:lnTo>
                          <a:lnTo>
                            <a:pt x="2777" y="2048"/>
                          </a:lnTo>
                          <a:lnTo>
                            <a:pt x="2764" y="2052"/>
                          </a:lnTo>
                          <a:lnTo>
                            <a:pt x="2751" y="2054"/>
                          </a:lnTo>
                          <a:lnTo>
                            <a:pt x="2738" y="2055"/>
                          </a:lnTo>
                          <a:lnTo>
                            <a:pt x="2738" y="2055"/>
                          </a:lnTo>
                          <a:lnTo>
                            <a:pt x="2728" y="2054"/>
                          </a:lnTo>
                          <a:lnTo>
                            <a:pt x="2721" y="2053"/>
                          </a:lnTo>
                          <a:lnTo>
                            <a:pt x="2713" y="2051"/>
                          </a:lnTo>
                          <a:lnTo>
                            <a:pt x="2706" y="2048"/>
                          </a:lnTo>
                          <a:lnTo>
                            <a:pt x="2701" y="2045"/>
                          </a:lnTo>
                          <a:lnTo>
                            <a:pt x="2695" y="2041"/>
                          </a:lnTo>
                          <a:lnTo>
                            <a:pt x="2690" y="2036"/>
                          </a:lnTo>
                          <a:lnTo>
                            <a:pt x="2687" y="2030"/>
                          </a:lnTo>
                          <a:lnTo>
                            <a:pt x="2679" y="2019"/>
                          </a:lnTo>
                          <a:lnTo>
                            <a:pt x="2676" y="2006"/>
                          </a:lnTo>
                          <a:lnTo>
                            <a:pt x="2672" y="1993"/>
                          </a:lnTo>
                          <a:lnTo>
                            <a:pt x="2672" y="1980"/>
                          </a:lnTo>
                          <a:lnTo>
                            <a:pt x="2672" y="1861"/>
                          </a:lnTo>
                          <a:lnTo>
                            <a:pt x="2634" y="1861"/>
                          </a:lnTo>
                          <a:lnTo>
                            <a:pt x="2634" y="1805"/>
                          </a:lnTo>
                          <a:lnTo>
                            <a:pt x="2672" y="1805"/>
                          </a:lnTo>
                          <a:lnTo>
                            <a:pt x="2672" y="1742"/>
                          </a:lnTo>
                          <a:lnTo>
                            <a:pt x="2733" y="1711"/>
                          </a:lnTo>
                          <a:lnTo>
                            <a:pt x="2733" y="1805"/>
                          </a:lnTo>
                          <a:lnTo>
                            <a:pt x="2784" y="1805"/>
                          </a:lnTo>
                          <a:lnTo>
                            <a:pt x="2784" y="1861"/>
                          </a:lnTo>
                          <a:lnTo>
                            <a:pt x="2733" y="1861"/>
                          </a:lnTo>
                          <a:lnTo>
                            <a:pt x="2733" y="1964"/>
                          </a:lnTo>
                          <a:lnTo>
                            <a:pt x="2733" y="1964"/>
                          </a:lnTo>
                          <a:lnTo>
                            <a:pt x="2733" y="1973"/>
                          </a:lnTo>
                          <a:lnTo>
                            <a:pt x="2734" y="1979"/>
                          </a:lnTo>
                          <a:lnTo>
                            <a:pt x="2737" y="1985"/>
                          </a:lnTo>
                          <a:lnTo>
                            <a:pt x="2739" y="1990"/>
                          </a:lnTo>
                          <a:lnTo>
                            <a:pt x="2743" y="1993"/>
                          </a:lnTo>
                          <a:lnTo>
                            <a:pt x="2747" y="1996"/>
                          </a:lnTo>
                          <a:lnTo>
                            <a:pt x="2752" y="1997"/>
                          </a:lnTo>
                          <a:lnTo>
                            <a:pt x="2758" y="1997"/>
                          </a:lnTo>
                          <a:lnTo>
                            <a:pt x="2758" y="1997"/>
                          </a:lnTo>
                          <a:lnTo>
                            <a:pt x="2768" y="1997"/>
                          </a:lnTo>
                          <a:lnTo>
                            <a:pt x="2778" y="1995"/>
                          </a:lnTo>
                          <a:lnTo>
                            <a:pt x="2786" y="1991"/>
                          </a:lnTo>
                          <a:lnTo>
                            <a:pt x="2795" y="1986"/>
                          </a:lnTo>
                          <a:lnTo>
                            <a:pt x="2788" y="2043"/>
                          </a:lnTo>
                          <a:close/>
                          <a:moveTo>
                            <a:pt x="3384" y="1873"/>
                          </a:moveTo>
                          <a:lnTo>
                            <a:pt x="3384" y="1873"/>
                          </a:lnTo>
                          <a:lnTo>
                            <a:pt x="3376" y="1867"/>
                          </a:lnTo>
                          <a:lnTo>
                            <a:pt x="3366" y="1863"/>
                          </a:lnTo>
                          <a:lnTo>
                            <a:pt x="3355" y="1861"/>
                          </a:lnTo>
                          <a:lnTo>
                            <a:pt x="3344" y="1860"/>
                          </a:lnTo>
                          <a:lnTo>
                            <a:pt x="3344" y="1860"/>
                          </a:lnTo>
                          <a:lnTo>
                            <a:pt x="3334" y="1861"/>
                          </a:lnTo>
                          <a:lnTo>
                            <a:pt x="3325" y="1863"/>
                          </a:lnTo>
                          <a:lnTo>
                            <a:pt x="3317" y="1868"/>
                          </a:lnTo>
                          <a:lnTo>
                            <a:pt x="3311" y="1874"/>
                          </a:lnTo>
                          <a:lnTo>
                            <a:pt x="3306" y="1882"/>
                          </a:lnTo>
                          <a:lnTo>
                            <a:pt x="3304" y="1891"/>
                          </a:lnTo>
                          <a:lnTo>
                            <a:pt x="3302" y="1904"/>
                          </a:lnTo>
                          <a:lnTo>
                            <a:pt x="3300" y="1917"/>
                          </a:lnTo>
                          <a:lnTo>
                            <a:pt x="3300" y="2049"/>
                          </a:lnTo>
                          <a:lnTo>
                            <a:pt x="3241" y="2049"/>
                          </a:lnTo>
                          <a:lnTo>
                            <a:pt x="3241" y="1805"/>
                          </a:lnTo>
                          <a:lnTo>
                            <a:pt x="3300" y="1805"/>
                          </a:lnTo>
                          <a:lnTo>
                            <a:pt x="3300" y="1826"/>
                          </a:lnTo>
                          <a:lnTo>
                            <a:pt x="3300" y="1826"/>
                          </a:lnTo>
                          <a:lnTo>
                            <a:pt x="3306" y="1820"/>
                          </a:lnTo>
                          <a:lnTo>
                            <a:pt x="3313" y="1814"/>
                          </a:lnTo>
                          <a:lnTo>
                            <a:pt x="3319" y="1810"/>
                          </a:lnTo>
                          <a:lnTo>
                            <a:pt x="3326" y="1806"/>
                          </a:lnTo>
                          <a:lnTo>
                            <a:pt x="3332" y="1803"/>
                          </a:lnTo>
                          <a:lnTo>
                            <a:pt x="3339" y="1801"/>
                          </a:lnTo>
                          <a:lnTo>
                            <a:pt x="3347" y="1800"/>
                          </a:lnTo>
                          <a:lnTo>
                            <a:pt x="3355" y="1799"/>
                          </a:lnTo>
                          <a:lnTo>
                            <a:pt x="3355" y="1799"/>
                          </a:lnTo>
                          <a:lnTo>
                            <a:pt x="3367" y="1800"/>
                          </a:lnTo>
                          <a:lnTo>
                            <a:pt x="3379" y="1804"/>
                          </a:lnTo>
                          <a:lnTo>
                            <a:pt x="3390" y="1807"/>
                          </a:lnTo>
                          <a:lnTo>
                            <a:pt x="3400" y="1814"/>
                          </a:lnTo>
                          <a:lnTo>
                            <a:pt x="3384" y="1873"/>
                          </a:lnTo>
                          <a:close/>
                          <a:moveTo>
                            <a:pt x="653" y="1747"/>
                          </a:moveTo>
                          <a:lnTo>
                            <a:pt x="653" y="1770"/>
                          </a:lnTo>
                          <a:lnTo>
                            <a:pt x="592" y="1770"/>
                          </a:lnTo>
                          <a:lnTo>
                            <a:pt x="592" y="1709"/>
                          </a:lnTo>
                          <a:lnTo>
                            <a:pt x="653" y="1709"/>
                          </a:lnTo>
                          <a:lnTo>
                            <a:pt x="653" y="1747"/>
                          </a:lnTo>
                          <a:close/>
                          <a:moveTo>
                            <a:pt x="1073" y="1805"/>
                          </a:moveTo>
                          <a:lnTo>
                            <a:pt x="1134" y="1805"/>
                          </a:lnTo>
                          <a:lnTo>
                            <a:pt x="1134" y="1930"/>
                          </a:lnTo>
                          <a:lnTo>
                            <a:pt x="1134" y="2049"/>
                          </a:lnTo>
                          <a:lnTo>
                            <a:pt x="1073" y="2049"/>
                          </a:lnTo>
                          <a:lnTo>
                            <a:pt x="1073" y="1805"/>
                          </a:lnTo>
                          <a:close/>
                          <a:moveTo>
                            <a:pt x="1134" y="1739"/>
                          </a:moveTo>
                          <a:lnTo>
                            <a:pt x="1134" y="1770"/>
                          </a:lnTo>
                          <a:lnTo>
                            <a:pt x="1073" y="1770"/>
                          </a:lnTo>
                          <a:lnTo>
                            <a:pt x="1073" y="1709"/>
                          </a:lnTo>
                          <a:lnTo>
                            <a:pt x="1134" y="1709"/>
                          </a:lnTo>
                          <a:lnTo>
                            <a:pt x="1134" y="1739"/>
                          </a:lnTo>
                          <a:close/>
                          <a:moveTo>
                            <a:pt x="2796" y="2250"/>
                          </a:moveTo>
                          <a:lnTo>
                            <a:pt x="2796" y="2250"/>
                          </a:lnTo>
                          <a:lnTo>
                            <a:pt x="2790" y="2245"/>
                          </a:lnTo>
                          <a:lnTo>
                            <a:pt x="2784" y="2240"/>
                          </a:lnTo>
                          <a:lnTo>
                            <a:pt x="2778" y="2237"/>
                          </a:lnTo>
                          <a:lnTo>
                            <a:pt x="2771" y="2233"/>
                          </a:lnTo>
                          <a:lnTo>
                            <a:pt x="2764" y="2231"/>
                          </a:lnTo>
                          <a:lnTo>
                            <a:pt x="2757" y="2229"/>
                          </a:lnTo>
                          <a:lnTo>
                            <a:pt x="2741" y="2227"/>
                          </a:lnTo>
                          <a:lnTo>
                            <a:pt x="2741" y="2227"/>
                          </a:lnTo>
                          <a:lnTo>
                            <a:pt x="2730" y="2228"/>
                          </a:lnTo>
                          <a:lnTo>
                            <a:pt x="2721" y="2229"/>
                          </a:lnTo>
                          <a:lnTo>
                            <a:pt x="2711" y="2233"/>
                          </a:lnTo>
                          <a:lnTo>
                            <a:pt x="2701" y="2237"/>
                          </a:lnTo>
                          <a:lnTo>
                            <a:pt x="2693" y="2241"/>
                          </a:lnTo>
                          <a:lnTo>
                            <a:pt x="2685" y="2246"/>
                          </a:lnTo>
                          <a:lnTo>
                            <a:pt x="2678" y="2254"/>
                          </a:lnTo>
                          <a:lnTo>
                            <a:pt x="2671" y="2261"/>
                          </a:lnTo>
                          <a:lnTo>
                            <a:pt x="2666" y="2269"/>
                          </a:lnTo>
                          <a:lnTo>
                            <a:pt x="2660" y="2279"/>
                          </a:lnTo>
                          <a:lnTo>
                            <a:pt x="2656" y="2289"/>
                          </a:lnTo>
                          <a:lnTo>
                            <a:pt x="2653" y="2301"/>
                          </a:lnTo>
                          <a:lnTo>
                            <a:pt x="2649" y="2312"/>
                          </a:lnTo>
                          <a:lnTo>
                            <a:pt x="2648" y="2325"/>
                          </a:lnTo>
                          <a:lnTo>
                            <a:pt x="2647" y="2339"/>
                          </a:lnTo>
                          <a:lnTo>
                            <a:pt x="2645" y="2353"/>
                          </a:lnTo>
                          <a:lnTo>
                            <a:pt x="2645" y="2353"/>
                          </a:lnTo>
                          <a:lnTo>
                            <a:pt x="2647" y="2368"/>
                          </a:lnTo>
                          <a:lnTo>
                            <a:pt x="2648" y="2381"/>
                          </a:lnTo>
                          <a:lnTo>
                            <a:pt x="2649" y="2395"/>
                          </a:lnTo>
                          <a:lnTo>
                            <a:pt x="2653" y="2408"/>
                          </a:lnTo>
                          <a:lnTo>
                            <a:pt x="2655" y="2419"/>
                          </a:lnTo>
                          <a:lnTo>
                            <a:pt x="2660" y="2430"/>
                          </a:lnTo>
                          <a:lnTo>
                            <a:pt x="2665" y="2440"/>
                          </a:lnTo>
                          <a:lnTo>
                            <a:pt x="2671" y="2448"/>
                          </a:lnTo>
                          <a:lnTo>
                            <a:pt x="2677" y="2457"/>
                          </a:lnTo>
                          <a:lnTo>
                            <a:pt x="2684" y="2463"/>
                          </a:lnTo>
                          <a:lnTo>
                            <a:pt x="2692" y="2469"/>
                          </a:lnTo>
                          <a:lnTo>
                            <a:pt x="2700" y="2474"/>
                          </a:lnTo>
                          <a:lnTo>
                            <a:pt x="2710" y="2479"/>
                          </a:lnTo>
                          <a:lnTo>
                            <a:pt x="2720" y="2481"/>
                          </a:lnTo>
                          <a:lnTo>
                            <a:pt x="2729" y="2482"/>
                          </a:lnTo>
                          <a:lnTo>
                            <a:pt x="2740" y="2483"/>
                          </a:lnTo>
                          <a:lnTo>
                            <a:pt x="2740" y="2483"/>
                          </a:lnTo>
                          <a:lnTo>
                            <a:pt x="2747" y="2482"/>
                          </a:lnTo>
                          <a:lnTo>
                            <a:pt x="2756" y="2481"/>
                          </a:lnTo>
                          <a:lnTo>
                            <a:pt x="2763" y="2480"/>
                          </a:lnTo>
                          <a:lnTo>
                            <a:pt x="2769" y="2477"/>
                          </a:lnTo>
                          <a:lnTo>
                            <a:pt x="2777" y="2474"/>
                          </a:lnTo>
                          <a:lnTo>
                            <a:pt x="2784" y="2470"/>
                          </a:lnTo>
                          <a:lnTo>
                            <a:pt x="2790" y="2465"/>
                          </a:lnTo>
                          <a:lnTo>
                            <a:pt x="2796" y="2459"/>
                          </a:lnTo>
                          <a:lnTo>
                            <a:pt x="2796" y="2477"/>
                          </a:lnTo>
                          <a:lnTo>
                            <a:pt x="2857" y="2477"/>
                          </a:lnTo>
                          <a:lnTo>
                            <a:pt x="2857" y="2131"/>
                          </a:lnTo>
                          <a:lnTo>
                            <a:pt x="2796" y="2161"/>
                          </a:lnTo>
                          <a:lnTo>
                            <a:pt x="2796" y="2250"/>
                          </a:lnTo>
                          <a:close/>
                          <a:moveTo>
                            <a:pt x="2754" y="2427"/>
                          </a:moveTo>
                          <a:lnTo>
                            <a:pt x="2754" y="2427"/>
                          </a:lnTo>
                          <a:lnTo>
                            <a:pt x="2745" y="2426"/>
                          </a:lnTo>
                          <a:lnTo>
                            <a:pt x="2738" y="2424"/>
                          </a:lnTo>
                          <a:lnTo>
                            <a:pt x="2729" y="2420"/>
                          </a:lnTo>
                          <a:lnTo>
                            <a:pt x="2722" y="2413"/>
                          </a:lnTo>
                          <a:lnTo>
                            <a:pt x="2716" y="2403"/>
                          </a:lnTo>
                          <a:lnTo>
                            <a:pt x="2711" y="2390"/>
                          </a:lnTo>
                          <a:lnTo>
                            <a:pt x="2709" y="2373"/>
                          </a:lnTo>
                          <a:lnTo>
                            <a:pt x="2707" y="2351"/>
                          </a:lnTo>
                          <a:lnTo>
                            <a:pt x="2707" y="2351"/>
                          </a:lnTo>
                          <a:lnTo>
                            <a:pt x="2709" y="2333"/>
                          </a:lnTo>
                          <a:lnTo>
                            <a:pt x="2711" y="2317"/>
                          </a:lnTo>
                          <a:lnTo>
                            <a:pt x="2716" y="2305"/>
                          </a:lnTo>
                          <a:lnTo>
                            <a:pt x="2722" y="2296"/>
                          </a:lnTo>
                          <a:lnTo>
                            <a:pt x="2729" y="2290"/>
                          </a:lnTo>
                          <a:lnTo>
                            <a:pt x="2737" y="2285"/>
                          </a:lnTo>
                          <a:lnTo>
                            <a:pt x="2745" y="2284"/>
                          </a:lnTo>
                          <a:lnTo>
                            <a:pt x="2752" y="2283"/>
                          </a:lnTo>
                          <a:lnTo>
                            <a:pt x="2752" y="2283"/>
                          </a:lnTo>
                          <a:lnTo>
                            <a:pt x="2761" y="2284"/>
                          </a:lnTo>
                          <a:lnTo>
                            <a:pt x="2768" y="2285"/>
                          </a:lnTo>
                          <a:lnTo>
                            <a:pt x="2774" y="2288"/>
                          </a:lnTo>
                          <a:lnTo>
                            <a:pt x="2780" y="2291"/>
                          </a:lnTo>
                          <a:lnTo>
                            <a:pt x="2785" y="2295"/>
                          </a:lnTo>
                          <a:lnTo>
                            <a:pt x="2790" y="2299"/>
                          </a:lnTo>
                          <a:lnTo>
                            <a:pt x="2796" y="2307"/>
                          </a:lnTo>
                          <a:lnTo>
                            <a:pt x="2796" y="2403"/>
                          </a:lnTo>
                          <a:lnTo>
                            <a:pt x="2796" y="2403"/>
                          </a:lnTo>
                          <a:lnTo>
                            <a:pt x="2789" y="2412"/>
                          </a:lnTo>
                          <a:lnTo>
                            <a:pt x="2780" y="2419"/>
                          </a:lnTo>
                          <a:lnTo>
                            <a:pt x="2774" y="2423"/>
                          </a:lnTo>
                          <a:lnTo>
                            <a:pt x="2768" y="2425"/>
                          </a:lnTo>
                          <a:lnTo>
                            <a:pt x="2761" y="2426"/>
                          </a:lnTo>
                          <a:lnTo>
                            <a:pt x="2754" y="2427"/>
                          </a:lnTo>
                          <a:lnTo>
                            <a:pt x="2754" y="2427"/>
                          </a:lnTo>
                          <a:close/>
                          <a:moveTo>
                            <a:pt x="740" y="2301"/>
                          </a:moveTo>
                          <a:lnTo>
                            <a:pt x="740" y="2301"/>
                          </a:lnTo>
                          <a:lnTo>
                            <a:pt x="732" y="2296"/>
                          </a:lnTo>
                          <a:lnTo>
                            <a:pt x="722" y="2291"/>
                          </a:lnTo>
                          <a:lnTo>
                            <a:pt x="711" y="2289"/>
                          </a:lnTo>
                          <a:lnTo>
                            <a:pt x="700" y="2288"/>
                          </a:lnTo>
                          <a:lnTo>
                            <a:pt x="700" y="2288"/>
                          </a:lnTo>
                          <a:lnTo>
                            <a:pt x="690" y="2289"/>
                          </a:lnTo>
                          <a:lnTo>
                            <a:pt x="680" y="2291"/>
                          </a:lnTo>
                          <a:lnTo>
                            <a:pt x="673" y="2296"/>
                          </a:lnTo>
                          <a:lnTo>
                            <a:pt x="667" y="2302"/>
                          </a:lnTo>
                          <a:lnTo>
                            <a:pt x="662" y="2310"/>
                          </a:lnTo>
                          <a:lnTo>
                            <a:pt x="660" y="2319"/>
                          </a:lnTo>
                          <a:lnTo>
                            <a:pt x="657" y="2331"/>
                          </a:lnTo>
                          <a:lnTo>
                            <a:pt x="656" y="2345"/>
                          </a:lnTo>
                          <a:lnTo>
                            <a:pt x="656" y="2477"/>
                          </a:lnTo>
                          <a:lnTo>
                            <a:pt x="597" y="2477"/>
                          </a:lnTo>
                          <a:lnTo>
                            <a:pt x="597" y="2233"/>
                          </a:lnTo>
                          <a:lnTo>
                            <a:pt x="656" y="2233"/>
                          </a:lnTo>
                          <a:lnTo>
                            <a:pt x="656" y="2254"/>
                          </a:lnTo>
                          <a:lnTo>
                            <a:pt x="656" y="2254"/>
                          </a:lnTo>
                          <a:lnTo>
                            <a:pt x="662" y="2248"/>
                          </a:lnTo>
                          <a:lnTo>
                            <a:pt x="668" y="2241"/>
                          </a:lnTo>
                          <a:lnTo>
                            <a:pt x="674" y="2238"/>
                          </a:lnTo>
                          <a:lnTo>
                            <a:pt x="682" y="2234"/>
                          </a:lnTo>
                          <a:lnTo>
                            <a:pt x="688" y="2231"/>
                          </a:lnTo>
                          <a:lnTo>
                            <a:pt x="695" y="2229"/>
                          </a:lnTo>
                          <a:lnTo>
                            <a:pt x="704" y="2228"/>
                          </a:lnTo>
                          <a:lnTo>
                            <a:pt x="711" y="2227"/>
                          </a:lnTo>
                          <a:lnTo>
                            <a:pt x="711" y="2227"/>
                          </a:lnTo>
                          <a:lnTo>
                            <a:pt x="723" y="2228"/>
                          </a:lnTo>
                          <a:lnTo>
                            <a:pt x="735" y="2232"/>
                          </a:lnTo>
                          <a:lnTo>
                            <a:pt x="747" y="2237"/>
                          </a:lnTo>
                          <a:lnTo>
                            <a:pt x="757" y="2243"/>
                          </a:lnTo>
                          <a:lnTo>
                            <a:pt x="740" y="2301"/>
                          </a:lnTo>
                          <a:close/>
                          <a:moveTo>
                            <a:pt x="265" y="2233"/>
                          </a:moveTo>
                          <a:lnTo>
                            <a:pt x="324" y="2233"/>
                          </a:lnTo>
                          <a:lnTo>
                            <a:pt x="255" y="2477"/>
                          </a:lnTo>
                          <a:lnTo>
                            <a:pt x="203" y="2477"/>
                          </a:lnTo>
                          <a:lnTo>
                            <a:pt x="176" y="2376"/>
                          </a:lnTo>
                          <a:lnTo>
                            <a:pt x="176" y="2376"/>
                          </a:lnTo>
                          <a:lnTo>
                            <a:pt x="163" y="2323"/>
                          </a:lnTo>
                          <a:lnTo>
                            <a:pt x="163" y="2323"/>
                          </a:lnTo>
                          <a:lnTo>
                            <a:pt x="157" y="2348"/>
                          </a:lnTo>
                          <a:lnTo>
                            <a:pt x="149" y="2378"/>
                          </a:lnTo>
                          <a:lnTo>
                            <a:pt x="122" y="2477"/>
                          </a:lnTo>
                          <a:lnTo>
                            <a:pt x="69" y="2477"/>
                          </a:lnTo>
                          <a:lnTo>
                            <a:pt x="69" y="2476"/>
                          </a:lnTo>
                          <a:lnTo>
                            <a:pt x="0" y="2233"/>
                          </a:lnTo>
                          <a:lnTo>
                            <a:pt x="63" y="2233"/>
                          </a:lnTo>
                          <a:lnTo>
                            <a:pt x="85" y="2324"/>
                          </a:lnTo>
                          <a:lnTo>
                            <a:pt x="85" y="2324"/>
                          </a:lnTo>
                          <a:lnTo>
                            <a:pt x="91" y="2353"/>
                          </a:lnTo>
                          <a:lnTo>
                            <a:pt x="97" y="2384"/>
                          </a:lnTo>
                          <a:lnTo>
                            <a:pt x="97" y="2384"/>
                          </a:lnTo>
                          <a:lnTo>
                            <a:pt x="105" y="2353"/>
                          </a:lnTo>
                          <a:lnTo>
                            <a:pt x="112" y="2323"/>
                          </a:lnTo>
                          <a:lnTo>
                            <a:pt x="137" y="2233"/>
                          </a:lnTo>
                          <a:lnTo>
                            <a:pt x="190" y="2233"/>
                          </a:lnTo>
                          <a:lnTo>
                            <a:pt x="215" y="2323"/>
                          </a:lnTo>
                          <a:lnTo>
                            <a:pt x="215" y="2323"/>
                          </a:lnTo>
                          <a:lnTo>
                            <a:pt x="222" y="2352"/>
                          </a:lnTo>
                          <a:lnTo>
                            <a:pt x="230" y="2385"/>
                          </a:lnTo>
                          <a:lnTo>
                            <a:pt x="230" y="2385"/>
                          </a:lnTo>
                          <a:lnTo>
                            <a:pt x="235" y="2357"/>
                          </a:lnTo>
                          <a:lnTo>
                            <a:pt x="242" y="2323"/>
                          </a:lnTo>
                          <a:lnTo>
                            <a:pt x="265" y="2233"/>
                          </a:lnTo>
                          <a:close/>
                          <a:moveTo>
                            <a:pt x="447" y="2227"/>
                          </a:moveTo>
                          <a:lnTo>
                            <a:pt x="447" y="2227"/>
                          </a:lnTo>
                          <a:lnTo>
                            <a:pt x="436" y="2228"/>
                          </a:lnTo>
                          <a:lnTo>
                            <a:pt x="424" y="2229"/>
                          </a:lnTo>
                          <a:lnTo>
                            <a:pt x="413" y="2233"/>
                          </a:lnTo>
                          <a:lnTo>
                            <a:pt x="403" y="2237"/>
                          </a:lnTo>
                          <a:lnTo>
                            <a:pt x="394" y="2241"/>
                          </a:lnTo>
                          <a:lnTo>
                            <a:pt x="384" y="2248"/>
                          </a:lnTo>
                          <a:lnTo>
                            <a:pt x="375" y="2255"/>
                          </a:lnTo>
                          <a:lnTo>
                            <a:pt x="368" y="2263"/>
                          </a:lnTo>
                          <a:lnTo>
                            <a:pt x="361" y="2272"/>
                          </a:lnTo>
                          <a:lnTo>
                            <a:pt x="355" y="2282"/>
                          </a:lnTo>
                          <a:lnTo>
                            <a:pt x="349" y="2293"/>
                          </a:lnTo>
                          <a:lnTo>
                            <a:pt x="345" y="2303"/>
                          </a:lnTo>
                          <a:lnTo>
                            <a:pt x="341" y="2316"/>
                          </a:lnTo>
                          <a:lnTo>
                            <a:pt x="339" y="2328"/>
                          </a:lnTo>
                          <a:lnTo>
                            <a:pt x="337" y="2341"/>
                          </a:lnTo>
                          <a:lnTo>
                            <a:pt x="337" y="2356"/>
                          </a:lnTo>
                          <a:lnTo>
                            <a:pt x="337" y="2356"/>
                          </a:lnTo>
                          <a:lnTo>
                            <a:pt x="337" y="2369"/>
                          </a:lnTo>
                          <a:lnTo>
                            <a:pt x="339" y="2382"/>
                          </a:lnTo>
                          <a:lnTo>
                            <a:pt x="341" y="2395"/>
                          </a:lnTo>
                          <a:lnTo>
                            <a:pt x="345" y="2407"/>
                          </a:lnTo>
                          <a:lnTo>
                            <a:pt x="349" y="2418"/>
                          </a:lnTo>
                          <a:lnTo>
                            <a:pt x="355" y="2429"/>
                          </a:lnTo>
                          <a:lnTo>
                            <a:pt x="361" y="2438"/>
                          </a:lnTo>
                          <a:lnTo>
                            <a:pt x="368" y="2447"/>
                          </a:lnTo>
                          <a:lnTo>
                            <a:pt x="375" y="2455"/>
                          </a:lnTo>
                          <a:lnTo>
                            <a:pt x="384" y="2463"/>
                          </a:lnTo>
                          <a:lnTo>
                            <a:pt x="394" y="2469"/>
                          </a:lnTo>
                          <a:lnTo>
                            <a:pt x="403" y="2474"/>
                          </a:lnTo>
                          <a:lnTo>
                            <a:pt x="413" y="2477"/>
                          </a:lnTo>
                          <a:lnTo>
                            <a:pt x="424" y="2481"/>
                          </a:lnTo>
                          <a:lnTo>
                            <a:pt x="436" y="2482"/>
                          </a:lnTo>
                          <a:lnTo>
                            <a:pt x="447" y="2483"/>
                          </a:lnTo>
                          <a:lnTo>
                            <a:pt x="447" y="2483"/>
                          </a:lnTo>
                          <a:lnTo>
                            <a:pt x="459" y="2482"/>
                          </a:lnTo>
                          <a:lnTo>
                            <a:pt x="471" y="2481"/>
                          </a:lnTo>
                          <a:lnTo>
                            <a:pt x="482" y="2477"/>
                          </a:lnTo>
                          <a:lnTo>
                            <a:pt x="492" y="2474"/>
                          </a:lnTo>
                          <a:lnTo>
                            <a:pt x="502" y="2469"/>
                          </a:lnTo>
                          <a:lnTo>
                            <a:pt x="512" y="2463"/>
                          </a:lnTo>
                          <a:lnTo>
                            <a:pt x="520" y="2455"/>
                          </a:lnTo>
                          <a:lnTo>
                            <a:pt x="527" y="2447"/>
                          </a:lnTo>
                          <a:lnTo>
                            <a:pt x="535" y="2438"/>
                          </a:lnTo>
                          <a:lnTo>
                            <a:pt x="541" y="2429"/>
                          </a:lnTo>
                          <a:lnTo>
                            <a:pt x="546" y="2418"/>
                          </a:lnTo>
                          <a:lnTo>
                            <a:pt x="550" y="2407"/>
                          </a:lnTo>
                          <a:lnTo>
                            <a:pt x="554" y="2395"/>
                          </a:lnTo>
                          <a:lnTo>
                            <a:pt x="557" y="2382"/>
                          </a:lnTo>
                          <a:lnTo>
                            <a:pt x="559" y="2369"/>
                          </a:lnTo>
                          <a:lnTo>
                            <a:pt x="559" y="2356"/>
                          </a:lnTo>
                          <a:lnTo>
                            <a:pt x="559" y="2356"/>
                          </a:lnTo>
                          <a:lnTo>
                            <a:pt x="559" y="2341"/>
                          </a:lnTo>
                          <a:lnTo>
                            <a:pt x="557" y="2328"/>
                          </a:lnTo>
                          <a:lnTo>
                            <a:pt x="554" y="2316"/>
                          </a:lnTo>
                          <a:lnTo>
                            <a:pt x="550" y="2303"/>
                          </a:lnTo>
                          <a:lnTo>
                            <a:pt x="546" y="2293"/>
                          </a:lnTo>
                          <a:lnTo>
                            <a:pt x="541" y="2282"/>
                          </a:lnTo>
                          <a:lnTo>
                            <a:pt x="535" y="2272"/>
                          </a:lnTo>
                          <a:lnTo>
                            <a:pt x="527" y="2263"/>
                          </a:lnTo>
                          <a:lnTo>
                            <a:pt x="520" y="2255"/>
                          </a:lnTo>
                          <a:lnTo>
                            <a:pt x="512" y="2248"/>
                          </a:lnTo>
                          <a:lnTo>
                            <a:pt x="502" y="2241"/>
                          </a:lnTo>
                          <a:lnTo>
                            <a:pt x="492" y="2237"/>
                          </a:lnTo>
                          <a:lnTo>
                            <a:pt x="482" y="2233"/>
                          </a:lnTo>
                          <a:lnTo>
                            <a:pt x="471" y="2229"/>
                          </a:lnTo>
                          <a:lnTo>
                            <a:pt x="459" y="2228"/>
                          </a:lnTo>
                          <a:lnTo>
                            <a:pt x="447" y="2227"/>
                          </a:lnTo>
                          <a:lnTo>
                            <a:pt x="447" y="2227"/>
                          </a:lnTo>
                          <a:close/>
                          <a:moveTo>
                            <a:pt x="447" y="2426"/>
                          </a:moveTo>
                          <a:lnTo>
                            <a:pt x="447" y="2426"/>
                          </a:lnTo>
                          <a:lnTo>
                            <a:pt x="436" y="2425"/>
                          </a:lnTo>
                          <a:lnTo>
                            <a:pt x="427" y="2421"/>
                          </a:lnTo>
                          <a:lnTo>
                            <a:pt x="419" y="2415"/>
                          </a:lnTo>
                          <a:lnTo>
                            <a:pt x="412" y="2407"/>
                          </a:lnTo>
                          <a:lnTo>
                            <a:pt x="406" y="2397"/>
                          </a:lnTo>
                          <a:lnTo>
                            <a:pt x="401" y="2385"/>
                          </a:lnTo>
                          <a:lnTo>
                            <a:pt x="399" y="2370"/>
                          </a:lnTo>
                          <a:lnTo>
                            <a:pt x="399" y="2356"/>
                          </a:lnTo>
                          <a:lnTo>
                            <a:pt x="399" y="2356"/>
                          </a:lnTo>
                          <a:lnTo>
                            <a:pt x="399" y="2340"/>
                          </a:lnTo>
                          <a:lnTo>
                            <a:pt x="401" y="2325"/>
                          </a:lnTo>
                          <a:lnTo>
                            <a:pt x="406" y="2314"/>
                          </a:lnTo>
                          <a:lnTo>
                            <a:pt x="412" y="2303"/>
                          </a:lnTo>
                          <a:lnTo>
                            <a:pt x="419" y="2295"/>
                          </a:lnTo>
                          <a:lnTo>
                            <a:pt x="427" y="2289"/>
                          </a:lnTo>
                          <a:lnTo>
                            <a:pt x="436" y="2285"/>
                          </a:lnTo>
                          <a:lnTo>
                            <a:pt x="447" y="2284"/>
                          </a:lnTo>
                          <a:lnTo>
                            <a:pt x="447" y="2284"/>
                          </a:lnTo>
                          <a:lnTo>
                            <a:pt x="458" y="2285"/>
                          </a:lnTo>
                          <a:lnTo>
                            <a:pt x="468" y="2289"/>
                          </a:lnTo>
                          <a:lnTo>
                            <a:pt x="476" y="2295"/>
                          </a:lnTo>
                          <a:lnTo>
                            <a:pt x="484" y="2303"/>
                          </a:lnTo>
                          <a:lnTo>
                            <a:pt x="490" y="2314"/>
                          </a:lnTo>
                          <a:lnTo>
                            <a:pt x="493" y="2325"/>
                          </a:lnTo>
                          <a:lnTo>
                            <a:pt x="496" y="2340"/>
                          </a:lnTo>
                          <a:lnTo>
                            <a:pt x="497" y="2356"/>
                          </a:lnTo>
                          <a:lnTo>
                            <a:pt x="497" y="2356"/>
                          </a:lnTo>
                          <a:lnTo>
                            <a:pt x="496" y="2370"/>
                          </a:lnTo>
                          <a:lnTo>
                            <a:pt x="493" y="2385"/>
                          </a:lnTo>
                          <a:lnTo>
                            <a:pt x="490" y="2397"/>
                          </a:lnTo>
                          <a:lnTo>
                            <a:pt x="484" y="2407"/>
                          </a:lnTo>
                          <a:lnTo>
                            <a:pt x="476" y="2415"/>
                          </a:lnTo>
                          <a:lnTo>
                            <a:pt x="468" y="2421"/>
                          </a:lnTo>
                          <a:lnTo>
                            <a:pt x="458" y="2425"/>
                          </a:lnTo>
                          <a:lnTo>
                            <a:pt x="447" y="2426"/>
                          </a:lnTo>
                          <a:lnTo>
                            <a:pt x="447" y="2426"/>
                          </a:lnTo>
                          <a:close/>
                          <a:moveTo>
                            <a:pt x="2498" y="2301"/>
                          </a:moveTo>
                          <a:lnTo>
                            <a:pt x="2498" y="2301"/>
                          </a:lnTo>
                          <a:lnTo>
                            <a:pt x="2489" y="2296"/>
                          </a:lnTo>
                          <a:lnTo>
                            <a:pt x="2479" y="2291"/>
                          </a:lnTo>
                          <a:lnTo>
                            <a:pt x="2468" y="2289"/>
                          </a:lnTo>
                          <a:lnTo>
                            <a:pt x="2458" y="2288"/>
                          </a:lnTo>
                          <a:lnTo>
                            <a:pt x="2458" y="2288"/>
                          </a:lnTo>
                          <a:lnTo>
                            <a:pt x="2447" y="2289"/>
                          </a:lnTo>
                          <a:lnTo>
                            <a:pt x="2439" y="2291"/>
                          </a:lnTo>
                          <a:lnTo>
                            <a:pt x="2432" y="2296"/>
                          </a:lnTo>
                          <a:lnTo>
                            <a:pt x="2425" y="2302"/>
                          </a:lnTo>
                          <a:lnTo>
                            <a:pt x="2421" y="2310"/>
                          </a:lnTo>
                          <a:lnTo>
                            <a:pt x="2417" y="2319"/>
                          </a:lnTo>
                          <a:lnTo>
                            <a:pt x="2415" y="2331"/>
                          </a:lnTo>
                          <a:lnTo>
                            <a:pt x="2415" y="2345"/>
                          </a:lnTo>
                          <a:lnTo>
                            <a:pt x="2415" y="2477"/>
                          </a:lnTo>
                          <a:lnTo>
                            <a:pt x="2354" y="2477"/>
                          </a:lnTo>
                          <a:lnTo>
                            <a:pt x="2354" y="2233"/>
                          </a:lnTo>
                          <a:lnTo>
                            <a:pt x="2415" y="2233"/>
                          </a:lnTo>
                          <a:lnTo>
                            <a:pt x="2415" y="2254"/>
                          </a:lnTo>
                          <a:lnTo>
                            <a:pt x="2415" y="2254"/>
                          </a:lnTo>
                          <a:lnTo>
                            <a:pt x="2419" y="2248"/>
                          </a:lnTo>
                          <a:lnTo>
                            <a:pt x="2425" y="2241"/>
                          </a:lnTo>
                          <a:lnTo>
                            <a:pt x="2432" y="2238"/>
                          </a:lnTo>
                          <a:lnTo>
                            <a:pt x="2439" y="2234"/>
                          </a:lnTo>
                          <a:lnTo>
                            <a:pt x="2446" y="2231"/>
                          </a:lnTo>
                          <a:lnTo>
                            <a:pt x="2453" y="2229"/>
                          </a:lnTo>
                          <a:lnTo>
                            <a:pt x="2461" y="2228"/>
                          </a:lnTo>
                          <a:lnTo>
                            <a:pt x="2468" y="2227"/>
                          </a:lnTo>
                          <a:lnTo>
                            <a:pt x="2468" y="2227"/>
                          </a:lnTo>
                          <a:lnTo>
                            <a:pt x="2480" y="2228"/>
                          </a:lnTo>
                          <a:lnTo>
                            <a:pt x="2492" y="2232"/>
                          </a:lnTo>
                          <a:lnTo>
                            <a:pt x="2504" y="2237"/>
                          </a:lnTo>
                          <a:lnTo>
                            <a:pt x="2514" y="2243"/>
                          </a:lnTo>
                          <a:lnTo>
                            <a:pt x="2498" y="2301"/>
                          </a:lnTo>
                          <a:close/>
                          <a:moveTo>
                            <a:pt x="2022" y="2233"/>
                          </a:moveTo>
                          <a:lnTo>
                            <a:pt x="2082" y="2233"/>
                          </a:lnTo>
                          <a:lnTo>
                            <a:pt x="2012" y="2477"/>
                          </a:lnTo>
                          <a:lnTo>
                            <a:pt x="1960" y="2477"/>
                          </a:lnTo>
                          <a:lnTo>
                            <a:pt x="1933" y="2376"/>
                          </a:lnTo>
                          <a:lnTo>
                            <a:pt x="1933" y="2376"/>
                          </a:lnTo>
                          <a:lnTo>
                            <a:pt x="1920" y="2323"/>
                          </a:lnTo>
                          <a:lnTo>
                            <a:pt x="1920" y="2323"/>
                          </a:lnTo>
                          <a:lnTo>
                            <a:pt x="1914" y="2348"/>
                          </a:lnTo>
                          <a:lnTo>
                            <a:pt x="1907" y="2378"/>
                          </a:lnTo>
                          <a:lnTo>
                            <a:pt x="1880" y="2477"/>
                          </a:lnTo>
                          <a:lnTo>
                            <a:pt x="1828" y="2477"/>
                          </a:lnTo>
                          <a:lnTo>
                            <a:pt x="1826" y="2476"/>
                          </a:lnTo>
                          <a:lnTo>
                            <a:pt x="1758" y="2233"/>
                          </a:lnTo>
                          <a:lnTo>
                            <a:pt x="1820" y="2233"/>
                          </a:lnTo>
                          <a:lnTo>
                            <a:pt x="1843" y="2324"/>
                          </a:lnTo>
                          <a:lnTo>
                            <a:pt x="1843" y="2324"/>
                          </a:lnTo>
                          <a:lnTo>
                            <a:pt x="1849" y="2353"/>
                          </a:lnTo>
                          <a:lnTo>
                            <a:pt x="1856" y="2384"/>
                          </a:lnTo>
                          <a:lnTo>
                            <a:pt x="1856" y="2384"/>
                          </a:lnTo>
                          <a:lnTo>
                            <a:pt x="1862" y="2353"/>
                          </a:lnTo>
                          <a:lnTo>
                            <a:pt x="1870" y="2323"/>
                          </a:lnTo>
                          <a:lnTo>
                            <a:pt x="1896" y="2233"/>
                          </a:lnTo>
                          <a:lnTo>
                            <a:pt x="1947" y="2233"/>
                          </a:lnTo>
                          <a:lnTo>
                            <a:pt x="1972" y="2323"/>
                          </a:lnTo>
                          <a:lnTo>
                            <a:pt x="1972" y="2323"/>
                          </a:lnTo>
                          <a:lnTo>
                            <a:pt x="1979" y="2352"/>
                          </a:lnTo>
                          <a:lnTo>
                            <a:pt x="1987" y="2385"/>
                          </a:lnTo>
                          <a:lnTo>
                            <a:pt x="1987" y="2385"/>
                          </a:lnTo>
                          <a:lnTo>
                            <a:pt x="1993" y="2357"/>
                          </a:lnTo>
                          <a:lnTo>
                            <a:pt x="2000" y="2323"/>
                          </a:lnTo>
                          <a:lnTo>
                            <a:pt x="2022" y="2233"/>
                          </a:lnTo>
                          <a:close/>
                          <a:moveTo>
                            <a:pt x="2204" y="2227"/>
                          </a:moveTo>
                          <a:lnTo>
                            <a:pt x="2204" y="2227"/>
                          </a:lnTo>
                          <a:lnTo>
                            <a:pt x="2193" y="2228"/>
                          </a:lnTo>
                          <a:lnTo>
                            <a:pt x="2181" y="2229"/>
                          </a:lnTo>
                          <a:lnTo>
                            <a:pt x="2170" y="2233"/>
                          </a:lnTo>
                          <a:lnTo>
                            <a:pt x="2161" y="2237"/>
                          </a:lnTo>
                          <a:lnTo>
                            <a:pt x="2151" y="2241"/>
                          </a:lnTo>
                          <a:lnTo>
                            <a:pt x="2141" y="2249"/>
                          </a:lnTo>
                          <a:lnTo>
                            <a:pt x="2133" y="2255"/>
                          </a:lnTo>
                          <a:lnTo>
                            <a:pt x="2125" y="2263"/>
                          </a:lnTo>
                          <a:lnTo>
                            <a:pt x="2118" y="2272"/>
                          </a:lnTo>
                          <a:lnTo>
                            <a:pt x="2112" y="2282"/>
                          </a:lnTo>
                          <a:lnTo>
                            <a:pt x="2106" y="2293"/>
                          </a:lnTo>
                          <a:lnTo>
                            <a:pt x="2102" y="2303"/>
                          </a:lnTo>
                          <a:lnTo>
                            <a:pt x="2099" y="2316"/>
                          </a:lnTo>
                          <a:lnTo>
                            <a:pt x="2095" y="2329"/>
                          </a:lnTo>
                          <a:lnTo>
                            <a:pt x="2094" y="2341"/>
                          </a:lnTo>
                          <a:lnTo>
                            <a:pt x="2094" y="2356"/>
                          </a:lnTo>
                          <a:lnTo>
                            <a:pt x="2094" y="2356"/>
                          </a:lnTo>
                          <a:lnTo>
                            <a:pt x="2094" y="2369"/>
                          </a:lnTo>
                          <a:lnTo>
                            <a:pt x="2095" y="2382"/>
                          </a:lnTo>
                          <a:lnTo>
                            <a:pt x="2099" y="2395"/>
                          </a:lnTo>
                          <a:lnTo>
                            <a:pt x="2102" y="2407"/>
                          </a:lnTo>
                          <a:lnTo>
                            <a:pt x="2106" y="2418"/>
                          </a:lnTo>
                          <a:lnTo>
                            <a:pt x="2112" y="2429"/>
                          </a:lnTo>
                          <a:lnTo>
                            <a:pt x="2118" y="2438"/>
                          </a:lnTo>
                          <a:lnTo>
                            <a:pt x="2125" y="2447"/>
                          </a:lnTo>
                          <a:lnTo>
                            <a:pt x="2133" y="2455"/>
                          </a:lnTo>
                          <a:lnTo>
                            <a:pt x="2141" y="2463"/>
                          </a:lnTo>
                          <a:lnTo>
                            <a:pt x="2151" y="2469"/>
                          </a:lnTo>
                          <a:lnTo>
                            <a:pt x="2161" y="2474"/>
                          </a:lnTo>
                          <a:lnTo>
                            <a:pt x="2170" y="2477"/>
                          </a:lnTo>
                          <a:lnTo>
                            <a:pt x="2181" y="2481"/>
                          </a:lnTo>
                          <a:lnTo>
                            <a:pt x="2193" y="2482"/>
                          </a:lnTo>
                          <a:lnTo>
                            <a:pt x="2204" y="2483"/>
                          </a:lnTo>
                          <a:lnTo>
                            <a:pt x="2204" y="2483"/>
                          </a:lnTo>
                          <a:lnTo>
                            <a:pt x="2216" y="2482"/>
                          </a:lnTo>
                          <a:lnTo>
                            <a:pt x="2229" y="2481"/>
                          </a:lnTo>
                          <a:lnTo>
                            <a:pt x="2240" y="2477"/>
                          </a:lnTo>
                          <a:lnTo>
                            <a:pt x="2249" y="2474"/>
                          </a:lnTo>
                          <a:lnTo>
                            <a:pt x="2259" y="2469"/>
                          </a:lnTo>
                          <a:lnTo>
                            <a:pt x="2269" y="2463"/>
                          </a:lnTo>
                          <a:lnTo>
                            <a:pt x="2277" y="2455"/>
                          </a:lnTo>
                          <a:lnTo>
                            <a:pt x="2284" y="2447"/>
                          </a:lnTo>
                          <a:lnTo>
                            <a:pt x="2292" y="2438"/>
                          </a:lnTo>
                          <a:lnTo>
                            <a:pt x="2298" y="2429"/>
                          </a:lnTo>
                          <a:lnTo>
                            <a:pt x="2303" y="2418"/>
                          </a:lnTo>
                          <a:lnTo>
                            <a:pt x="2308" y="2407"/>
                          </a:lnTo>
                          <a:lnTo>
                            <a:pt x="2311" y="2395"/>
                          </a:lnTo>
                          <a:lnTo>
                            <a:pt x="2314" y="2382"/>
                          </a:lnTo>
                          <a:lnTo>
                            <a:pt x="2316" y="2369"/>
                          </a:lnTo>
                          <a:lnTo>
                            <a:pt x="2316" y="2356"/>
                          </a:lnTo>
                          <a:lnTo>
                            <a:pt x="2316" y="2356"/>
                          </a:lnTo>
                          <a:lnTo>
                            <a:pt x="2316" y="2341"/>
                          </a:lnTo>
                          <a:lnTo>
                            <a:pt x="2314" y="2329"/>
                          </a:lnTo>
                          <a:lnTo>
                            <a:pt x="2311" y="2316"/>
                          </a:lnTo>
                          <a:lnTo>
                            <a:pt x="2308" y="2303"/>
                          </a:lnTo>
                          <a:lnTo>
                            <a:pt x="2303" y="2293"/>
                          </a:lnTo>
                          <a:lnTo>
                            <a:pt x="2298" y="2282"/>
                          </a:lnTo>
                          <a:lnTo>
                            <a:pt x="2292" y="2272"/>
                          </a:lnTo>
                          <a:lnTo>
                            <a:pt x="2284" y="2263"/>
                          </a:lnTo>
                          <a:lnTo>
                            <a:pt x="2277" y="2255"/>
                          </a:lnTo>
                          <a:lnTo>
                            <a:pt x="2269" y="2249"/>
                          </a:lnTo>
                          <a:lnTo>
                            <a:pt x="2259" y="2241"/>
                          </a:lnTo>
                          <a:lnTo>
                            <a:pt x="2249" y="2237"/>
                          </a:lnTo>
                          <a:lnTo>
                            <a:pt x="2240" y="2233"/>
                          </a:lnTo>
                          <a:lnTo>
                            <a:pt x="2229" y="2229"/>
                          </a:lnTo>
                          <a:lnTo>
                            <a:pt x="2216" y="2228"/>
                          </a:lnTo>
                          <a:lnTo>
                            <a:pt x="2204" y="2227"/>
                          </a:lnTo>
                          <a:lnTo>
                            <a:pt x="2204" y="2227"/>
                          </a:lnTo>
                          <a:close/>
                          <a:moveTo>
                            <a:pt x="2204" y="2426"/>
                          </a:moveTo>
                          <a:lnTo>
                            <a:pt x="2204" y="2426"/>
                          </a:lnTo>
                          <a:lnTo>
                            <a:pt x="2193" y="2425"/>
                          </a:lnTo>
                          <a:lnTo>
                            <a:pt x="2185" y="2421"/>
                          </a:lnTo>
                          <a:lnTo>
                            <a:pt x="2176" y="2415"/>
                          </a:lnTo>
                          <a:lnTo>
                            <a:pt x="2169" y="2407"/>
                          </a:lnTo>
                          <a:lnTo>
                            <a:pt x="2163" y="2397"/>
                          </a:lnTo>
                          <a:lnTo>
                            <a:pt x="2158" y="2385"/>
                          </a:lnTo>
                          <a:lnTo>
                            <a:pt x="2156" y="2370"/>
                          </a:lnTo>
                          <a:lnTo>
                            <a:pt x="2156" y="2356"/>
                          </a:lnTo>
                          <a:lnTo>
                            <a:pt x="2156" y="2356"/>
                          </a:lnTo>
                          <a:lnTo>
                            <a:pt x="2156" y="2340"/>
                          </a:lnTo>
                          <a:lnTo>
                            <a:pt x="2158" y="2327"/>
                          </a:lnTo>
                          <a:lnTo>
                            <a:pt x="2163" y="2314"/>
                          </a:lnTo>
                          <a:lnTo>
                            <a:pt x="2169" y="2303"/>
                          </a:lnTo>
                          <a:lnTo>
                            <a:pt x="2176" y="2295"/>
                          </a:lnTo>
                          <a:lnTo>
                            <a:pt x="2185" y="2289"/>
                          </a:lnTo>
                          <a:lnTo>
                            <a:pt x="2193" y="2285"/>
                          </a:lnTo>
                          <a:lnTo>
                            <a:pt x="2204" y="2284"/>
                          </a:lnTo>
                          <a:lnTo>
                            <a:pt x="2204" y="2284"/>
                          </a:lnTo>
                          <a:lnTo>
                            <a:pt x="2215" y="2285"/>
                          </a:lnTo>
                          <a:lnTo>
                            <a:pt x="2225" y="2289"/>
                          </a:lnTo>
                          <a:lnTo>
                            <a:pt x="2233" y="2295"/>
                          </a:lnTo>
                          <a:lnTo>
                            <a:pt x="2241" y="2303"/>
                          </a:lnTo>
                          <a:lnTo>
                            <a:pt x="2247" y="2314"/>
                          </a:lnTo>
                          <a:lnTo>
                            <a:pt x="2250" y="2327"/>
                          </a:lnTo>
                          <a:lnTo>
                            <a:pt x="2253" y="2340"/>
                          </a:lnTo>
                          <a:lnTo>
                            <a:pt x="2254" y="2356"/>
                          </a:lnTo>
                          <a:lnTo>
                            <a:pt x="2254" y="2356"/>
                          </a:lnTo>
                          <a:lnTo>
                            <a:pt x="2253" y="2370"/>
                          </a:lnTo>
                          <a:lnTo>
                            <a:pt x="2250" y="2385"/>
                          </a:lnTo>
                          <a:lnTo>
                            <a:pt x="2247" y="2397"/>
                          </a:lnTo>
                          <a:lnTo>
                            <a:pt x="2241" y="2407"/>
                          </a:lnTo>
                          <a:lnTo>
                            <a:pt x="2233" y="2415"/>
                          </a:lnTo>
                          <a:lnTo>
                            <a:pt x="2225" y="2421"/>
                          </a:lnTo>
                          <a:lnTo>
                            <a:pt x="2215" y="2425"/>
                          </a:lnTo>
                          <a:lnTo>
                            <a:pt x="2204" y="2426"/>
                          </a:lnTo>
                          <a:lnTo>
                            <a:pt x="2204" y="2426"/>
                          </a:lnTo>
                          <a:close/>
                          <a:moveTo>
                            <a:pt x="921" y="2313"/>
                          </a:moveTo>
                          <a:lnTo>
                            <a:pt x="995" y="2477"/>
                          </a:lnTo>
                          <a:lnTo>
                            <a:pt x="928" y="2477"/>
                          </a:lnTo>
                          <a:lnTo>
                            <a:pt x="877" y="2364"/>
                          </a:lnTo>
                          <a:lnTo>
                            <a:pt x="845" y="2404"/>
                          </a:lnTo>
                          <a:lnTo>
                            <a:pt x="845" y="2477"/>
                          </a:lnTo>
                          <a:lnTo>
                            <a:pt x="785" y="2477"/>
                          </a:lnTo>
                          <a:lnTo>
                            <a:pt x="785" y="2161"/>
                          </a:lnTo>
                          <a:lnTo>
                            <a:pt x="845" y="2131"/>
                          </a:lnTo>
                          <a:lnTo>
                            <a:pt x="845" y="2327"/>
                          </a:lnTo>
                          <a:lnTo>
                            <a:pt x="845" y="2327"/>
                          </a:lnTo>
                          <a:lnTo>
                            <a:pt x="868" y="2295"/>
                          </a:lnTo>
                          <a:lnTo>
                            <a:pt x="916" y="2233"/>
                          </a:lnTo>
                          <a:lnTo>
                            <a:pt x="987" y="2233"/>
                          </a:lnTo>
                          <a:lnTo>
                            <a:pt x="921" y="2313"/>
                          </a:lnTo>
                          <a:close/>
                          <a:moveTo>
                            <a:pt x="1208" y="2477"/>
                          </a:moveTo>
                          <a:lnTo>
                            <a:pt x="1147" y="2477"/>
                          </a:lnTo>
                          <a:lnTo>
                            <a:pt x="1147" y="2233"/>
                          </a:lnTo>
                          <a:lnTo>
                            <a:pt x="1208" y="2233"/>
                          </a:lnTo>
                          <a:lnTo>
                            <a:pt x="1208" y="2254"/>
                          </a:lnTo>
                          <a:lnTo>
                            <a:pt x="1208" y="2254"/>
                          </a:lnTo>
                          <a:lnTo>
                            <a:pt x="1214" y="2248"/>
                          </a:lnTo>
                          <a:lnTo>
                            <a:pt x="1220" y="2243"/>
                          </a:lnTo>
                          <a:lnTo>
                            <a:pt x="1227" y="2238"/>
                          </a:lnTo>
                          <a:lnTo>
                            <a:pt x="1235" y="2234"/>
                          </a:lnTo>
                          <a:lnTo>
                            <a:pt x="1243" y="2232"/>
                          </a:lnTo>
                          <a:lnTo>
                            <a:pt x="1252" y="2229"/>
                          </a:lnTo>
                          <a:lnTo>
                            <a:pt x="1260" y="2228"/>
                          </a:lnTo>
                          <a:lnTo>
                            <a:pt x="1270" y="2227"/>
                          </a:lnTo>
                          <a:lnTo>
                            <a:pt x="1270" y="2227"/>
                          </a:lnTo>
                          <a:lnTo>
                            <a:pt x="1281" y="2228"/>
                          </a:lnTo>
                          <a:lnTo>
                            <a:pt x="1290" y="2229"/>
                          </a:lnTo>
                          <a:lnTo>
                            <a:pt x="1299" y="2232"/>
                          </a:lnTo>
                          <a:lnTo>
                            <a:pt x="1309" y="2234"/>
                          </a:lnTo>
                          <a:lnTo>
                            <a:pt x="1316" y="2239"/>
                          </a:lnTo>
                          <a:lnTo>
                            <a:pt x="1323" y="2244"/>
                          </a:lnTo>
                          <a:lnTo>
                            <a:pt x="1331" y="2249"/>
                          </a:lnTo>
                          <a:lnTo>
                            <a:pt x="1337" y="2256"/>
                          </a:lnTo>
                          <a:lnTo>
                            <a:pt x="1342" y="2263"/>
                          </a:lnTo>
                          <a:lnTo>
                            <a:pt x="1346" y="2272"/>
                          </a:lnTo>
                          <a:lnTo>
                            <a:pt x="1350" y="2280"/>
                          </a:lnTo>
                          <a:lnTo>
                            <a:pt x="1354" y="2291"/>
                          </a:lnTo>
                          <a:lnTo>
                            <a:pt x="1356" y="2302"/>
                          </a:lnTo>
                          <a:lnTo>
                            <a:pt x="1357" y="2313"/>
                          </a:lnTo>
                          <a:lnTo>
                            <a:pt x="1359" y="2325"/>
                          </a:lnTo>
                          <a:lnTo>
                            <a:pt x="1360" y="2339"/>
                          </a:lnTo>
                          <a:lnTo>
                            <a:pt x="1360" y="2477"/>
                          </a:lnTo>
                          <a:lnTo>
                            <a:pt x="1299" y="2477"/>
                          </a:lnTo>
                          <a:lnTo>
                            <a:pt x="1299" y="2342"/>
                          </a:lnTo>
                          <a:lnTo>
                            <a:pt x="1299" y="2342"/>
                          </a:lnTo>
                          <a:lnTo>
                            <a:pt x="1298" y="2329"/>
                          </a:lnTo>
                          <a:lnTo>
                            <a:pt x="1297" y="2316"/>
                          </a:lnTo>
                          <a:lnTo>
                            <a:pt x="1293" y="2306"/>
                          </a:lnTo>
                          <a:lnTo>
                            <a:pt x="1288" y="2297"/>
                          </a:lnTo>
                          <a:lnTo>
                            <a:pt x="1282" y="2291"/>
                          </a:lnTo>
                          <a:lnTo>
                            <a:pt x="1275" y="2286"/>
                          </a:lnTo>
                          <a:lnTo>
                            <a:pt x="1265" y="2284"/>
                          </a:lnTo>
                          <a:lnTo>
                            <a:pt x="1254" y="2283"/>
                          </a:lnTo>
                          <a:lnTo>
                            <a:pt x="1254" y="2283"/>
                          </a:lnTo>
                          <a:lnTo>
                            <a:pt x="1244" y="2284"/>
                          </a:lnTo>
                          <a:lnTo>
                            <a:pt x="1235" y="2286"/>
                          </a:lnTo>
                          <a:lnTo>
                            <a:pt x="1226" y="2291"/>
                          </a:lnTo>
                          <a:lnTo>
                            <a:pt x="1220" y="2299"/>
                          </a:lnTo>
                          <a:lnTo>
                            <a:pt x="1215" y="2306"/>
                          </a:lnTo>
                          <a:lnTo>
                            <a:pt x="1212" y="2317"/>
                          </a:lnTo>
                          <a:lnTo>
                            <a:pt x="1209" y="2329"/>
                          </a:lnTo>
                          <a:lnTo>
                            <a:pt x="1208" y="2342"/>
                          </a:lnTo>
                          <a:lnTo>
                            <a:pt x="1208" y="2477"/>
                          </a:lnTo>
                          <a:close/>
                          <a:moveTo>
                            <a:pt x="1551" y="2250"/>
                          </a:moveTo>
                          <a:lnTo>
                            <a:pt x="1551" y="2250"/>
                          </a:lnTo>
                          <a:lnTo>
                            <a:pt x="1544" y="2245"/>
                          </a:lnTo>
                          <a:lnTo>
                            <a:pt x="1538" y="2240"/>
                          </a:lnTo>
                          <a:lnTo>
                            <a:pt x="1532" y="2237"/>
                          </a:lnTo>
                          <a:lnTo>
                            <a:pt x="1525" y="2233"/>
                          </a:lnTo>
                          <a:lnTo>
                            <a:pt x="1518" y="2231"/>
                          </a:lnTo>
                          <a:lnTo>
                            <a:pt x="1510" y="2229"/>
                          </a:lnTo>
                          <a:lnTo>
                            <a:pt x="1503" y="2228"/>
                          </a:lnTo>
                          <a:lnTo>
                            <a:pt x="1496" y="2227"/>
                          </a:lnTo>
                          <a:lnTo>
                            <a:pt x="1496" y="2227"/>
                          </a:lnTo>
                          <a:lnTo>
                            <a:pt x="1485" y="2228"/>
                          </a:lnTo>
                          <a:lnTo>
                            <a:pt x="1475" y="2229"/>
                          </a:lnTo>
                          <a:lnTo>
                            <a:pt x="1465" y="2232"/>
                          </a:lnTo>
                          <a:lnTo>
                            <a:pt x="1456" y="2237"/>
                          </a:lnTo>
                          <a:lnTo>
                            <a:pt x="1447" y="2240"/>
                          </a:lnTo>
                          <a:lnTo>
                            <a:pt x="1440" y="2246"/>
                          </a:lnTo>
                          <a:lnTo>
                            <a:pt x="1433" y="2254"/>
                          </a:lnTo>
                          <a:lnTo>
                            <a:pt x="1425" y="2261"/>
                          </a:lnTo>
                          <a:lnTo>
                            <a:pt x="1419" y="2269"/>
                          </a:lnTo>
                          <a:lnTo>
                            <a:pt x="1414" y="2279"/>
                          </a:lnTo>
                          <a:lnTo>
                            <a:pt x="1410" y="2289"/>
                          </a:lnTo>
                          <a:lnTo>
                            <a:pt x="1406" y="2301"/>
                          </a:lnTo>
                          <a:lnTo>
                            <a:pt x="1404" y="2312"/>
                          </a:lnTo>
                          <a:lnTo>
                            <a:pt x="1401" y="2325"/>
                          </a:lnTo>
                          <a:lnTo>
                            <a:pt x="1400" y="2339"/>
                          </a:lnTo>
                          <a:lnTo>
                            <a:pt x="1400" y="2352"/>
                          </a:lnTo>
                          <a:lnTo>
                            <a:pt x="1400" y="2352"/>
                          </a:lnTo>
                          <a:lnTo>
                            <a:pt x="1400" y="2368"/>
                          </a:lnTo>
                          <a:lnTo>
                            <a:pt x="1401" y="2381"/>
                          </a:lnTo>
                          <a:lnTo>
                            <a:pt x="1404" y="2395"/>
                          </a:lnTo>
                          <a:lnTo>
                            <a:pt x="1406" y="2408"/>
                          </a:lnTo>
                          <a:lnTo>
                            <a:pt x="1410" y="2419"/>
                          </a:lnTo>
                          <a:lnTo>
                            <a:pt x="1414" y="2430"/>
                          </a:lnTo>
                          <a:lnTo>
                            <a:pt x="1419" y="2440"/>
                          </a:lnTo>
                          <a:lnTo>
                            <a:pt x="1425" y="2448"/>
                          </a:lnTo>
                          <a:lnTo>
                            <a:pt x="1431" y="2457"/>
                          </a:lnTo>
                          <a:lnTo>
                            <a:pt x="1439" y="2463"/>
                          </a:lnTo>
                          <a:lnTo>
                            <a:pt x="1446" y="2469"/>
                          </a:lnTo>
                          <a:lnTo>
                            <a:pt x="1455" y="2474"/>
                          </a:lnTo>
                          <a:lnTo>
                            <a:pt x="1464" y="2477"/>
                          </a:lnTo>
                          <a:lnTo>
                            <a:pt x="1474" y="2481"/>
                          </a:lnTo>
                          <a:lnTo>
                            <a:pt x="1484" y="2482"/>
                          </a:lnTo>
                          <a:lnTo>
                            <a:pt x="1495" y="2483"/>
                          </a:lnTo>
                          <a:lnTo>
                            <a:pt x="1495" y="2483"/>
                          </a:lnTo>
                          <a:lnTo>
                            <a:pt x="1502" y="2482"/>
                          </a:lnTo>
                          <a:lnTo>
                            <a:pt x="1510" y="2481"/>
                          </a:lnTo>
                          <a:lnTo>
                            <a:pt x="1518" y="2480"/>
                          </a:lnTo>
                          <a:lnTo>
                            <a:pt x="1525" y="2477"/>
                          </a:lnTo>
                          <a:lnTo>
                            <a:pt x="1531" y="2474"/>
                          </a:lnTo>
                          <a:lnTo>
                            <a:pt x="1538" y="2470"/>
                          </a:lnTo>
                          <a:lnTo>
                            <a:pt x="1544" y="2465"/>
                          </a:lnTo>
                          <a:lnTo>
                            <a:pt x="1551" y="2459"/>
                          </a:lnTo>
                          <a:lnTo>
                            <a:pt x="1551" y="2465"/>
                          </a:lnTo>
                          <a:lnTo>
                            <a:pt x="1551" y="2465"/>
                          </a:lnTo>
                          <a:lnTo>
                            <a:pt x="1551" y="2475"/>
                          </a:lnTo>
                          <a:lnTo>
                            <a:pt x="1549" y="2486"/>
                          </a:lnTo>
                          <a:lnTo>
                            <a:pt x="1546" y="2497"/>
                          </a:lnTo>
                          <a:lnTo>
                            <a:pt x="1543" y="2502"/>
                          </a:lnTo>
                          <a:lnTo>
                            <a:pt x="1541" y="2506"/>
                          </a:lnTo>
                          <a:lnTo>
                            <a:pt x="1536" y="2511"/>
                          </a:lnTo>
                          <a:lnTo>
                            <a:pt x="1531" y="2516"/>
                          </a:lnTo>
                          <a:lnTo>
                            <a:pt x="1525" y="2520"/>
                          </a:lnTo>
                          <a:lnTo>
                            <a:pt x="1518" y="2524"/>
                          </a:lnTo>
                          <a:lnTo>
                            <a:pt x="1508" y="2526"/>
                          </a:lnTo>
                          <a:lnTo>
                            <a:pt x="1498" y="2528"/>
                          </a:lnTo>
                          <a:lnTo>
                            <a:pt x="1486" y="2530"/>
                          </a:lnTo>
                          <a:lnTo>
                            <a:pt x="1472" y="2530"/>
                          </a:lnTo>
                          <a:lnTo>
                            <a:pt x="1469" y="2530"/>
                          </a:lnTo>
                          <a:lnTo>
                            <a:pt x="1491" y="2577"/>
                          </a:lnTo>
                          <a:lnTo>
                            <a:pt x="1492" y="2577"/>
                          </a:lnTo>
                          <a:lnTo>
                            <a:pt x="1492" y="2577"/>
                          </a:lnTo>
                          <a:lnTo>
                            <a:pt x="1507" y="2577"/>
                          </a:lnTo>
                          <a:lnTo>
                            <a:pt x="1520" y="2576"/>
                          </a:lnTo>
                          <a:lnTo>
                            <a:pt x="1532" y="2572"/>
                          </a:lnTo>
                          <a:lnTo>
                            <a:pt x="1544" y="2570"/>
                          </a:lnTo>
                          <a:lnTo>
                            <a:pt x="1555" y="2565"/>
                          </a:lnTo>
                          <a:lnTo>
                            <a:pt x="1565" y="2560"/>
                          </a:lnTo>
                          <a:lnTo>
                            <a:pt x="1574" y="2554"/>
                          </a:lnTo>
                          <a:lnTo>
                            <a:pt x="1581" y="2547"/>
                          </a:lnTo>
                          <a:lnTo>
                            <a:pt x="1588" y="2538"/>
                          </a:lnTo>
                          <a:lnTo>
                            <a:pt x="1594" y="2530"/>
                          </a:lnTo>
                          <a:lnTo>
                            <a:pt x="1599" y="2519"/>
                          </a:lnTo>
                          <a:lnTo>
                            <a:pt x="1603" y="2508"/>
                          </a:lnTo>
                          <a:lnTo>
                            <a:pt x="1606" y="2497"/>
                          </a:lnTo>
                          <a:lnTo>
                            <a:pt x="1609" y="2483"/>
                          </a:lnTo>
                          <a:lnTo>
                            <a:pt x="1610" y="2470"/>
                          </a:lnTo>
                          <a:lnTo>
                            <a:pt x="1610" y="2455"/>
                          </a:lnTo>
                          <a:lnTo>
                            <a:pt x="1610" y="2233"/>
                          </a:lnTo>
                          <a:lnTo>
                            <a:pt x="1551" y="2233"/>
                          </a:lnTo>
                          <a:lnTo>
                            <a:pt x="1551" y="2250"/>
                          </a:lnTo>
                          <a:close/>
                          <a:moveTo>
                            <a:pt x="1551" y="2307"/>
                          </a:moveTo>
                          <a:lnTo>
                            <a:pt x="1551" y="2403"/>
                          </a:lnTo>
                          <a:lnTo>
                            <a:pt x="1551" y="2403"/>
                          </a:lnTo>
                          <a:lnTo>
                            <a:pt x="1542" y="2412"/>
                          </a:lnTo>
                          <a:lnTo>
                            <a:pt x="1534" y="2420"/>
                          </a:lnTo>
                          <a:lnTo>
                            <a:pt x="1527" y="2423"/>
                          </a:lnTo>
                          <a:lnTo>
                            <a:pt x="1521" y="2425"/>
                          </a:lnTo>
                          <a:lnTo>
                            <a:pt x="1515" y="2426"/>
                          </a:lnTo>
                          <a:lnTo>
                            <a:pt x="1507" y="2427"/>
                          </a:lnTo>
                          <a:lnTo>
                            <a:pt x="1507" y="2427"/>
                          </a:lnTo>
                          <a:lnTo>
                            <a:pt x="1499" y="2426"/>
                          </a:lnTo>
                          <a:lnTo>
                            <a:pt x="1491" y="2424"/>
                          </a:lnTo>
                          <a:lnTo>
                            <a:pt x="1484" y="2420"/>
                          </a:lnTo>
                          <a:lnTo>
                            <a:pt x="1476" y="2413"/>
                          </a:lnTo>
                          <a:lnTo>
                            <a:pt x="1470" y="2403"/>
                          </a:lnTo>
                          <a:lnTo>
                            <a:pt x="1465" y="2390"/>
                          </a:lnTo>
                          <a:lnTo>
                            <a:pt x="1463" y="2373"/>
                          </a:lnTo>
                          <a:lnTo>
                            <a:pt x="1462" y="2351"/>
                          </a:lnTo>
                          <a:lnTo>
                            <a:pt x="1462" y="2351"/>
                          </a:lnTo>
                          <a:lnTo>
                            <a:pt x="1463" y="2333"/>
                          </a:lnTo>
                          <a:lnTo>
                            <a:pt x="1465" y="2317"/>
                          </a:lnTo>
                          <a:lnTo>
                            <a:pt x="1470" y="2305"/>
                          </a:lnTo>
                          <a:lnTo>
                            <a:pt x="1476" y="2296"/>
                          </a:lnTo>
                          <a:lnTo>
                            <a:pt x="1484" y="2290"/>
                          </a:lnTo>
                          <a:lnTo>
                            <a:pt x="1491" y="2285"/>
                          </a:lnTo>
                          <a:lnTo>
                            <a:pt x="1499" y="2284"/>
                          </a:lnTo>
                          <a:lnTo>
                            <a:pt x="1507" y="2283"/>
                          </a:lnTo>
                          <a:lnTo>
                            <a:pt x="1507" y="2283"/>
                          </a:lnTo>
                          <a:lnTo>
                            <a:pt x="1515" y="2284"/>
                          </a:lnTo>
                          <a:lnTo>
                            <a:pt x="1523" y="2285"/>
                          </a:lnTo>
                          <a:lnTo>
                            <a:pt x="1529" y="2288"/>
                          </a:lnTo>
                          <a:lnTo>
                            <a:pt x="1535" y="2291"/>
                          </a:lnTo>
                          <a:lnTo>
                            <a:pt x="1540" y="2295"/>
                          </a:lnTo>
                          <a:lnTo>
                            <a:pt x="1543" y="2299"/>
                          </a:lnTo>
                          <a:lnTo>
                            <a:pt x="1551" y="2307"/>
                          </a:lnTo>
                          <a:lnTo>
                            <a:pt x="1551" y="2307"/>
                          </a:lnTo>
                          <a:close/>
                          <a:moveTo>
                            <a:pt x="1033" y="2233"/>
                          </a:moveTo>
                          <a:lnTo>
                            <a:pt x="1094" y="2233"/>
                          </a:lnTo>
                          <a:lnTo>
                            <a:pt x="1094" y="2341"/>
                          </a:lnTo>
                          <a:lnTo>
                            <a:pt x="1094" y="2477"/>
                          </a:lnTo>
                          <a:lnTo>
                            <a:pt x="1033" y="2477"/>
                          </a:lnTo>
                          <a:lnTo>
                            <a:pt x="1033" y="2233"/>
                          </a:lnTo>
                          <a:close/>
                          <a:moveTo>
                            <a:pt x="1094" y="2167"/>
                          </a:moveTo>
                          <a:lnTo>
                            <a:pt x="1094" y="2198"/>
                          </a:lnTo>
                          <a:lnTo>
                            <a:pt x="1033" y="2198"/>
                          </a:lnTo>
                          <a:lnTo>
                            <a:pt x="1033" y="2137"/>
                          </a:lnTo>
                          <a:lnTo>
                            <a:pt x="1094" y="2137"/>
                          </a:lnTo>
                          <a:lnTo>
                            <a:pt x="1094" y="2167"/>
                          </a:lnTo>
                          <a:close/>
                          <a:moveTo>
                            <a:pt x="2542" y="2161"/>
                          </a:moveTo>
                          <a:lnTo>
                            <a:pt x="2603" y="2131"/>
                          </a:lnTo>
                          <a:lnTo>
                            <a:pt x="2603" y="2352"/>
                          </a:lnTo>
                          <a:lnTo>
                            <a:pt x="2603" y="2477"/>
                          </a:lnTo>
                          <a:lnTo>
                            <a:pt x="2542" y="2477"/>
                          </a:lnTo>
                          <a:lnTo>
                            <a:pt x="2542" y="2161"/>
                          </a:lnTo>
                          <a:close/>
                          <a:moveTo>
                            <a:pt x="437" y="834"/>
                          </a:moveTo>
                          <a:lnTo>
                            <a:pt x="936" y="834"/>
                          </a:lnTo>
                          <a:lnTo>
                            <a:pt x="936" y="544"/>
                          </a:lnTo>
                          <a:lnTo>
                            <a:pt x="437" y="544"/>
                          </a:lnTo>
                          <a:lnTo>
                            <a:pt x="437" y="317"/>
                          </a:lnTo>
                          <a:lnTo>
                            <a:pt x="989" y="317"/>
                          </a:lnTo>
                          <a:lnTo>
                            <a:pt x="806" y="0"/>
                          </a:lnTo>
                          <a:lnTo>
                            <a:pt x="24" y="0"/>
                          </a:lnTo>
                          <a:lnTo>
                            <a:pt x="24" y="1378"/>
                          </a:lnTo>
                          <a:lnTo>
                            <a:pt x="1126" y="1378"/>
                          </a:lnTo>
                          <a:lnTo>
                            <a:pt x="1126" y="1061"/>
                          </a:lnTo>
                          <a:lnTo>
                            <a:pt x="437" y="1061"/>
                          </a:lnTo>
                          <a:lnTo>
                            <a:pt x="437" y="834"/>
                          </a:lnTo>
                          <a:close/>
                          <a:moveTo>
                            <a:pt x="1860" y="0"/>
                          </a:moveTo>
                          <a:lnTo>
                            <a:pt x="1626" y="450"/>
                          </a:lnTo>
                          <a:lnTo>
                            <a:pt x="1393" y="0"/>
                          </a:lnTo>
                          <a:lnTo>
                            <a:pt x="936" y="0"/>
                          </a:lnTo>
                          <a:lnTo>
                            <a:pt x="1417" y="834"/>
                          </a:lnTo>
                          <a:lnTo>
                            <a:pt x="1417" y="1378"/>
                          </a:lnTo>
                          <a:lnTo>
                            <a:pt x="1829" y="1378"/>
                          </a:lnTo>
                          <a:lnTo>
                            <a:pt x="1829" y="834"/>
                          </a:lnTo>
                          <a:lnTo>
                            <a:pt x="2311" y="0"/>
                          </a:lnTo>
                          <a:lnTo>
                            <a:pt x="186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</p:grpSp>
              <p:sp>
                <p:nvSpPr>
                  <p:cNvPr id="57" name="Content Placeholder 5">
                    <a:extLst>
                      <a:ext uri="{FF2B5EF4-FFF2-40B4-BE49-F238E27FC236}">
                        <a16:creationId xmlns:a16="http://schemas.microsoft.com/office/drawing/2014/main" id="{4E662845-085B-48A1-9620-C1E69D787C09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4368" y="75105"/>
                    <a:ext cx="1458345" cy="152383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b="1" kern="0">
                        <a:solidFill>
                          <a:srgbClr val="FFE600"/>
                        </a:solidFill>
                        <a:latin typeface="EYInterstate Bold" panose="02000803030000020004" pitchFamily="2" charset="0"/>
                        <a:ea typeface="+mn-ea"/>
                        <a:cs typeface="+mn-cs"/>
                      </a:rPr>
                      <a:t>Context, Scope and Objectives</a:t>
                    </a:r>
                  </a:p>
                </p:txBody>
              </p:sp>
              <p:sp>
                <p:nvSpPr>
                  <p:cNvPr id="58" name="Content Placeholder 5">
                    <a:extLst>
                      <a:ext uri="{FF2B5EF4-FFF2-40B4-BE49-F238E27FC236}">
                        <a16:creationId xmlns:a16="http://schemas.microsoft.com/office/drawing/2014/main" id="{F98610E0-36BB-4E46-994C-77CAFAC59710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11986" y="51130"/>
                    <a:ext cx="1206296" cy="200331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+mj-lt"/>
                      <a:buNone/>
                      <a:tabLst>
                        <a:tab pos="4876815" algn="r"/>
                      </a:tabLst>
                    </a:pPr>
                    <a:r>
                      <a:rPr lang="en-US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Key Success Factors &amp; Challenges </a:t>
                    </a:r>
                  </a:p>
                </p:txBody>
              </p:sp>
              <p:sp>
                <p:nvSpPr>
                  <p:cNvPr id="59" name="Content Placeholder 5">
                    <a:extLst>
                      <a:ext uri="{FF2B5EF4-FFF2-40B4-BE49-F238E27FC236}">
                        <a16:creationId xmlns:a16="http://schemas.microsoft.com/office/drawing/2014/main" id="{50B3A82E-951E-4A01-9F99-4E74274A6C67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11169709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Appendices</a:t>
                    </a:r>
                  </a:p>
                </p:txBody>
              </p:sp>
              <p:sp>
                <p:nvSpPr>
                  <p:cNvPr id="60" name="Content Placeholder 5">
                    <a:extLst>
                      <a:ext uri="{FF2B5EF4-FFF2-40B4-BE49-F238E27FC236}">
                        <a16:creationId xmlns:a16="http://schemas.microsoft.com/office/drawing/2014/main" id="{91A5A488-927F-4061-8EDD-13800BE6ABC5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5947426" y="83518"/>
                    <a:ext cx="1023162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Proposed</a:t>
                    </a: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 Approach</a:t>
                    </a:r>
                  </a:p>
                </p:txBody>
              </p:sp>
              <p:sp>
                <p:nvSpPr>
                  <p:cNvPr id="61" name="Content Placeholder 5">
                    <a:extLst>
                      <a:ext uri="{FF2B5EF4-FFF2-40B4-BE49-F238E27FC236}">
                        <a16:creationId xmlns:a16="http://schemas.microsoft.com/office/drawing/2014/main" id="{4143DEBB-6FB0-49F3-AA64-844F00C0E302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7262461" y="75105"/>
                    <a:ext cx="1138227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Team &amp; </a:t>
                    </a: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Goverance</a:t>
                    </a:r>
                    <a:endParaRPr lang="fr-FR" sz="800" kern="0">
                      <a:solidFill>
                        <a:schemeClr val="bg2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Content Placeholder 5">
                    <a:extLst>
                      <a:ext uri="{FF2B5EF4-FFF2-40B4-BE49-F238E27FC236}">
                        <a16:creationId xmlns:a16="http://schemas.microsoft.com/office/drawing/2014/main" id="{0E9A90AF-E4D9-4CF3-B0CD-7B04972B6FD3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4484077" y="75105"/>
                    <a:ext cx="1097554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Scope &amp; Assumptions</a:t>
                    </a:r>
                  </a:p>
                </p:txBody>
              </p:sp>
              <p:sp>
                <p:nvSpPr>
                  <p:cNvPr id="63" name="Content Placeholder 5">
                    <a:extLst>
                      <a:ext uri="{FF2B5EF4-FFF2-40B4-BE49-F238E27FC236}">
                        <a16:creationId xmlns:a16="http://schemas.microsoft.com/office/drawing/2014/main" id="{70C26B6A-4CEB-49AF-9F79-0FA926892016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8757114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Teams Profiles</a:t>
                    </a:r>
                  </a:p>
                </p:txBody>
              </p:sp>
              <p:sp>
                <p:nvSpPr>
                  <p:cNvPr id="64" name="Content Placeholder 5">
                    <a:extLst>
                      <a:ext uri="{FF2B5EF4-FFF2-40B4-BE49-F238E27FC236}">
                        <a16:creationId xmlns:a16="http://schemas.microsoft.com/office/drawing/2014/main" id="{EC6982F4-1879-49EA-A066-D5EC786859C0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9963409" y="75105"/>
                    <a:ext cx="866515" cy="176356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Key Credentials</a:t>
                    </a:r>
                  </a:p>
                </p:txBody>
              </p:sp>
            </p:grpSp>
          </p:grpSp>
          <p:sp>
            <p:nvSpPr>
              <p:cNvPr id="53" name="Content Placeholder 5">
                <a:extLst>
                  <a:ext uri="{FF2B5EF4-FFF2-40B4-BE49-F238E27FC236}">
                    <a16:creationId xmlns:a16="http://schemas.microsoft.com/office/drawing/2014/main" id="{ED153249-24E3-4810-B5D6-B5164F44650A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1608265" y="75105"/>
                <a:ext cx="1097554" cy="135989"/>
              </a:xfrm>
              <a:prstGeom prst="rect">
                <a:avLst/>
              </a:prstGeom>
            </p:spPr>
            <p:txBody>
              <a:bodyPr anchor="ctr"/>
              <a:lstStyle>
                <a:lvl1pPr algn="l" defTabSz="995363" rtl="0" fontAlgn="base">
                  <a:lnSpc>
                    <a:spcPts val="2100"/>
                  </a:lnSpc>
                  <a:spcBef>
                    <a:spcPct val="0"/>
                  </a:spcBef>
                  <a:spcAft>
                    <a:spcPct val="40000"/>
                  </a:spcAft>
                  <a:defRPr sz="1400" b="0">
                    <a:solidFill>
                      <a:srgbClr val="646464"/>
                    </a:solidFill>
                    <a:latin typeface="+mj-lt"/>
                    <a:ea typeface="+mn-ea"/>
                    <a:cs typeface="+mn-cs"/>
                  </a:defRPr>
                </a:lvl1pPr>
                <a:lvl2pPr marL="1588" algn="l" defTabSz="995363" rtl="0"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lang="en-US" sz="1200" b="1" dirty="0" smtClean="0">
                    <a:solidFill>
                      <a:srgbClr val="646464"/>
                    </a:solidFill>
                    <a:latin typeface="+mn-lt"/>
                  </a:defRPr>
                </a:lvl2pPr>
                <a:lvl3pPr marL="3175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sz="1000">
                    <a:solidFill>
                      <a:srgbClr val="000000"/>
                    </a:solidFill>
                    <a:latin typeface="+mn-lt"/>
                  </a:defRPr>
                </a:lvl3pPr>
                <a:lvl4pPr marL="152400" indent="-147638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FFD200"/>
                  </a:buClr>
                  <a:buSzPct val="75000"/>
                  <a:buFont typeface="Arial" charset="0"/>
                  <a:buChar char="►"/>
                  <a:defRPr sz="1000">
                    <a:solidFill>
                      <a:srgbClr val="000000"/>
                    </a:solidFill>
                    <a:latin typeface="+mn-lt"/>
                  </a:defRPr>
                </a:lvl4pPr>
                <a:lvl5pPr marL="2968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5pPr>
                <a:lvl6pPr marL="7540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6pPr>
                <a:lvl7pPr marL="12112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7pPr>
                <a:lvl8pPr marL="16684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8pPr>
                <a:lvl9pPr marL="21256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lvl="2" indent="0" algn="ctr" defTabSz="8293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140000"/>
                  <a:buFont typeface="Arial" charset="0"/>
                  <a:buNone/>
                  <a:tabLst>
                    <a:tab pos="4876815" algn="r"/>
                  </a:tabLst>
                </a:pPr>
                <a:r>
                  <a:rPr lang="fr-FR" sz="800" kern="0">
                    <a:solidFill>
                      <a:schemeClr val="bg2"/>
                    </a:solidFill>
                    <a:latin typeface="EYInterstate Light" panose="02000506000000020004" pitchFamily="2" charset="0"/>
                    <a:ea typeface="+mn-ea"/>
                    <a:cs typeface="+mn-cs"/>
                  </a:rPr>
                  <a:t>Scope &amp; Assumptions</a:t>
                </a:r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29BEE87-4CFE-41ED-B87A-77E806C142D3}"/>
                </a:ext>
              </a:extLst>
            </p:cNvPr>
            <p:cNvSpPr/>
            <p:nvPr userDrawn="1"/>
          </p:nvSpPr>
          <p:spPr>
            <a:xfrm>
              <a:off x="0" y="0"/>
              <a:ext cx="12192000" cy="350540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>
                <a:solidFill>
                  <a:schemeClr val="tx1"/>
                </a:solidFill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1928BB59-03C8-436F-9810-9B5F0DCB4F67}"/>
                </a:ext>
              </a:extLst>
            </p:cNvPr>
            <p:cNvGrpSpPr/>
            <p:nvPr userDrawn="1"/>
          </p:nvGrpSpPr>
          <p:grpSpPr>
            <a:xfrm>
              <a:off x="81557" y="51129"/>
              <a:ext cx="167539" cy="200331"/>
              <a:chOff x="784680" y="68072"/>
              <a:chExt cx="167539" cy="200331"/>
            </a:xfrm>
          </p:grpSpPr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6E1F4370-1898-4186-B26A-A4F4A4196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680" y="68072"/>
                <a:ext cx="134278" cy="50020"/>
              </a:xfrm>
              <a:custGeom>
                <a:avLst/>
                <a:gdLst>
                  <a:gd name="T0" fmla="*/ 2723 w 2723"/>
                  <a:gd name="T1" fmla="*/ 0 h 994"/>
                  <a:gd name="T2" fmla="*/ 0 w 2723"/>
                  <a:gd name="T3" fmla="*/ 994 h 994"/>
                  <a:gd name="T4" fmla="*/ 2723 w 2723"/>
                  <a:gd name="T5" fmla="*/ 513 h 994"/>
                  <a:gd name="T6" fmla="*/ 2723 w 2723"/>
                  <a:gd name="T7" fmla="*/ 0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23" h="994">
                    <a:moveTo>
                      <a:pt x="2723" y="0"/>
                    </a:moveTo>
                    <a:lnTo>
                      <a:pt x="0" y="994"/>
                    </a:lnTo>
                    <a:lnTo>
                      <a:pt x="2723" y="513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rgbClr val="F7D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9BC68F3A-C539-4F07-AEF9-E19B3C5910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680" y="138954"/>
                <a:ext cx="167539" cy="129449"/>
              </a:xfrm>
              <a:custGeom>
                <a:avLst/>
                <a:gdLst>
                  <a:gd name="T0" fmla="*/ 256 w 3400"/>
                  <a:gd name="T1" fmla="*/ 1749 h 2577"/>
                  <a:gd name="T2" fmla="*/ 278 w 3400"/>
                  <a:gd name="T3" fmla="*/ 1978 h 2577"/>
                  <a:gd name="T4" fmla="*/ 166 w 3400"/>
                  <a:gd name="T5" fmla="*/ 1993 h 2577"/>
                  <a:gd name="T6" fmla="*/ 386 w 3400"/>
                  <a:gd name="T7" fmla="*/ 1940 h 2577"/>
                  <a:gd name="T8" fmla="*/ 458 w 3400"/>
                  <a:gd name="T9" fmla="*/ 2046 h 2577"/>
                  <a:gd name="T10" fmla="*/ 1255 w 3400"/>
                  <a:gd name="T11" fmla="*/ 1820 h 2577"/>
                  <a:gd name="T12" fmla="*/ 1339 w 3400"/>
                  <a:gd name="T13" fmla="*/ 1914 h 2577"/>
                  <a:gd name="T14" fmla="*/ 767 w 3400"/>
                  <a:gd name="T15" fmla="*/ 1703 h 2577"/>
                  <a:gd name="T16" fmla="*/ 813 w 3400"/>
                  <a:gd name="T17" fmla="*/ 1884 h 2577"/>
                  <a:gd name="T18" fmla="*/ 947 w 3400"/>
                  <a:gd name="T19" fmla="*/ 2042 h 2577"/>
                  <a:gd name="T20" fmla="*/ 916 w 3400"/>
                  <a:gd name="T21" fmla="*/ 1855 h 2577"/>
                  <a:gd name="T22" fmla="*/ 2225 w 3400"/>
                  <a:gd name="T23" fmla="*/ 2049 h 2577"/>
                  <a:gd name="T24" fmla="*/ 2376 w 3400"/>
                  <a:gd name="T25" fmla="*/ 1924 h 2577"/>
                  <a:gd name="T26" fmla="*/ 2312 w 3400"/>
                  <a:gd name="T27" fmla="*/ 1906 h 2577"/>
                  <a:gd name="T28" fmla="*/ 2267 w 3400"/>
                  <a:gd name="T29" fmla="*/ 1855 h 2577"/>
                  <a:gd name="T30" fmla="*/ 1441 w 3400"/>
                  <a:gd name="T31" fmla="*/ 1911 h 2577"/>
                  <a:gd name="T32" fmla="*/ 1591 w 3400"/>
                  <a:gd name="T33" fmla="*/ 2031 h 2577"/>
                  <a:gd name="T34" fmla="*/ 1622 w 3400"/>
                  <a:gd name="T35" fmla="*/ 2119 h 2577"/>
                  <a:gd name="T36" fmla="*/ 1507 w 3400"/>
                  <a:gd name="T37" fmla="*/ 1962 h 2577"/>
                  <a:gd name="T38" fmla="*/ 1902 w 3400"/>
                  <a:gd name="T39" fmla="*/ 1848 h 2577"/>
                  <a:gd name="T40" fmla="*/ 1797 w 3400"/>
                  <a:gd name="T41" fmla="*/ 1958 h 2577"/>
                  <a:gd name="T42" fmla="*/ 2006 w 3400"/>
                  <a:gd name="T43" fmla="*/ 1884 h 2577"/>
                  <a:gd name="T44" fmla="*/ 1857 w 3400"/>
                  <a:gd name="T45" fmla="*/ 1968 h 2577"/>
                  <a:gd name="T46" fmla="*/ 1881 w 3400"/>
                  <a:gd name="T47" fmla="*/ 2002 h 2577"/>
                  <a:gd name="T48" fmla="*/ 2467 w 3400"/>
                  <a:gd name="T49" fmla="*/ 1946 h 2577"/>
                  <a:gd name="T50" fmla="*/ 2452 w 3400"/>
                  <a:gd name="T51" fmla="*/ 1821 h 2577"/>
                  <a:gd name="T52" fmla="*/ 2521 w 3400"/>
                  <a:gd name="T53" fmla="*/ 2055 h 2577"/>
                  <a:gd name="T54" fmla="*/ 2555 w 3400"/>
                  <a:gd name="T55" fmla="*/ 1883 h 2577"/>
                  <a:gd name="T56" fmla="*/ 3202 w 3400"/>
                  <a:gd name="T57" fmla="*/ 1928 h 2577"/>
                  <a:gd name="T58" fmla="*/ 3006 w 3400"/>
                  <a:gd name="T59" fmla="*/ 1854 h 2577"/>
                  <a:gd name="T60" fmla="*/ 3140 w 3400"/>
                  <a:gd name="T61" fmla="*/ 2049 h 2577"/>
                  <a:gd name="T62" fmla="*/ 2905 w 3400"/>
                  <a:gd name="T63" fmla="*/ 1964 h 2577"/>
                  <a:gd name="T64" fmla="*/ 2868 w 3400"/>
                  <a:gd name="T65" fmla="*/ 2041 h 2577"/>
                  <a:gd name="T66" fmla="*/ 2713 w 3400"/>
                  <a:gd name="T67" fmla="*/ 2051 h 2577"/>
                  <a:gd name="T68" fmla="*/ 2747 w 3400"/>
                  <a:gd name="T69" fmla="*/ 1996 h 2577"/>
                  <a:gd name="T70" fmla="*/ 3300 w 3400"/>
                  <a:gd name="T71" fmla="*/ 1805 h 2577"/>
                  <a:gd name="T72" fmla="*/ 1073 w 3400"/>
                  <a:gd name="T73" fmla="*/ 2049 h 2577"/>
                  <a:gd name="T74" fmla="*/ 2660 w 3400"/>
                  <a:gd name="T75" fmla="*/ 2279 h 2577"/>
                  <a:gd name="T76" fmla="*/ 2763 w 3400"/>
                  <a:gd name="T77" fmla="*/ 2480 h 2577"/>
                  <a:gd name="T78" fmla="*/ 2737 w 3400"/>
                  <a:gd name="T79" fmla="*/ 2285 h 2577"/>
                  <a:gd name="T80" fmla="*/ 690 w 3400"/>
                  <a:gd name="T81" fmla="*/ 2289 h 2577"/>
                  <a:gd name="T82" fmla="*/ 740 w 3400"/>
                  <a:gd name="T83" fmla="*/ 2301 h 2577"/>
                  <a:gd name="T84" fmla="*/ 222 w 3400"/>
                  <a:gd name="T85" fmla="*/ 2352 h 2577"/>
                  <a:gd name="T86" fmla="*/ 341 w 3400"/>
                  <a:gd name="T87" fmla="*/ 2395 h 2577"/>
                  <a:gd name="T88" fmla="*/ 554 w 3400"/>
                  <a:gd name="T89" fmla="*/ 2395 h 2577"/>
                  <a:gd name="T90" fmla="*/ 412 w 3400"/>
                  <a:gd name="T91" fmla="*/ 2407 h 2577"/>
                  <a:gd name="T92" fmla="*/ 484 w 3400"/>
                  <a:gd name="T93" fmla="*/ 2407 h 2577"/>
                  <a:gd name="T94" fmla="*/ 2419 w 3400"/>
                  <a:gd name="T95" fmla="*/ 2248 h 2577"/>
                  <a:gd name="T96" fmla="*/ 1758 w 3400"/>
                  <a:gd name="T97" fmla="*/ 2233 h 2577"/>
                  <a:gd name="T98" fmla="*/ 2133 w 3400"/>
                  <a:gd name="T99" fmla="*/ 2255 h 2577"/>
                  <a:gd name="T100" fmla="*/ 2204 w 3400"/>
                  <a:gd name="T101" fmla="*/ 2483 h 2577"/>
                  <a:gd name="T102" fmla="*/ 2269 w 3400"/>
                  <a:gd name="T103" fmla="*/ 2249 h 2577"/>
                  <a:gd name="T104" fmla="*/ 2204 w 3400"/>
                  <a:gd name="T105" fmla="*/ 2284 h 2577"/>
                  <a:gd name="T106" fmla="*/ 845 w 3400"/>
                  <a:gd name="T107" fmla="*/ 2131 h 2577"/>
                  <a:gd name="T108" fmla="*/ 1323 w 3400"/>
                  <a:gd name="T109" fmla="*/ 2244 h 2577"/>
                  <a:gd name="T110" fmla="*/ 1220 w 3400"/>
                  <a:gd name="T111" fmla="*/ 2299 h 2577"/>
                  <a:gd name="T112" fmla="*/ 1410 w 3400"/>
                  <a:gd name="T113" fmla="*/ 2289 h 2577"/>
                  <a:gd name="T114" fmla="*/ 1525 w 3400"/>
                  <a:gd name="T115" fmla="*/ 2477 h 2577"/>
                  <a:gd name="T116" fmla="*/ 1544 w 3400"/>
                  <a:gd name="T117" fmla="*/ 2570 h 2577"/>
                  <a:gd name="T118" fmla="*/ 1491 w 3400"/>
                  <a:gd name="T119" fmla="*/ 2424 h 2577"/>
                  <a:gd name="T120" fmla="*/ 1094 w 3400"/>
                  <a:gd name="T121" fmla="*/ 2341 h 2577"/>
                  <a:gd name="T122" fmla="*/ 437 w 3400"/>
                  <a:gd name="T123" fmla="*/ 1061 h 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00" h="2577">
                    <a:moveTo>
                      <a:pt x="283" y="1942"/>
                    </a:moveTo>
                    <a:lnTo>
                      <a:pt x="283" y="1942"/>
                    </a:lnTo>
                    <a:lnTo>
                      <a:pt x="283" y="1934"/>
                    </a:lnTo>
                    <a:lnTo>
                      <a:pt x="282" y="1927"/>
                    </a:lnTo>
                    <a:lnTo>
                      <a:pt x="278" y="1912"/>
                    </a:lnTo>
                    <a:lnTo>
                      <a:pt x="272" y="1900"/>
                    </a:lnTo>
                    <a:lnTo>
                      <a:pt x="265" y="1890"/>
                    </a:lnTo>
                    <a:lnTo>
                      <a:pt x="256" y="1883"/>
                    </a:lnTo>
                    <a:lnTo>
                      <a:pt x="248" y="1877"/>
                    </a:lnTo>
                    <a:lnTo>
                      <a:pt x="241" y="1872"/>
                    </a:lnTo>
                    <a:lnTo>
                      <a:pt x="233" y="1868"/>
                    </a:lnTo>
                    <a:lnTo>
                      <a:pt x="233" y="1868"/>
                    </a:lnTo>
                    <a:lnTo>
                      <a:pt x="242" y="1862"/>
                    </a:lnTo>
                    <a:lnTo>
                      <a:pt x="249" y="1856"/>
                    </a:lnTo>
                    <a:lnTo>
                      <a:pt x="255" y="1849"/>
                    </a:lnTo>
                    <a:lnTo>
                      <a:pt x="261" y="1840"/>
                    </a:lnTo>
                    <a:lnTo>
                      <a:pt x="266" y="1832"/>
                    </a:lnTo>
                    <a:lnTo>
                      <a:pt x="269" y="1822"/>
                    </a:lnTo>
                    <a:lnTo>
                      <a:pt x="271" y="1812"/>
                    </a:lnTo>
                    <a:lnTo>
                      <a:pt x="271" y="1801"/>
                    </a:lnTo>
                    <a:lnTo>
                      <a:pt x="271" y="1801"/>
                    </a:lnTo>
                    <a:lnTo>
                      <a:pt x="271" y="1792"/>
                    </a:lnTo>
                    <a:lnTo>
                      <a:pt x="270" y="1782"/>
                    </a:lnTo>
                    <a:lnTo>
                      <a:pt x="267" y="1773"/>
                    </a:lnTo>
                    <a:lnTo>
                      <a:pt x="265" y="1765"/>
                    </a:lnTo>
                    <a:lnTo>
                      <a:pt x="261" y="1756"/>
                    </a:lnTo>
                    <a:lnTo>
                      <a:pt x="256" y="1749"/>
                    </a:lnTo>
                    <a:lnTo>
                      <a:pt x="250" y="1743"/>
                    </a:lnTo>
                    <a:lnTo>
                      <a:pt x="244" y="1737"/>
                    </a:lnTo>
                    <a:lnTo>
                      <a:pt x="237" y="1732"/>
                    </a:lnTo>
                    <a:lnTo>
                      <a:pt x="230" y="1727"/>
                    </a:lnTo>
                    <a:lnTo>
                      <a:pt x="221" y="1724"/>
                    </a:lnTo>
                    <a:lnTo>
                      <a:pt x="211" y="1720"/>
                    </a:lnTo>
                    <a:lnTo>
                      <a:pt x="202" y="1718"/>
                    </a:lnTo>
                    <a:lnTo>
                      <a:pt x="191" y="1715"/>
                    </a:lnTo>
                    <a:lnTo>
                      <a:pt x="180" y="1715"/>
                    </a:lnTo>
                    <a:lnTo>
                      <a:pt x="168" y="1714"/>
                    </a:lnTo>
                    <a:lnTo>
                      <a:pt x="24" y="1714"/>
                    </a:lnTo>
                    <a:lnTo>
                      <a:pt x="24" y="2049"/>
                    </a:lnTo>
                    <a:lnTo>
                      <a:pt x="166" y="2049"/>
                    </a:lnTo>
                    <a:lnTo>
                      <a:pt x="166" y="2049"/>
                    </a:lnTo>
                    <a:lnTo>
                      <a:pt x="180" y="2049"/>
                    </a:lnTo>
                    <a:lnTo>
                      <a:pt x="192" y="2048"/>
                    </a:lnTo>
                    <a:lnTo>
                      <a:pt x="204" y="2046"/>
                    </a:lnTo>
                    <a:lnTo>
                      <a:pt x="215" y="2042"/>
                    </a:lnTo>
                    <a:lnTo>
                      <a:pt x="226" y="2038"/>
                    </a:lnTo>
                    <a:lnTo>
                      <a:pt x="236" y="2034"/>
                    </a:lnTo>
                    <a:lnTo>
                      <a:pt x="244" y="2028"/>
                    </a:lnTo>
                    <a:lnTo>
                      <a:pt x="252" y="2021"/>
                    </a:lnTo>
                    <a:lnTo>
                      <a:pt x="259" y="2014"/>
                    </a:lnTo>
                    <a:lnTo>
                      <a:pt x="265" y="2006"/>
                    </a:lnTo>
                    <a:lnTo>
                      <a:pt x="271" y="1997"/>
                    </a:lnTo>
                    <a:lnTo>
                      <a:pt x="275" y="1987"/>
                    </a:lnTo>
                    <a:lnTo>
                      <a:pt x="278" y="1978"/>
                    </a:lnTo>
                    <a:lnTo>
                      <a:pt x="281" y="1967"/>
                    </a:lnTo>
                    <a:lnTo>
                      <a:pt x="282" y="1955"/>
                    </a:lnTo>
                    <a:lnTo>
                      <a:pt x="283" y="1942"/>
                    </a:lnTo>
                    <a:lnTo>
                      <a:pt x="283" y="1942"/>
                    </a:lnTo>
                    <a:close/>
                    <a:moveTo>
                      <a:pt x="166" y="1993"/>
                    </a:moveTo>
                    <a:lnTo>
                      <a:pt x="86" y="1993"/>
                    </a:lnTo>
                    <a:lnTo>
                      <a:pt x="86" y="1897"/>
                    </a:lnTo>
                    <a:lnTo>
                      <a:pt x="166" y="1897"/>
                    </a:lnTo>
                    <a:lnTo>
                      <a:pt x="166" y="1897"/>
                    </a:lnTo>
                    <a:lnTo>
                      <a:pt x="179" y="1899"/>
                    </a:lnTo>
                    <a:lnTo>
                      <a:pt x="188" y="1900"/>
                    </a:lnTo>
                    <a:lnTo>
                      <a:pt x="197" y="1904"/>
                    </a:lnTo>
                    <a:lnTo>
                      <a:pt x="204" y="1910"/>
                    </a:lnTo>
                    <a:lnTo>
                      <a:pt x="210" y="1916"/>
                    </a:lnTo>
                    <a:lnTo>
                      <a:pt x="214" y="1924"/>
                    </a:lnTo>
                    <a:lnTo>
                      <a:pt x="216" y="1934"/>
                    </a:lnTo>
                    <a:lnTo>
                      <a:pt x="218" y="1945"/>
                    </a:lnTo>
                    <a:lnTo>
                      <a:pt x="218" y="1945"/>
                    </a:lnTo>
                    <a:lnTo>
                      <a:pt x="216" y="1956"/>
                    </a:lnTo>
                    <a:lnTo>
                      <a:pt x="214" y="1966"/>
                    </a:lnTo>
                    <a:lnTo>
                      <a:pt x="209" y="1974"/>
                    </a:lnTo>
                    <a:lnTo>
                      <a:pt x="204" y="1980"/>
                    </a:lnTo>
                    <a:lnTo>
                      <a:pt x="197" y="1986"/>
                    </a:lnTo>
                    <a:lnTo>
                      <a:pt x="188" y="1990"/>
                    </a:lnTo>
                    <a:lnTo>
                      <a:pt x="177" y="1992"/>
                    </a:lnTo>
                    <a:lnTo>
                      <a:pt x="166" y="1993"/>
                    </a:lnTo>
                    <a:lnTo>
                      <a:pt x="166" y="1993"/>
                    </a:lnTo>
                    <a:close/>
                    <a:moveTo>
                      <a:pt x="165" y="1843"/>
                    </a:moveTo>
                    <a:lnTo>
                      <a:pt x="86" y="1843"/>
                    </a:lnTo>
                    <a:lnTo>
                      <a:pt x="86" y="1771"/>
                    </a:lnTo>
                    <a:lnTo>
                      <a:pt x="163" y="1771"/>
                    </a:lnTo>
                    <a:lnTo>
                      <a:pt x="163" y="1771"/>
                    </a:lnTo>
                    <a:lnTo>
                      <a:pt x="173" y="1772"/>
                    </a:lnTo>
                    <a:lnTo>
                      <a:pt x="182" y="1773"/>
                    </a:lnTo>
                    <a:lnTo>
                      <a:pt x="190" y="1776"/>
                    </a:lnTo>
                    <a:lnTo>
                      <a:pt x="196" y="1780"/>
                    </a:lnTo>
                    <a:lnTo>
                      <a:pt x="201" y="1786"/>
                    </a:lnTo>
                    <a:lnTo>
                      <a:pt x="204" y="1792"/>
                    </a:lnTo>
                    <a:lnTo>
                      <a:pt x="205" y="1799"/>
                    </a:lnTo>
                    <a:lnTo>
                      <a:pt x="207" y="1807"/>
                    </a:lnTo>
                    <a:lnTo>
                      <a:pt x="207" y="1807"/>
                    </a:lnTo>
                    <a:lnTo>
                      <a:pt x="207" y="1814"/>
                    </a:lnTo>
                    <a:lnTo>
                      <a:pt x="205" y="1820"/>
                    </a:lnTo>
                    <a:lnTo>
                      <a:pt x="203" y="1826"/>
                    </a:lnTo>
                    <a:lnTo>
                      <a:pt x="199" y="1831"/>
                    </a:lnTo>
                    <a:lnTo>
                      <a:pt x="193" y="1835"/>
                    </a:lnTo>
                    <a:lnTo>
                      <a:pt x="186" y="1839"/>
                    </a:lnTo>
                    <a:lnTo>
                      <a:pt x="177" y="1842"/>
                    </a:lnTo>
                    <a:lnTo>
                      <a:pt x="165" y="1843"/>
                    </a:lnTo>
                    <a:lnTo>
                      <a:pt x="165" y="1843"/>
                    </a:lnTo>
                    <a:close/>
                    <a:moveTo>
                      <a:pt x="326" y="1944"/>
                    </a:moveTo>
                    <a:lnTo>
                      <a:pt x="326" y="1805"/>
                    </a:lnTo>
                    <a:lnTo>
                      <a:pt x="386" y="1805"/>
                    </a:lnTo>
                    <a:lnTo>
                      <a:pt x="386" y="1940"/>
                    </a:lnTo>
                    <a:lnTo>
                      <a:pt x="386" y="1940"/>
                    </a:lnTo>
                    <a:lnTo>
                      <a:pt x="386" y="1953"/>
                    </a:lnTo>
                    <a:lnTo>
                      <a:pt x="389" y="1967"/>
                    </a:lnTo>
                    <a:lnTo>
                      <a:pt x="392" y="1976"/>
                    </a:lnTo>
                    <a:lnTo>
                      <a:pt x="397" y="1985"/>
                    </a:lnTo>
                    <a:lnTo>
                      <a:pt x="403" y="1991"/>
                    </a:lnTo>
                    <a:lnTo>
                      <a:pt x="411" y="1996"/>
                    </a:lnTo>
                    <a:lnTo>
                      <a:pt x="420" y="1998"/>
                    </a:lnTo>
                    <a:lnTo>
                      <a:pt x="431" y="2000"/>
                    </a:lnTo>
                    <a:lnTo>
                      <a:pt x="431" y="2000"/>
                    </a:lnTo>
                    <a:lnTo>
                      <a:pt x="442" y="1998"/>
                    </a:lnTo>
                    <a:lnTo>
                      <a:pt x="451" y="1996"/>
                    </a:lnTo>
                    <a:lnTo>
                      <a:pt x="459" y="1991"/>
                    </a:lnTo>
                    <a:lnTo>
                      <a:pt x="465" y="1985"/>
                    </a:lnTo>
                    <a:lnTo>
                      <a:pt x="470" y="1976"/>
                    </a:lnTo>
                    <a:lnTo>
                      <a:pt x="474" y="1966"/>
                    </a:lnTo>
                    <a:lnTo>
                      <a:pt x="476" y="1953"/>
                    </a:lnTo>
                    <a:lnTo>
                      <a:pt x="476" y="1940"/>
                    </a:lnTo>
                    <a:lnTo>
                      <a:pt x="476" y="1805"/>
                    </a:lnTo>
                    <a:lnTo>
                      <a:pt x="537" y="1805"/>
                    </a:lnTo>
                    <a:lnTo>
                      <a:pt x="537" y="2049"/>
                    </a:lnTo>
                    <a:lnTo>
                      <a:pt x="476" y="2049"/>
                    </a:lnTo>
                    <a:lnTo>
                      <a:pt x="476" y="2030"/>
                    </a:lnTo>
                    <a:lnTo>
                      <a:pt x="476" y="2030"/>
                    </a:lnTo>
                    <a:lnTo>
                      <a:pt x="471" y="2036"/>
                    </a:lnTo>
                    <a:lnTo>
                      <a:pt x="464" y="2041"/>
                    </a:lnTo>
                    <a:lnTo>
                      <a:pt x="458" y="2046"/>
                    </a:lnTo>
                    <a:lnTo>
                      <a:pt x="451" y="2048"/>
                    </a:lnTo>
                    <a:lnTo>
                      <a:pt x="444" y="2052"/>
                    </a:lnTo>
                    <a:lnTo>
                      <a:pt x="435" y="2053"/>
                    </a:lnTo>
                    <a:lnTo>
                      <a:pt x="427" y="2054"/>
                    </a:lnTo>
                    <a:lnTo>
                      <a:pt x="418" y="2055"/>
                    </a:lnTo>
                    <a:lnTo>
                      <a:pt x="418" y="2055"/>
                    </a:lnTo>
                    <a:lnTo>
                      <a:pt x="403" y="2054"/>
                    </a:lnTo>
                    <a:lnTo>
                      <a:pt x="391" y="2052"/>
                    </a:lnTo>
                    <a:lnTo>
                      <a:pt x="380" y="2048"/>
                    </a:lnTo>
                    <a:lnTo>
                      <a:pt x="369" y="2043"/>
                    </a:lnTo>
                    <a:lnTo>
                      <a:pt x="361" y="2037"/>
                    </a:lnTo>
                    <a:lnTo>
                      <a:pt x="354" y="2031"/>
                    </a:lnTo>
                    <a:lnTo>
                      <a:pt x="348" y="2023"/>
                    </a:lnTo>
                    <a:lnTo>
                      <a:pt x="341" y="2014"/>
                    </a:lnTo>
                    <a:lnTo>
                      <a:pt x="338" y="2006"/>
                    </a:lnTo>
                    <a:lnTo>
                      <a:pt x="334" y="1997"/>
                    </a:lnTo>
                    <a:lnTo>
                      <a:pt x="329" y="1978"/>
                    </a:lnTo>
                    <a:lnTo>
                      <a:pt x="327" y="1959"/>
                    </a:lnTo>
                    <a:lnTo>
                      <a:pt x="326" y="1944"/>
                    </a:lnTo>
                    <a:lnTo>
                      <a:pt x="326" y="1944"/>
                    </a:lnTo>
                    <a:close/>
                    <a:moveTo>
                      <a:pt x="1249" y="2049"/>
                    </a:moveTo>
                    <a:lnTo>
                      <a:pt x="1188" y="2049"/>
                    </a:lnTo>
                    <a:lnTo>
                      <a:pt x="1188" y="1805"/>
                    </a:lnTo>
                    <a:lnTo>
                      <a:pt x="1249" y="1805"/>
                    </a:lnTo>
                    <a:lnTo>
                      <a:pt x="1249" y="1826"/>
                    </a:lnTo>
                    <a:lnTo>
                      <a:pt x="1249" y="1826"/>
                    </a:lnTo>
                    <a:lnTo>
                      <a:pt x="1255" y="1820"/>
                    </a:lnTo>
                    <a:lnTo>
                      <a:pt x="1261" y="1814"/>
                    </a:lnTo>
                    <a:lnTo>
                      <a:pt x="1269" y="1810"/>
                    </a:lnTo>
                    <a:lnTo>
                      <a:pt x="1276" y="1806"/>
                    </a:lnTo>
                    <a:lnTo>
                      <a:pt x="1284" y="1803"/>
                    </a:lnTo>
                    <a:lnTo>
                      <a:pt x="1292" y="1801"/>
                    </a:lnTo>
                    <a:lnTo>
                      <a:pt x="1301" y="1800"/>
                    </a:lnTo>
                    <a:lnTo>
                      <a:pt x="1310" y="1799"/>
                    </a:lnTo>
                    <a:lnTo>
                      <a:pt x="1310" y="1799"/>
                    </a:lnTo>
                    <a:lnTo>
                      <a:pt x="1321" y="1800"/>
                    </a:lnTo>
                    <a:lnTo>
                      <a:pt x="1331" y="1801"/>
                    </a:lnTo>
                    <a:lnTo>
                      <a:pt x="1340" y="1804"/>
                    </a:lnTo>
                    <a:lnTo>
                      <a:pt x="1349" y="1806"/>
                    </a:lnTo>
                    <a:lnTo>
                      <a:pt x="1357" y="1810"/>
                    </a:lnTo>
                    <a:lnTo>
                      <a:pt x="1365" y="1816"/>
                    </a:lnTo>
                    <a:lnTo>
                      <a:pt x="1371" y="1821"/>
                    </a:lnTo>
                    <a:lnTo>
                      <a:pt x="1377" y="1828"/>
                    </a:lnTo>
                    <a:lnTo>
                      <a:pt x="1383" y="1835"/>
                    </a:lnTo>
                    <a:lnTo>
                      <a:pt x="1386" y="1844"/>
                    </a:lnTo>
                    <a:lnTo>
                      <a:pt x="1391" y="1852"/>
                    </a:lnTo>
                    <a:lnTo>
                      <a:pt x="1394" y="1862"/>
                    </a:lnTo>
                    <a:lnTo>
                      <a:pt x="1396" y="1873"/>
                    </a:lnTo>
                    <a:lnTo>
                      <a:pt x="1399" y="1885"/>
                    </a:lnTo>
                    <a:lnTo>
                      <a:pt x="1400" y="1897"/>
                    </a:lnTo>
                    <a:lnTo>
                      <a:pt x="1400" y="1911"/>
                    </a:lnTo>
                    <a:lnTo>
                      <a:pt x="1400" y="2049"/>
                    </a:lnTo>
                    <a:lnTo>
                      <a:pt x="1339" y="2049"/>
                    </a:lnTo>
                    <a:lnTo>
                      <a:pt x="1339" y="1914"/>
                    </a:lnTo>
                    <a:lnTo>
                      <a:pt x="1339" y="1914"/>
                    </a:lnTo>
                    <a:lnTo>
                      <a:pt x="1339" y="1900"/>
                    </a:lnTo>
                    <a:lnTo>
                      <a:pt x="1337" y="1888"/>
                    </a:lnTo>
                    <a:lnTo>
                      <a:pt x="1333" y="1878"/>
                    </a:lnTo>
                    <a:lnTo>
                      <a:pt x="1328" y="1869"/>
                    </a:lnTo>
                    <a:lnTo>
                      <a:pt x="1322" y="1863"/>
                    </a:lnTo>
                    <a:lnTo>
                      <a:pt x="1315" y="1859"/>
                    </a:lnTo>
                    <a:lnTo>
                      <a:pt x="1306" y="1856"/>
                    </a:lnTo>
                    <a:lnTo>
                      <a:pt x="1295" y="1855"/>
                    </a:lnTo>
                    <a:lnTo>
                      <a:pt x="1295" y="1855"/>
                    </a:lnTo>
                    <a:lnTo>
                      <a:pt x="1284" y="1856"/>
                    </a:lnTo>
                    <a:lnTo>
                      <a:pt x="1275" y="1859"/>
                    </a:lnTo>
                    <a:lnTo>
                      <a:pt x="1267" y="1863"/>
                    </a:lnTo>
                    <a:lnTo>
                      <a:pt x="1261" y="1869"/>
                    </a:lnTo>
                    <a:lnTo>
                      <a:pt x="1255" y="1878"/>
                    </a:lnTo>
                    <a:lnTo>
                      <a:pt x="1252" y="1889"/>
                    </a:lnTo>
                    <a:lnTo>
                      <a:pt x="1249" y="1901"/>
                    </a:lnTo>
                    <a:lnTo>
                      <a:pt x="1249" y="1914"/>
                    </a:lnTo>
                    <a:lnTo>
                      <a:pt x="1249" y="2049"/>
                    </a:lnTo>
                    <a:close/>
                    <a:moveTo>
                      <a:pt x="653" y="1927"/>
                    </a:moveTo>
                    <a:lnTo>
                      <a:pt x="653" y="2049"/>
                    </a:lnTo>
                    <a:lnTo>
                      <a:pt x="592" y="2049"/>
                    </a:lnTo>
                    <a:lnTo>
                      <a:pt x="592" y="1805"/>
                    </a:lnTo>
                    <a:lnTo>
                      <a:pt x="653" y="1805"/>
                    </a:lnTo>
                    <a:lnTo>
                      <a:pt x="653" y="1927"/>
                    </a:lnTo>
                    <a:close/>
                    <a:moveTo>
                      <a:pt x="706" y="1733"/>
                    </a:moveTo>
                    <a:lnTo>
                      <a:pt x="767" y="1703"/>
                    </a:lnTo>
                    <a:lnTo>
                      <a:pt x="767" y="1924"/>
                    </a:lnTo>
                    <a:lnTo>
                      <a:pt x="767" y="2049"/>
                    </a:lnTo>
                    <a:lnTo>
                      <a:pt x="706" y="2049"/>
                    </a:lnTo>
                    <a:lnTo>
                      <a:pt x="706" y="1733"/>
                    </a:lnTo>
                    <a:close/>
                    <a:moveTo>
                      <a:pt x="959" y="1822"/>
                    </a:moveTo>
                    <a:lnTo>
                      <a:pt x="959" y="1822"/>
                    </a:lnTo>
                    <a:lnTo>
                      <a:pt x="954" y="1816"/>
                    </a:lnTo>
                    <a:lnTo>
                      <a:pt x="948" y="1812"/>
                    </a:lnTo>
                    <a:lnTo>
                      <a:pt x="941" y="1807"/>
                    </a:lnTo>
                    <a:lnTo>
                      <a:pt x="934" y="1805"/>
                    </a:lnTo>
                    <a:lnTo>
                      <a:pt x="927" y="1803"/>
                    </a:lnTo>
                    <a:lnTo>
                      <a:pt x="920" y="1800"/>
                    </a:lnTo>
                    <a:lnTo>
                      <a:pt x="905" y="1799"/>
                    </a:lnTo>
                    <a:lnTo>
                      <a:pt x="905" y="1799"/>
                    </a:lnTo>
                    <a:lnTo>
                      <a:pt x="894" y="1800"/>
                    </a:lnTo>
                    <a:lnTo>
                      <a:pt x="883" y="1801"/>
                    </a:lnTo>
                    <a:lnTo>
                      <a:pt x="874" y="1804"/>
                    </a:lnTo>
                    <a:lnTo>
                      <a:pt x="865" y="1807"/>
                    </a:lnTo>
                    <a:lnTo>
                      <a:pt x="857" y="1812"/>
                    </a:lnTo>
                    <a:lnTo>
                      <a:pt x="848" y="1818"/>
                    </a:lnTo>
                    <a:lnTo>
                      <a:pt x="841" y="1826"/>
                    </a:lnTo>
                    <a:lnTo>
                      <a:pt x="835" y="1833"/>
                    </a:lnTo>
                    <a:lnTo>
                      <a:pt x="829" y="1842"/>
                    </a:lnTo>
                    <a:lnTo>
                      <a:pt x="824" y="1851"/>
                    </a:lnTo>
                    <a:lnTo>
                      <a:pt x="819" y="1861"/>
                    </a:lnTo>
                    <a:lnTo>
                      <a:pt x="815" y="1872"/>
                    </a:lnTo>
                    <a:lnTo>
                      <a:pt x="813" y="1884"/>
                    </a:lnTo>
                    <a:lnTo>
                      <a:pt x="811" y="1897"/>
                    </a:lnTo>
                    <a:lnTo>
                      <a:pt x="809" y="1911"/>
                    </a:lnTo>
                    <a:lnTo>
                      <a:pt x="809" y="1924"/>
                    </a:lnTo>
                    <a:lnTo>
                      <a:pt x="809" y="1924"/>
                    </a:lnTo>
                    <a:lnTo>
                      <a:pt x="809" y="1940"/>
                    </a:lnTo>
                    <a:lnTo>
                      <a:pt x="811" y="1953"/>
                    </a:lnTo>
                    <a:lnTo>
                      <a:pt x="813" y="1967"/>
                    </a:lnTo>
                    <a:lnTo>
                      <a:pt x="815" y="1979"/>
                    </a:lnTo>
                    <a:lnTo>
                      <a:pt x="819" y="1991"/>
                    </a:lnTo>
                    <a:lnTo>
                      <a:pt x="823" y="2002"/>
                    </a:lnTo>
                    <a:lnTo>
                      <a:pt x="828" y="2012"/>
                    </a:lnTo>
                    <a:lnTo>
                      <a:pt x="834" y="2020"/>
                    </a:lnTo>
                    <a:lnTo>
                      <a:pt x="841" y="2029"/>
                    </a:lnTo>
                    <a:lnTo>
                      <a:pt x="847" y="2035"/>
                    </a:lnTo>
                    <a:lnTo>
                      <a:pt x="855" y="2041"/>
                    </a:lnTo>
                    <a:lnTo>
                      <a:pt x="864" y="2046"/>
                    </a:lnTo>
                    <a:lnTo>
                      <a:pt x="872" y="2049"/>
                    </a:lnTo>
                    <a:lnTo>
                      <a:pt x="882" y="2053"/>
                    </a:lnTo>
                    <a:lnTo>
                      <a:pt x="893" y="2054"/>
                    </a:lnTo>
                    <a:lnTo>
                      <a:pt x="904" y="2055"/>
                    </a:lnTo>
                    <a:lnTo>
                      <a:pt x="904" y="2055"/>
                    </a:lnTo>
                    <a:lnTo>
                      <a:pt x="911" y="2054"/>
                    </a:lnTo>
                    <a:lnTo>
                      <a:pt x="919" y="2053"/>
                    </a:lnTo>
                    <a:lnTo>
                      <a:pt x="926" y="2052"/>
                    </a:lnTo>
                    <a:lnTo>
                      <a:pt x="933" y="2049"/>
                    </a:lnTo>
                    <a:lnTo>
                      <a:pt x="939" y="2046"/>
                    </a:lnTo>
                    <a:lnTo>
                      <a:pt x="947" y="2042"/>
                    </a:lnTo>
                    <a:lnTo>
                      <a:pt x="953" y="2037"/>
                    </a:lnTo>
                    <a:lnTo>
                      <a:pt x="959" y="2031"/>
                    </a:lnTo>
                    <a:lnTo>
                      <a:pt x="959" y="2049"/>
                    </a:lnTo>
                    <a:lnTo>
                      <a:pt x="1020" y="2049"/>
                    </a:lnTo>
                    <a:lnTo>
                      <a:pt x="1020" y="1703"/>
                    </a:lnTo>
                    <a:lnTo>
                      <a:pt x="959" y="1733"/>
                    </a:lnTo>
                    <a:lnTo>
                      <a:pt x="959" y="1822"/>
                    </a:lnTo>
                    <a:close/>
                    <a:moveTo>
                      <a:pt x="916" y="2000"/>
                    </a:moveTo>
                    <a:lnTo>
                      <a:pt x="916" y="2000"/>
                    </a:lnTo>
                    <a:lnTo>
                      <a:pt x="909" y="1998"/>
                    </a:lnTo>
                    <a:lnTo>
                      <a:pt x="900" y="1996"/>
                    </a:lnTo>
                    <a:lnTo>
                      <a:pt x="893" y="1992"/>
                    </a:lnTo>
                    <a:lnTo>
                      <a:pt x="886" y="1985"/>
                    </a:lnTo>
                    <a:lnTo>
                      <a:pt x="880" y="1975"/>
                    </a:lnTo>
                    <a:lnTo>
                      <a:pt x="875" y="1962"/>
                    </a:lnTo>
                    <a:lnTo>
                      <a:pt x="871" y="1945"/>
                    </a:lnTo>
                    <a:lnTo>
                      <a:pt x="870" y="1923"/>
                    </a:lnTo>
                    <a:lnTo>
                      <a:pt x="870" y="1923"/>
                    </a:lnTo>
                    <a:lnTo>
                      <a:pt x="871" y="1904"/>
                    </a:lnTo>
                    <a:lnTo>
                      <a:pt x="875" y="1889"/>
                    </a:lnTo>
                    <a:lnTo>
                      <a:pt x="880" y="1877"/>
                    </a:lnTo>
                    <a:lnTo>
                      <a:pt x="886" y="1868"/>
                    </a:lnTo>
                    <a:lnTo>
                      <a:pt x="892" y="1861"/>
                    </a:lnTo>
                    <a:lnTo>
                      <a:pt x="900" y="1857"/>
                    </a:lnTo>
                    <a:lnTo>
                      <a:pt x="908" y="1855"/>
                    </a:lnTo>
                    <a:lnTo>
                      <a:pt x="916" y="1855"/>
                    </a:lnTo>
                    <a:lnTo>
                      <a:pt x="916" y="1855"/>
                    </a:lnTo>
                    <a:lnTo>
                      <a:pt x="924" y="1855"/>
                    </a:lnTo>
                    <a:lnTo>
                      <a:pt x="931" y="1857"/>
                    </a:lnTo>
                    <a:lnTo>
                      <a:pt x="938" y="1860"/>
                    </a:lnTo>
                    <a:lnTo>
                      <a:pt x="943" y="1863"/>
                    </a:lnTo>
                    <a:lnTo>
                      <a:pt x="948" y="1867"/>
                    </a:lnTo>
                    <a:lnTo>
                      <a:pt x="953" y="1871"/>
                    </a:lnTo>
                    <a:lnTo>
                      <a:pt x="959" y="1879"/>
                    </a:lnTo>
                    <a:lnTo>
                      <a:pt x="959" y="1975"/>
                    </a:lnTo>
                    <a:lnTo>
                      <a:pt x="959" y="1975"/>
                    </a:lnTo>
                    <a:lnTo>
                      <a:pt x="951" y="1984"/>
                    </a:lnTo>
                    <a:lnTo>
                      <a:pt x="943" y="1991"/>
                    </a:lnTo>
                    <a:lnTo>
                      <a:pt x="938" y="1995"/>
                    </a:lnTo>
                    <a:lnTo>
                      <a:pt x="931" y="1997"/>
                    </a:lnTo>
                    <a:lnTo>
                      <a:pt x="925" y="1998"/>
                    </a:lnTo>
                    <a:lnTo>
                      <a:pt x="916" y="2000"/>
                    </a:lnTo>
                    <a:lnTo>
                      <a:pt x="916" y="2000"/>
                    </a:lnTo>
                    <a:close/>
                    <a:moveTo>
                      <a:pt x="2278" y="1799"/>
                    </a:moveTo>
                    <a:lnTo>
                      <a:pt x="2278" y="1799"/>
                    </a:lnTo>
                    <a:lnTo>
                      <a:pt x="2272" y="1800"/>
                    </a:lnTo>
                    <a:lnTo>
                      <a:pt x="2265" y="1801"/>
                    </a:lnTo>
                    <a:lnTo>
                      <a:pt x="2250" y="1805"/>
                    </a:lnTo>
                    <a:lnTo>
                      <a:pt x="2237" y="1812"/>
                    </a:lnTo>
                    <a:lnTo>
                      <a:pt x="2225" y="1822"/>
                    </a:lnTo>
                    <a:lnTo>
                      <a:pt x="2225" y="1709"/>
                    </a:lnTo>
                    <a:lnTo>
                      <a:pt x="2164" y="1739"/>
                    </a:lnTo>
                    <a:lnTo>
                      <a:pt x="2164" y="2049"/>
                    </a:lnTo>
                    <a:lnTo>
                      <a:pt x="2225" y="2049"/>
                    </a:lnTo>
                    <a:lnTo>
                      <a:pt x="2225" y="2031"/>
                    </a:lnTo>
                    <a:lnTo>
                      <a:pt x="2225" y="2031"/>
                    </a:lnTo>
                    <a:lnTo>
                      <a:pt x="2230" y="2037"/>
                    </a:lnTo>
                    <a:lnTo>
                      <a:pt x="2237" y="2042"/>
                    </a:lnTo>
                    <a:lnTo>
                      <a:pt x="2243" y="2046"/>
                    </a:lnTo>
                    <a:lnTo>
                      <a:pt x="2250" y="2049"/>
                    </a:lnTo>
                    <a:lnTo>
                      <a:pt x="2257" y="2052"/>
                    </a:lnTo>
                    <a:lnTo>
                      <a:pt x="2265" y="2053"/>
                    </a:lnTo>
                    <a:lnTo>
                      <a:pt x="2272" y="2054"/>
                    </a:lnTo>
                    <a:lnTo>
                      <a:pt x="2280" y="2055"/>
                    </a:lnTo>
                    <a:lnTo>
                      <a:pt x="2280" y="2055"/>
                    </a:lnTo>
                    <a:lnTo>
                      <a:pt x="2291" y="2054"/>
                    </a:lnTo>
                    <a:lnTo>
                      <a:pt x="2302" y="2053"/>
                    </a:lnTo>
                    <a:lnTo>
                      <a:pt x="2311" y="2051"/>
                    </a:lnTo>
                    <a:lnTo>
                      <a:pt x="2321" y="2046"/>
                    </a:lnTo>
                    <a:lnTo>
                      <a:pt x="2329" y="2041"/>
                    </a:lnTo>
                    <a:lnTo>
                      <a:pt x="2337" y="2036"/>
                    </a:lnTo>
                    <a:lnTo>
                      <a:pt x="2344" y="2029"/>
                    </a:lnTo>
                    <a:lnTo>
                      <a:pt x="2350" y="2021"/>
                    </a:lnTo>
                    <a:lnTo>
                      <a:pt x="2356" y="2012"/>
                    </a:lnTo>
                    <a:lnTo>
                      <a:pt x="2361" y="2002"/>
                    </a:lnTo>
                    <a:lnTo>
                      <a:pt x="2365" y="1991"/>
                    </a:lnTo>
                    <a:lnTo>
                      <a:pt x="2368" y="1980"/>
                    </a:lnTo>
                    <a:lnTo>
                      <a:pt x="2372" y="1968"/>
                    </a:lnTo>
                    <a:lnTo>
                      <a:pt x="2373" y="1955"/>
                    </a:lnTo>
                    <a:lnTo>
                      <a:pt x="2374" y="1940"/>
                    </a:lnTo>
                    <a:lnTo>
                      <a:pt x="2376" y="1924"/>
                    </a:lnTo>
                    <a:lnTo>
                      <a:pt x="2376" y="1924"/>
                    </a:lnTo>
                    <a:lnTo>
                      <a:pt x="2374" y="1911"/>
                    </a:lnTo>
                    <a:lnTo>
                      <a:pt x="2373" y="1897"/>
                    </a:lnTo>
                    <a:lnTo>
                      <a:pt x="2371" y="1884"/>
                    </a:lnTo>
                    <a:lnTo>
                      <a:pt x="2368" y="1872"/>
                    </a:lnTo>
                    <a:lnTo>
                      <a:pt x="2365" y="1861"/>
                    </a:lnTo>
                    <a:lnTo>
                      <a:pt x="2360" y="1851"/>
                    </a:lnTo>
                    <a:lnTo>
                      <a:pt x="2355" y="1842"/>
                    </a:lnTo>
                    <a:lnTo>
                      <a:pt x="2349" y="1833"/>
                    </a:lnTo>
                    <a:lnTo>
                      <a:pt x="2343" y="1826"/>
                    </a:lnTo>
                    <a:lnTo>
                      <a:pt x="2336" y="1818"/>
                    </a:lnTo>
                    <a:lnTo>
                      <a:pt x="2327" y="1812"/>
                    </a:lnTo>
                    <a:lnTo>
                      <a:pt x="2319" y="1807"/>
                    </a:lnTo>
                    <a:lnTo>
                      <a:pt x="2310" y="1804"/>
                    </a:lnTo>
                    <a:lnTo>
                      <a:pt x="2300" y="1801"/>
                    </a:lnTo>
                    <a:lnTo>
                      <a:pt x="2289" y="1800"/>
                    </a:lnTo>
                    <a:lnTo>
                      <a:pt x="2278" y="1799"/>
                    </a:lnTo>
                    <a:lnTo>
                      <a:pt x="2278" y="1799"/>
                    </a:lnTo>
                    <a:close/>
                    <a:moveTo>
                      <a:pt x="2267" y="1855"/>
                    </a:moveTo>
                    <a:lnTo>
                      <a:pt x="2267" y="1855"/>
                    </a:lnTo>
                    <a:lnTo>
                      <a:pt x="2276" y="1856"/>
                    </a:lnTo>
                    <a:lnTo>
                      <a:pt x="2284" y="1859"/>
                    </a:lnTo>
                    <a:lnTo>
                      <a:pt x="2292" y="1863"/>
                    </a:lnTo>
                    <a:lnTo>
                      <a:pt x="2299" y="1871"/>
                    </a:lnTo>
                    <a:lnTo>
                      <a:pt x="2305" y="1879"/>
                    </a:lnTo>
                    <a:lnTo>
                      <a:pt x="2309" y="1891"/>
                    </a:lnTo>
                    <a:lnTo>
                      <a:pt x="2312" y="1906"/>
                    </a:lnTo>
                    <a:lnTo>
                      <a:pt x="2314" y="1923"/>
                    </a:lnTo>
                    <a:lnTo>
                      <a:pt x="2314" y="1923"/>
                    </a:lnTo>
                    <a:lnTo>
                      <a:pt x="2312" y="1941"/>
                    </a:lnTo>
                    <a:lnTo>
                      <a:pt x="2310" y="1957"/>
                    </a:lnTo>
                    <a:lnTo>
                      <a:pt x="2308" y="1969"/>
                    </a:lnTo>
                    <a:lnTo>
                      <a:pt x="2303" y="1980"/>
                    </a:lnTo>
                    <a:lnTo>
                      <a:pt x="2295" y="1989"/>
                    </a:lnTo>
                    <a:lnTo>
                      <a:pt x="2288" y="1995"/>
                    </a:lnTo>
                    <a:lnTo>
                      <a:pt x="2280" y="1998"/>
                    </a:lnTo>
                    <a:lnTo>
                      <a:pt x="2269" y="2000"/>
                    </a:lnTo>
                    <a:lnTo>
                      <a:pt x="2269" y="2000"/>
                    </a:lnTo>
                    <a:lnTo>
                      <a:pt x="2260" y="1998"/>
                    </a:lnTo>
                    <a:lnTo>
                      <a:pt x="2253" y="1997"/>
                    </a:lnTo>
                    <a:lnTo>
                      <a:pt x="2247" y="1993"/>
                    </a:lnTo>
                    <a:lnTo>
                      <a:pt x="2241" y="1991"/>
                    </a:lnTo>
                    <a:lnTo>
                      <a:pt x="2231" y="1983"/>
                    </a:lnTo>
                    <a:lnTo>
                      <a:pt x="2225" y="1976"/>
                    </a:lnTo>
                    <a:lnTo>
                      <a:pt x="2225" y="1879"/>
                    </a:lnTo>
                    <a:lnTo>
                      <a:pt x="2225" y="1879"/>
                    </a:lnTo>
                    <a:lnTo>
                      <a:pt x="2229" y="1874"/>
                    </a:lnTo>
                    <a:lnTo>
                      <a:pt x="2233" y="1869"/>
                    </a:lnTo>
                    <a:lnTo>
                      <a:pt x="2238" y="1865"/>
                    </a:lnTo>
                    <a:lnTo>
                      <a:pt x="2243" y="1861"/>
                    </a:lnTo>
                    <a:lnTo>
                      <a:pt x="2249" y="1859"/>
                    </a:lnTo>
                    <a:lnTo>
                      <a:pt x="2255" y="1856"/>
                    </a:lnTo>
                    <a:lnTo>
                      <a:pt x="2261" y="1855"/>
                    </a:lnTo>
                    <a:lnTo>
                      <a:pt x="2267" y="1855"/>
                    </a:lnTo>
                    <a:lnTo>
                      <a:pt x="2267" y="1855"/>
                    </a:lnTo>
                    <a:close/>
                    <a:moveTo>
                      <a:pt x="1591" y="1822"/>
                    </a:moveTo>
                    <a:lnTo>
                      <a:pt x="1591" y="1822"/>
                    </a:lnTo>
                    <a:lnTo>
                      <a:pt x="1586" y="1817"/>
                    </a:lnTo>
                    <a:lnTo>
                      <a:pt x="1580" y="1812"/>
                    </a:lnTo>
                    <a:lnTo>
                      <a:pt x="1572" y="1809"/>
                    </a:lnTo>
                    <a:lnTo>
                      <a:pt x="1566" y="1805"/>
                    </a:lnTo>
                    <a:lnTo>
                      <a:pt x="1559" y="1803"/>
                    </a:lnTo>
                    <a:lnTo>
                      <a:pt x="1552" y="1800"/>
                    </a:lnTo>
                    <a:lnTo>
                      <a:pt x="1544" y="1800"/>
                    </a:lnTo>
                    <a:lnTo>
                      <a:pt x="1537" y="1799"/>
                    </a:lnTo>
                    <a:lnTo>
                      <a:pt x="1537" y="1799"/>
                    </a:lnTo>
                    <a:lnTo>
                      <a:pt x="1526" y="1800"/>
                    </a:lnTo>
                    <a:lnTo>
                      <a:pt x="1515" y="1801"/>
                    </a:lnTo>
                    <a:lnTo>
                      <a:pt x="1506" y="1804"/>
                    </a:lnTo>
                    <a:lnTo>
                      <a:pt x="1497" y="1807"/>
                    </a:lnTo>
                    <a:lnTo>
                      <a:pt x="1489" y="1812"/>
                    </a:lnTo>
                    <a:lnTo>
                      <a:pt x="1480" y="1818"/>
                    </a:lnTo>
                    <a:lnTo>
                      <a:pt x="1473" y="1826"/>
                    </a:lnTo>
                    <a:lnTo>
                      <a:pt x="1467" y="1833"/>
                    </a:lnTo>
                    <a:lnTo>
                      <a:pt x="1461" y="1842"/>
                    </a:lnTo>
                    <a:lnTo>
                      <a:pt x="1456" y="1851"/>
                    </a:lnTo>
                    <a:lnTo>
                      <a:pt x="1451" y="1861"/>
                    </a:lnTo>
                    <a:lnTo>
                      <a:pt x="1447" y="1872"/>
                    </a:lnTo>
                    <a:lnTo>
                      <a:pt x="1445" y="1884"/>
                    </a:lnTo>
                    <a:lnTo>
                      <a:pt x="1442" y="1897"/>
                    </a:lnTo>
                    <a:lnTo>
                      <a:pt x="1441" y="1911"/>
                    </a:lnTo>
                    <a:lnTo>
                      <a:pt x="1441" y="1924"/>
                    </a:lnTo>
                    <a:lnTo>
                      <a:pt x="1441" y="1924"/>
                    </a:lnTo>
                    <a:lnTo>
                      <a:pt x="1441" y="1940"/>
                    </a:lnTo>
                    <a:lnTo>
                      <a:pt x="1442" y="1953"/>
                    </a:lnTo>
                    <a:lnTo>
                      <a:pt x="1445" y="1967"/>
                    </a:lnTo>
                    <a:lnTo>
                      <a:pt x="1447" y="1979"/>
                    </a:lnTo>
                    <a:lnTo>
                      <a:pt x="1451" y="1991"/>
                    </a:lnTo>
                    <a:lnTo>
                      <a:pt x="1455" y="2002"/>
                    </a:lnTo>
                    <a:lnTo>
                      <a:pt x="1461" y="2012"/>
                    </a:lnTo>
                    <a:lnTo>
                      <a:pt x="1465" y="2020"/>
                    </a:lnTo>
                    <a:lnTo>
                      <a:pt x="1473" y="2029"/>
                    </a:lnTo>
                    <a:lnTo>
                      <a:pt x="1479" y="2035"/>
                    </a:lnTo>
                    <a:lnTo>
                      <a:pt x="1487" y="2041"/>
                    </a:lnTo>
                    <a:lnTo>
                      <a:pt x="1496" y="2046"/>
                    </a:lnTo>
                    <a:lnTo>
                      <a:pt x="1504" y="2049"/>
                    </a:lnTo>
                    <a:lnTo>
                      <a:pt x="1514" y="2053"/>
                    </a:lnTo>
                    <a:lnTo>
                      <a:pt x="1525" y="2054"/>
                    </a:lnTo>
                    <a:lnTo>
                      <a:pt x="1536" y="2054"/>
                    </a:lnTo>
                    <a:lnTo>
                      <a:pt x="1536" y="2054"/>
                    </a:lnTo>
                    <a:lnTo>
                      <a:pt x="1543" y="2054"/>
                    </a:lnTo>
                    <a:lnTo>
                      <a:pt x="1551" y="2053"/>
                    </a:lnTo>
                    <a:lnTo>
                      <a:pt x="1558" y="2052"/>
                    </a:lnTo>
                    <a:lnTo>
                      <a:pt x="1565" y="2049"/>
                    </a:lnTo>
                    <a:lnTo>
                      <a:pt x="1572" y="2046"/>
                    </a:lnTo>
                    <a:lnTo>
                      <a:pt x="1578" y="2041"/>
                    </a:lnTo>
                    <a:lnTo>
                      <a:pt x="1585" y="2037"/>
                    </a:lnTo>
                    <a:lnTo>
                      <a:pt x="1591" y="2031"/>
                    </a:lnTo>
                    <a:lnTo>
                      <a:pt x="1591" y="2037"/>
                    </a:lnTo>
                    <a:lnTo>
                      <a:pt x="1591" y="2037"/>
                    </a:lnTo>
                    <a:lnTo>
                      <a:pt x="1591" y="2047"/>
                    </a:lnTo>
                    <a:lnTo>
                      <a:pt x="1589" y="2058"/>
                    </a:lnTo>
                    <a:lnTo>
                      <a:pt x="1587" y="2069"/>
                    </a:lnTo>
                    <a:lnTo>
                      <a:pt x="1585" y="2074"/>
                    </a:lnTo>
                    <a:lnTo>
                      <a:pt x="1581" y="2079"/>
                    </a:lnTo>
                    <a:lnTo>
                      <a:pt x="1577" y="2083"/>
                    </a:lnTo>
                    <a:lnTo>
                      <a:pt x="1572" y="2088"/>
                    </a:lnTo>
                    <a:lnTo>
                      <a:pt x="1565" y="2092"/>
                    </a:lnTo>
                    <a:lnTo>
                      <a:pt x="1558" y="2094"/>
                    </a:lnTo>
                    <a:lnTo>
                      <a:pt x="1549" y="2098"/>
                    </a:lnTo>
                    <a:lnTo>
                      <a:pt x="1538" y="2099"/>
                    </a:lnTo>
                    <a:lnTo>
                      <a:pt x="1526" y="2102"/>
                    </a:lnTo>
                    <a:lnTo>
                      <a:pt x="1513" y="2102"/>
                    </a:lnTo>
                    <a:lnTo>
                      <a:pt x="1510" y="2102"/>
                    </a:lnTo>
                    <a:lnTo>
                      <a:pt x="1531" y="2149"/>
                    </a:lnTo>
                    <a:lnTo>
                      <a:pt x="1532" y="2149"/>
                    </a:lnTo>
                    <a:lnTo>
                      <a:pt x="1532" y="2149"/>
                    </a:lnTo>
                    <a:lnTo>
                      <a:pt x="1547" y="2149"/>
                    </a:lnTo>
                    <a:lnTo>
                      <a:pt x="1560" y="2147"/>
                    </a:lnTo>
                    <a:lnTo>
                      <a:pt x="1574" y="2144"/>
                    </a:lnTo>
                    <a:lnTo>
                      <a:pt x="1585" y="2141"/>
                    </a:lnTo>
                    <a:lnTo>
                      <a:pt x="1595" y="2137"/>
                    </a:lnTo>
                    <a:lnTo>
                      <a:pt x="1605" y="2132"/>
                    </a:lnTo>
                    <a:lnTo>
                      <a:pt x="1614" y="2125"/>
                    </a:lnTo>
                    <a:lnTo>
                      <a:pt x="1622" y="2119"/>
                    </a:lnTo>
                    <a:lnTo>
                      <a:pt x="1630" y="2110"/>
                    </a:lnTo>
                    <a:lnTo>
                      <a:pt x="1634" y="2100"/>
                    </a:lnTo>
                    <a:lnTo>
                      <a:pt x="1640" y="2091"/>
                    </a:lnTo>
                    <a:lnTo>
                      <a:pt x="1644" y="2080"/>
                    </a:lnTo>
                    <a:lnTo>
                      <a:pt x="1648" y="2068"/>
                    </a:lnTo>
                    <a:lnTo>
                      <a:pt x="1650" y="2055"/>
                    </a:lnTo>
                    <a:lnTo>
                      <a:pt x="1651" y="2042"/>
                    </a:lnTo>
                    <a:lnTo>
                      <a:pt x="1651" y="2026"/>
                    </a:lnTo>
                    <a:lnTo>
                      <a:pt x="1651" y="1805"/>
                    </a:lnTo>
                    <a:lnTo>
                      <a:pt x="1591" y="1805"/>
                    </a:lnTo>
                    <a:lnTo>
                      <a:pt x="1591" y="1822"/>
                    </a:lnTo>
                    <a:close/>
                    <a:moveTo>
                      <a:pt x="1591" y="1879"/>
                    </a:moveTo>
                    <a:lnTo>
                      <a:pt x="1591" y="1975"/>
                    </a:lnTo>
                    <a:lnTo>
                      <a:pt x="1591" y="1975"/>
                    </a:lnTo>
                    <a:lnTo>
                      <a:pt x="1583" y="1984"/>
                    </a:lnTo>
                    <a:lnTo>
                      <a:pt x="1574" y="1992"/>
                    </a:lnTo>
                    <a:lnTo>
                      <a:pt x="1569" y="1995"/>
                    </a:lnTo>
                    <a:lnTo>
                      <a:pt x="1563" y="1997"/>
                    </a:lnTo>
                    <a:lnTo>
                      <a:pt x="1555" y="1998"/>
                    </a:lnTo>
                    <a:lnTo>
                      <a:pt x="1548" y="2000"/>
                    </a:lnTo>
                    <a:lnTo>
                      <a:pt x="1548" y="2000"/>
                    </a:lnTo>
                    <a:lnTo>
                      <a:pt x="1540" y="1998"/>
                    </a:lnTo>
                    <a:lnTo>
                      <a:pt x="1532" y="1996"/>
                    </a:lnTo>
                    <a:lnTo>
                      <a:pt x="1524" y="1991"/>
                    </a:lnTo>
                    <a:lnTo>
                      <a:pt x="1518" y="1985"/>
                    </a:lnTo>
                    <a:lnTo>
                      <a:pt x="1512" y="1975"/>
                    </a:lnTo>
                    <a:lnTo>
                      <a:pt x="1507" y="1962"/>
                    </a:lnTo>
                    <a:lnTo>
                      <a:pt x="1503" y="1945"/>
                    </a:lnTo>
                    <a:lnTo>
                      <a:pt x="1502" y="1923"/>
                    </a:lnTo>
                    <a:lnTo>
                      <a:pt x="1502" y="1923"/>
                    </a:lnTo>
                    <a:lnTo>
                      <a:pt x="1503" y="1904"/>
                    </a:lnTo>
                    <a:lnTo>
                      <a:pt x="1507" y="1889"/>
                    </a:lnTo>
                    <a:lnTo>
                      <a:pt x="1512" y="1877"/>
                    </a:lnTo>
                    <a:lnTo>
                      <a:pt x="1518" y="1868"/>
                    </a:lnTo>
                    <a:lnTo>
                      <a:pt x="1524" y="1861"/>
                    </a:lnTo>
                    <a:lnTo>
                      <a:pt x="1532" y="1857"/>
                    </a:lnTo>
                    <a:lnTo>
                      <a:pt x="1540" y="1855"/>
                    </a:lnTo>
                    <a:lnTo>
                      <a:pt x="1548" y="1855"/>
                    </a:lnTo>
                    <a:lnTo>
                      <a:pt x="1548" y="1855"/>
                    </a:lnTo>
                    <a:lnTo>
                      <a:pt x="1555" y="1855"/>
                    </a:lnTo>
                    <a:lnTo>
                      <a:pt x="1563" y="1857"/>
                    </a:lnTo>
                    <a:lnTo>
                      <a:pt x="1570" y="1860"/>
                    </a:lnTo>
                    <a:lnTo>
                      <a:pt x="1575" y="1862"/>
                    </a:lnTo>
                    <a:lnTo>
                      <a:pt x="1580" y="1867"/>
                    </a:lnTo>
                    <a:lnTo>
                      <a:pt x="1585" y="1871"/>
                    </a:lnTo>
                    <a:lnTo>
                      <a:pt x="1591" y="1879"/>
                    </a:lnTo>
                    <a:lnTo>
                      <a:pt x="1591" y="1879"/>
                    </a:lnTo>
                    <a:close/>
                    <a:moveTo>
                      <a:pt x="1840" y="1865"/>
                    </a:moveTo>
                    <a:lnTo>
                      <a:pt x="1840" y="1865"/>
                    </a:lnTo>
                    <a:lnTo>
                      <a:pt x="1854" y="1857"/>
                    </a:lnTo>
                    <a:lnTo>
                      <a:pt x="1869" y="1852"/>
                    </a:lnTo>
                    <a:lnTo>
                      <a:pt x="1885" y="1849"/>
                    </a:lnTo>
                    <a:lnTo>
                      <a:pt x="1902" y="1848"/>
                    </a:lnTo>
                    <a:lnTo>
                      <a:pt x="1902" y="1848"/>
                    </a:lnTo>
                    <a:lnTo>
                      <a:pt x="1913" y="1849"/>
                    </a:lnTo>
                    <a:lnTo>
                      <a:pt x="1921" y="1850"/>
                    </a:lnTo>
                    <a:lnTo>
                      <a:pt x="1928" y="1852"/>
                    </a:lnTo>
                    <a:lnTo>
                      <a:pt x="1935" y="1857"/>
                    </a:lnTo>
                    <a:lnTo>
                      <a:pt x="1939" y="1862"/>
                    </a:lnTo>
                    <a:lnTo>
                      <a:pt x="1943" y="1868"/>
                    </a:lnTo>
                    <a:lnTo>
                      <a:pt x="1945" y="1874"/>
                    </a:lnTo>
                    <a:lnTo>
                      <a:pt x="1945" y="1883"/>
                    </a:lnTo>
                    <a:lnTo>
                      <a:pt x="1945" y="1900"/>
                    </a:lnTo>
                    <a:lnTo>
                      <a:pt x="1945" y="1900"/>
                    </a:lnTo>
                    <a:lnTo>
                      <a:pt x="1935" y="1895"/>
                    </a:lnTo>
                    <a:lnTo>
                      <a:pt x="1921" y="1891"/>
                    </a:lnTo>
                    <a:lnTo>
                      <a:pt x="1908" y="1889"/>
                    </a:lnTo>
                    <a:lnTo>
                      <a:pt x="1893" y="1888"/>
                    </a:lnTo>
                    <a:lnTo>
                      <a:pt x="1893" y="1888"/>
                    </a:lnTo>
                    <a:lnTo>
                      <a:pt x="1876" y="1889"/>
                    </a:lnTo>
                    <a:lnTo>
                      <a:pt x="1859" y="1893"/>
                    </a:lnTo>
                    <a:lnTo>
                      <a:pt x="1843" y="1897"/>
                    </a:lnTo>
                    <a:lnTo>
                      <a:pt x="1835" y="1901"/>
                    </a:lnTo>
                    <a:lnTo>
                      <a:pt x="1828" y="1906"/>
                    </a:lnTo>
                    <a:lnTo>
                      <a:pt x="1822" y="1911"/>
                    </a:lnTo>
                    <a:lnTo>
                      <a:pt x="1815" y="1917"/>
                    </a:lnTo>
                    <a:lnTo>
                      <a:pt x="1809" y="1923"/>
                    </a:lnTo>
                    <a:lnTo>
                      <a:pt x="1805" y="1930"/>
                    </a:lnTo>
                    <a:lnTo>
                      <a:pt x="1801" y="1939"/>
                    </a:lnTo>
                    <a:lnTo>
                      <a:pt x="1798" y="1948"/>
                    </a:lnTo>
                    <a:lnTo>
                      <a:pt x="1797" y="1958"/>
                    </a:lnTo>
                    <a:lnTo>
                      <a:pt x="1796" y="1968"/>
                    </a:lnTo>
                    <a:lnTo>
                      <a:pt x="1796" y="1968"/>
                    </a:lnTo>
                    <a:lnTo>
                      <a:pt x="1797" y="1980"/>
                    </a:lnTo>
                    <a:lnTo>
                      <a:pt x="1798" y="1991"/>
                    </a:lnTo>
                    <a:lnTo>
                      <a:pt x="1801" y="2000"/>
                    </a:lnTo>
                    <a:lnTo>
                      <a:pt x="1805" y="2009"/>
                    </a:lnTo>
                    <a:lnTo>
                      <a:pt x="1808" y="2017"/>
                    </a:lnTo>
                    <a:lnTo>
                      <a:pt x="1814" y="2024"/>
                    </a:lnTo>
                    <a:lnTo>
                      <a:pt x="1819" y="2030"/>
                    </a:lnTo>
                    <a:lnTo>
                      <a:pt x="1826" y="2036"/>
                    </a:lnTo>
                    <a:lnTo>
                      <a:pt x="1832" y="2041"/>
                    </a:lnTo>
                    <a:lnTo>
                      <a:pt x="1840" y="2045"/>
                    </a:lnTo>
                    <a:lnTo>
                      <a:pt x="1856" y="2051"/>
                    </a:lnTo>
                    <a:lnTo>
                      <a:pt x="1871" y="2054"/>
                    </a:lnTo>
                    <a:lnTo>
                      <a:pt x="1887" y="2055"/>
                    </a:lnTo>
                    <a:lnTo>
                      <a:pt x="1887" y="2055"/>
                    </a:lnTo>
                    <a:lnTo>
                      <a:pt x="1901" y="2053"/>
                    </a:lnTo>
                    <a:lnTo>
                      <a:pt x="1909" y="2052"/>
                    </a:lnTo>
                    <a:lnTo>
                      <a:pt x="1916" y="2049"/>
                    </a:lnTo>
                    <a:lnTo>
                      <a:pt x="1925" y="2046"/>
                    </a:lnTo>
                    <a:lnTo>
                      <a:pt x="1932" y="2041"/>
                    </a:lnTo>
                    <a:lnTo>
                      <a:pt x="1939" y="2036"/>
                    </a:lnTo>
                    <a:lnTo>
                      <a:pt x="1945" y="2030"/>
                    </a:lnTo>
                    <a:lnTo>
                      <a:pt x="1945" y="2049"/>
                    </a:lnTo>
                    <a:lnTo>
                      <a:pt x="2006" y="2049"/>
                    </a:lnTo>
                    <a:lnTo>
                      <a:pt x="2006" y="1884"/>
                    </a:lnTo>
                    <a:lnTo>
                      <a:pt x="2006" y="1884"/>
                    </a:lnTo>
                    <a:lnTo>
                      <a:pt x="2006" y="1874"/>
                    </a:lnTo>
                    <a:lnTo>
                      <a:pt x="2005" y="1866"/>
                    </a:lnTo>
                    <a:lnTo>
                      <a:pt x="2003" y="1857"/>
                    </a:lnTo>
                    <a:lnTo>
                      <a:pt x="2000" y="1849"/>
                    </a:lnTo>
                    <a:lnTo>
                      <a:pt x="1995" y="1842"/>
                    </a:lnTo>
                    <a:lnTo>
                      <a:pt x="1992" y="1834"/>
                    </a:lnTo>
                    <a:lnTo>
                      <a:pt x="1986" y="1828"/>
                    </a:lnTo>
                    <a:lnTo>
                      <a:pt x="1979" y="1822"/>
                    </a:lnTo>
                    <a:lnTo>
                      <a:pt x="1973" y="1817"/>
                    </a:lnTo>
                    <a:lnTo>
                      <a:pt x="1966" y="1812"/>
                    </a:lnTo>
                    <a:lnTo>
                      <a:pt x="1958" y="1809"/>
                    </a:lnTo>
                    <a:lnTo>
                      <a:pt x="1949" y="1805"/>
                    </a:lnTo>
                    <a:lnTo>
                      <a:pt x="1939" y="1803"/>
                    </a:lnTo>
                    <a:lnTo>
                      <a:pt x="1930" y="1801"/>
                    </a:lnTo>
                    <a:lnTo>
                      <a:pt x="1919" y="1800"/>
                    </a:lnTo>
                    <a:lnTo>
                      <a:pt x="1908" y="1799"/>
                    </a:lnTo>
                    <a:lnTo>
                      <a:pt x="1908" y="1799"/>
                    </a:lnTo>
                    <a:lnTo>
                      <a:pt x="1894" y="1800"/>
                    </a:lnTo>
                    <a:lnTo>
                      <a:pt x="1883" y="1800"/>
                    </a:lnTo>
                    <a:lnTo>
                      <a:pt x="1871" y="1803"/>
                    </a:lnTo>
                    <a:lnTo>
                      <a:pt x="1859" y="1805"/>
                    </a:lnTo>
                    <a:lnTo>
                      <a:pt x="1848" y="1809"/>
                    </a:lnTo>
                    <a:lnTo>
                      <a:pt x="1837" y="1812"/>
                    </a:lnTo>
                    <a:lnTo>
                      <a:pt x="1826" y="1817"/>
                    </a:lnTo>
                    <a:lnTo>
                      <a:pt x="1815" y="1823"/>
                    </a:lnTo>
                    <a:lnTo>
                      <a:pt x="1840" y="1865"/>
                    </a:lnTo>
                    <a:close/>
                    <a:moveTo>
                      <a:pt x="1857" y="1968"/>
                    </a:moveTo>
                    <a:lnTo>
                      <a:pt x="1857" y="1968"/>
                    </a:lnTo>
                    <a:lnTo>
                      <a:pt x="1857" y="1961"/>
                    </a:lnTo>
                    <a:lnTo>
                      <a:pt x="1859" y="1953"/>
                    </a:lnTo>
                    <a:lnTo>
                      <a:pt x="1863" y="1947"/>
                    </a:lnTo>
                    <a:lnTo>
                      <a:pt x="1868" y="1942"/>
                    </a:lnTo>
                    <a:lnTo>
                      <a:pt x="1874" y="1939"/>
                    </a:lnTo>
                    <a:lnTo>
                      <a:pt x="1881" y="1936"/>
                    </a:lnTo>
                    <a:lnTo>
                      <a:pt x="1890" y="1934"/>
                    </a:lnTo>
                    <a:lnTo>
                      <a:pt x="1898" y="1934"/>
                    </a:lnTo>
                    <a:lnTo>
                      <a:pt x="1898" y="1934"/>
                    </a:lnTo>
                    <a:lnTo>
                      <a:pt x="1911" y="1934"/>
                    </a:lnTo>
                    <a:lnTo>
                      <a:pt x="1924" y="1936"/>
                    </a:lnTo>
                    <a:lnTo>
                      <a:pt x="1935" y="1940"/>
                    </a:lnTo>
                    <a:lnTo>
                      <a:pt x="1945" y="1946"/>
                    </a:lnTo>
                    <a:lnTo>
                      <a:pt x="1945" y="1979"/>
                    </a:lnTo>
                    <a:lnTo>
                      <a:pt x="1945" y="1979"/>
                    </a:lnTo>
                    <a:lnTo>
                      <a:pt x="1943" y="1984"/>
                    </a:lnTo>
                    <a:lnTo>
                      <a:pt x="1938" y="1989"/>
                    </a:lnTo>
                    <a:lnTo>
                      <a:pt x="1933" y="1993"/>
                    </a:lnTo>
                    <a:lnTo>
                      <a:pt x="1927" y="1997"/>
                    </a:lnTo>
                    <a:lnTo>
                      <a:pt x="1921" y="2001"/>
                    </a:lnTo>
                    <a:lnTo>
                      <a:pt x="1914" y="2003"/>
                    </a:lnTo>
                    <a:lnTo>
                      <a:pt x="1907" y="2004"/>
                    </a:lnTo>
                    <a:lnTo>
                      <a:pt x="1898" y="2006"/>
                    </a:lnTo>
                    <a:lnTo>
                      <a:pt x="1898" y="2006"/>
                    </a:lnTo>
                    <a:lnTo>
                      <a:pt x="1890" y="2004"/>
                    </a:lnTo>
                    <a:lnTo>
                      <a:pt x="1881" y="2002"/>
                    </a:lnTo>
                    <a:lnTo>
                      <a:pt x="1874" y="2000"/>
                    </a:lnTo>
                    <a:lnTo>
                      <a:pt x="1868" y="1995"/>
                    </a:lnTo>
                    <a:lnTo>
                      <a:pt x="1863" y="1990"/>
                    </a:lnTo>
                    <a:lnTo>
                      <a:pt x="1859" y="1984"/>
                    </a:lnTo>
                    <a:lnTo>
                      <a:pt x="1858" y="1976"/>
                    </a:lnTo>
                    <a:lnTo>
                      <a:pt x="1857" y="1968"/>
                    </a:lnTo>
                    <a:lnTo>
                      <a:pt x="1857" y="1968"/>
                    </a:lnTo>
                    <a:close/>
                    <a:moveTo>
                      <a:pt x="2569" y="1979"/>
                    </a:moveTo>
                    <a:lnTo>
                      <a:pt x="2569" y="1979"/>
                    </a:lnTo>
                    <a:lnTo>
                      <a:pt x="2560" y="1986"/>
                    </a:lnTo>
                    <a:lnTo>
                      <a:pt x="2549" y="1992"/>
                    </a:lnTo>
                    <a:lnTo>
                      <a:pt x="2543" y="1995"/>
                    </a:lnTo>
                    <a:lnTo>
                      <a:pt x="2536" y="1997"/>
                    </a:lnTo>
                    <a:lnTo>
                      <a:pt x="2529" y="1998"/>
                    </a:lnTo>
                    <a:lnTo>
                      <a:pt x="2521" y="2000"/>
                    </a:lnTo>
                    <a:lnTo>
                      <a:pt x="2521" y="2000"/>
                    </a:lnTo>
                    <a:lnTo>
                      <a:pt x="2515" y="1998"/>
                    </a:lnTo>
                    <a:lnTo>
                      <a:pt x="2508" y="1998"/>
                    </a:lnTo>
                    <a:lnTo>
                      <a:pt x="2500" y="1996"/>
                    </a:lnTo>
                    <a:lnTo>
                      <a:pt x="2490" y="1991"/>
                    </a:lnTo>
                    <a:lnTo>
                      <a:pt x="2481" y="1985"/>
                    </a:lnTo>
                    <a:lnTo>
                      <a:pt x="2478" y="1980"/>
                    </a:lnTo>
                    <a:lnTo>
                      <a:pt x="2474" y="1975"/>
                    </a:lnTo>
                    <a:lnTo>
                      <a:pt x="2472" y="1969"/>
                    </a:lnTo>
                    <a:lnTo>
                      <a:pt x="2469" y="1962"/>
                    </a:lnTo>
                    <a:lnTo>
                      <a:pt x="2468" y="1955"/>
                    </a:lnTo>
                    <a:lnTo>
                      <a:pt x="2467" y="1946"/>
                    </a:lnTo>
                    <a:lnTo>
                      <a:pt x="2616" y="1946"/>
                    </a:lnTo>
                    <a:lnTo>
                      <a:pt x="2616" y="1946"/>
                    </a:lnTo>
                    <a:lnTo>
                      <a:pt x="2617" y="1928"/>
                    </a:lnTo>
                    <a:lnTo>
                      <a:pt x="2617" y="1928"/>
                    </a:lnTo>
                    <a:lnTo>
                      <a:pt x="2617" y="1913"/>
                    </a:lnTo>
                    <a:lnTo>
                      <a:pt x="2615" y="1900"/>
                    </a:lnTo>
                    <a:lnTo>
                      <a:pt x="2614" y="1886"/>
                    </a:lnTo>
                    <a:lnTo>
                      <a:pt x="2610" y="1874"/>
                    </a:lnTo>
                    <a:lnTo>
                      <a:pt x="2607" y="1863"/>
                    </a:lnTo>
                    <a:lnTo>
                      <a:pt x="2602" y="1852"/>
                    </a:lnTo>
                    <a:lnTo>
                      <a:pt x="2596" y="1843"/>
                    </a:lnTo>
                    <a:lnTo>
                      <a:pt x="2589" y="1834"/>
                    </a:lnTo>
                    <a:lnTo>
                      <a:pt x="2582" y="1826"/>
                    </a:lnTo>
                    <a:lnTo>
                      <a:pt x="2575" y="1820"/>
                    </a:lnTo>
                    <a:lnTo>
                      <a:pt x="2566" y="1814"/>
                    </a:lnTo>
                    <a:lnTo>
                      <a:pt x="2557" y="1809"/>
                    </a:lnTo>
                    <a:lnTo>
                      <a:pt x="2547" y="1805"/>
                    </a:lnTo>
                    <a:lnTo>
                      <a:pt x="2537" y="1801"/>
                    </a:lnTo>
                    <a:lnTo>
                      <a:pt x="2526" y="1800"/>
                    </a:lnTo>
                    <a:lnTo>
                      <a:pt x="2514" y="1799"/>
                    </a:lnTo>
                    <a:lnTo>
                      <a:pt x="2514" y="1799"/>
                    </a:lnTo>
                    <a:lnTo>
                      <a:pt x="2503" y="1800"/>
                    </a:lnTo>
                    <a:lnTo>
                      <a:pt x="2492" y="1801"/>
                    </a:lnTo>
                    <a:lnTo>
                      <a:pt x="2481" y="1805"/>
                    </a:lnTo>
                    <a:lnTo>
                      <a:pt x="2470" y="1809"/>
                    </a:lnTo>
                    <a:lnTo>
                      <a:pt x="2461" y="1814"/>
                    </a:lnTo>
                    <a:lnTo>
                      <a:pt x="2452" y="1821"/>
                    </a:lnTo>
                    <a:lnTo>
                      <a:pt x="2444" y="1827"/>
                    </a:lnTo>
                    <a:lnTo>
                      <a:pt x="2436" y="1835"/>
                    </a:lnTo>
                    <a:lnTo>
                      <a:pt x="2429" y="1844"/>
                    </a:lnTo>
                    <a:lnTo>
                      <a:pt x="2423" y="1854"/>
                    </a:lnTo>
                    <a:lnTo>
                      <a:pt x="2418" y="1865"/>
                    </a:lnTo>
                    <a:lnTo>
                      <a:pt x="2413" y="1876"/>
                    </a:lnTo>
                    <a:lnTo>
                      <a:pt x="2410" y="1888"/>
                    </a:lnTo>
                    <a:lnTo>
                      <a:pt x="2407" y="1901"/>
                    </a:lnTo>
                    <a:lnTo>
                      <a:pt x="2406" y="1913"/>
                    </a:lnTo>
                    <a:lnTo>
                      <a:pt x="2405" y="1928"/>
                    </a:lnTo>
                    <a:lnTo>
                      <a:pt x="2405" y="1928"/>
                    </a:lnTo>
                    <a:lnTo>
                      <a:pt x="2406" y="1941"/>
                    </a:lnTo>
                    <a:lnTo>
                      <a:pt x="2407" y="1955"/>
                    </a:lnTo>
                    <a:lnTo>
                      <a:pt x="2410" y="1968"/>
                    </a:lnTo>
                    <a:lnTo>
                      <a:pt x="2413" y="1980"/>
                    </a:lnTo>
                    <a:lnTo>
                      <a:pt x="2418" y="1991"/>
                    </a:lnTo>
                    <a:lnTo>
                      <a:pt x="2423" y="2002"/>
                    </a:lnTo>
                    <a:lnTo>
                      <a:pt x="2429" y="2012"/>
                    </a:lnTo>
                    <a:lnTo>
                      <a:pt x="2436" y="2020"/>
                    </a:lnTo>
                    <a:lnTo>
                      <a:pt x="2445" y="2028"/>
                    </a:lnTo>
                    <a:lnTo>
                      <a:pt x="2453" y="2035"/>
                    </a:lnTo>
                    <a:lnTo>
                      <a:pt x="2463" y="2041"/>
                    </a:lnTo>
                    <a:lnTo>
                      <a:pt x="2473" y="2046"/>
                    </a:lnTo>
                    <a:lnTo>
                      <a:pt x="2484" y="2049"/>
                    </a:lnTo>
                    <a:lnTo>
                      <a:pt x="2496" y="2053"/>
                    </a:lnTo>
                    <a:lnTo>
                      <a:pt x="2508" y="2054"/>
                    </a:lnTo>
                    <a:lnTo>
                      <a:pt x="2521" y="2055"/>
                    </a:lnTo>
                    <a:lnTo>
                      <a:pt x="2521" y="2055"/>
                    </a:lnTo>
                    <a:lnTo>
                      <a:pt x="2534" y="2054"/>
                    </a:lnTo>
                    <a:lnTo>
                      <a:pt x="2545" y="2053"/>
                    </a:lnTo>
                    <a:lnTo>
                      <a:pt x="2557" y="2049"/>
                    </a:lnTo>
                    <a:lnTo>
                      <a:pt x="2568" y="2046"/>
                    </a:lnTo>
                    <a:lnTo>
                      <a:pt x="2579" y="2040"/>
                    </a:lnTo>
                    <a:lnTo>
                      <a:pt x="2588" y="2034"/>
                    </a:lnTo>
                    <a:lnTo>
                      <a:pt x="2598" y="2025"/>
                    </a:lnTo>
                    <a:lnTo>
                      <a:pt x="2608" y="2017"/>
                    </a:lnTo>
                    <a:lnTo>
                      <a:pt x="2569" y="1979"/>
                    </a:lnTo>
                    <a:close/>
                    <a:moveTo>
                      <a:pt x="2468" y="1901"/>
                    </a:moveTo>
                    <a:lnTo>
                      <a:pt x="2468" y="1901"/>
                    </a:lnTo>
                    <a:lnTo>
                      <a:pt x="2469" y="1890"/>
                    </a:lnTo>
                    <a:lnTo>
                      <a:pt x="2472" y="1880"/>
                    </a:lnTo>
                    <a:lnTo>
                      <a:pt x="2475" y="1872"/>
                    </a:lnTo>
                    <a:lnTo>
                      <a:pt x="2481" y="1865"/>
                    </a:lnTo>
                    <a:lnTo>
                      <a:pt x="2487" y="1859"/>
                    </a:lnTo>
                    <a:lnTo>
                      <a:pt x="2495" y="1855"/>
                    </a:lnTo>
                    <a:lnTo>
                      <a:pt x="2503" y="1851"/>
                    </a:lnTo>
                    <a:lnTo>
                      <a:pt x="2513" y="1851"/>
                    </a:lnTo>
                    <a:lnTo>
                      <a:pt x="2513" y="1851"/>
                    </a:lnTo>
                    <a:lnTo>
                      <a:pt x="2524" y="1852"/>
                    </a:lnTo>
                    <a:lnTo>
                      <a:pt x="2534" y="1855"/>
                    </a:lnTo>
                    <a:lnTo>
                      <a:pt x="2541" y="1860"/>
                    </a:lnTo>
                    <a:lnTo>
                      <a:pt x="2547" y="1867"/>
                    </a:lnTo>
                    <a:lnTo>
                      <a:pt x="2552" y="1874"/>
                    </a:lnTo>
                    <a:lnTo>
                      <a:pt x="2555" y="1883"/>
                    </a:lnTo>
                    <a:lnTo>
                      <a:pt x="2558" y="1893"/>
                    </a:lnTo>
                    <a:lnTo>
                      <a:pt x="2559" y="1901"/>
                    </a:lnTo>
                    <a:lnTo>
                      <a:pt x="2468" y="1901"/>
                    </a:lnTo>
                    <a:close/>
                    <a:moveTo>
                      <a:pt x="3153" y="1979"/>
                    </a:moveTo>
                    <a:lnTo>
                      <a:pt x="3153" y="1979"/>
                    </a:lnTo>
                    <a:lnTo>
                      <a:pt x="3144" y="1986"/>
                    </a:lnTo>
                    <a:lnTo>
                      <a:pt x="3134" y="1992"/>
                    </a:lnTo>
                    <a:lnTo>
                      <a:pt x="3127" y="1995"/>
                    </a:lnTo>
                    <a:lnTo>
                      <a:pt x="3121" y="1997"/>
                    </a:lnTo>
                    <a:lnTo>
                      <a:pt x="3113" y="1998"/>
                    </a:lnTo>
                    <a:lnTo>
                      <a:pt x="3105" y="2000"/>
                    </a:lnTo>
                    <a:lnTo>
                      <a:pt x="3105" y="2000"/>
                    </a:lnTo>
                    <a:lnTo>
                      <a:pt x="3099" y="1998"/>
                    </a:lnTo>
                    <a:lnTo>
                      <a:pt x="3091" y="1998"/>
                    </a:lnTo>
                    <a:lnTo>
                      <a:pt x="3083" y="1996"/>
                    </a:lnTo>
                    <a:lnTo>
                      <a:pt x="3074" y="1991"/>
                    </a:lnTo>
                    <a:lnTo>
                      <a:pt x="3066" y="1985"/>
                    </a:lnTo>
                    <a:lnTo>
                      <a:pt x="3062" y="1980"/>
                    </a:lnTo>
                    <a:lnTo>
                      <a:pt x="3059" y="1975"/>
                    </a:lnTo>
                    <a:lnTo>
                      <a:pt x="3056" y="1969"/>
                    </a:lnTo>
                    <a:lnTo>
                      <a:pt x="3054" y="1962"/>
                    </a:lnTo>
                    <a:lnTo>
                      <a:pt x="3051" y="1955"/>
                    </a:lnTo>
                    <a:lnTo>
                      <a:pt x="3050" y="1946"/>
                    </a:lnTo>
                    <a:lnTo>
                      <a:pt x="3201" y="1946"/>
                    </a:lnTo>
                    <a:lnTo>
                      <a:pt x="3201" y="1946"/>
                    </a:lnTo>
                    <a:lnTo>
                      <a:pt x="3202" y="1928"/>
                    </a:lnTo>
                    <a:lnTo>
                      <a:pt x="3202" y="1928"/>
                    </a:lnTo>
                    <a:lnTo>
                      <a:pt x="3201" y="1913"/>
                    </a:lnTo>
                    <a:lnTo>
                      <a:pt x="3199" y="1900"/>
                    </a:lnTo>
                    <a:lnTo>
                      <a:pt x="3197" y="1886"/>
                    </a:lnTo>
                    <a:lnTo>
                      <a:pt x="3195" y="1874"/>
                    </a:lnTo>
                    <a:lnTo>
                      <a:pt x="3190" y="1863"/>
                    </a:lnTo>
                    <a:lnTo>
                      <a:pt x="3185" y="1852"/>
                    </a:lnTo>
                    <a:lnTo>
                      <a:pt x="3180" y="1843"/>
                    </a:lnTo>
                    <a:lnTo>
                      <a:pt x="3174" y="1834"/>
                    </a:lnTo>
                    <a:lnTo>
                      <a:pt x="3167" y="1826"/>
                    </a:lnTo>
                    <a:lnTo>
                      <a:pt x="3158" y="1820"/>
                    </a:lnTo>
                    <a:lnTo>
                      <a:pt x="3150" y="1814"/>
                    </a:lnTo>
                    <a:lnTo>
                      <a:pt x="3141" y="1809"/>
                    </a:lnTo>
                    <a:lnTo>
                      <a:pt x="3131" y="1805"/>
                    </a:lnTo>
                    <a:lnTo>
                      <a:pt x="3121" y="1801"/>
                    </a:lnTo>
                    <a:lnTo>
                      <a:pt x="3110" y="1800"/>
                    </a:lnTo>
                    <a:lnTo>
                      <a:pt x="3099" y="1799"/>
                    </a:lnTo>
                    <a:lnTo>
                      <a:pt x="3099" y="1799"/>
                    </a:lnTo>
                    <a:lnTo>
                      <a:pt x="3086" y="1800"/>
                    </a:lnTo>
                    <a:lnTo>
                      <a:pt x="3076" y="1801"/>
                    </a:lnTo>
                    <a:lnTo>
                      <a:pt x="3065" y="1805"/>
                    </a:lnTo>
                    <a:lnTo>
                      <a:pt x="3055" y="1809"/>
                    </a:lnTo>
                    <a:lnTo>
                      <a:pt x="3045" y="1814"/>
                    </a:lnTo>
                    <a:lnTo>
                      <a:pt x="3035" y="1821"/>
                    </a:lnTo>
                    <a:lnTo>
                      <a:pt x="3028" y="1827"/>
                    </a:lnTo>
                    <a:lnTo>
                      <a:pt x="3020" y="1835"/>
                    </a:lnTo>
                    <a:lnTo>
                      <a:pt x="3012" y="1844"/>
                    </a:lnTo>
                    <a:lnTo>
                      <a:pt x="3006" y="1854"/>
                    </a:lnTo>
                    <a:lnTo>
                      <a:pt x="3001" y="1865"/>
                    </a:lnTo>
                    <a:lnTo>
                      <a:pt x="2997" y="1876"/>
                    </a:lnTo>
                    <a:lnTo>
                      <a:pt x="2994" y="1888"/>
                    </a:lnTo>
                    <a:lnTo>
                      <a:pt x="2990" y="1901"/>
                    </a:lnTo>
                    <a:lnTo>
                      <a:pt x="2989" y="1913"/>
                    </a:lnTo>
                    <a:lnTo>
                      <a:pt x="2989" y="1928"/>
                    </a:lnTo>
                    <a:lnTo>
                      <a:pt x="2989" y="1928"/>
                    </a:lnTo>
                    <a:lnTo>
                      <a:pt x="2989" y="1941"/>
                    </a:lnTo>
                    <a:lnTo>
                      <a:pt x="2990" y="1955"/>
                    </a:lnTo>
                    <a:lnTo>
                      <a:pt x="2993" y="1968"/>
                    </a:lnTo>
                    <a:lnTo>
                      <a:pt x="2997" y="1980"/>
                    </a:lnTo>
                    <a:lnTo>
                      <a:pt x="3001" y="1991"/>
                    </a:lnTo>
                    <a:lnTo>
                      <a:pt x="3008" y="2002"/>
                    </a:lnTo>
                    <a:lnTo>
                      <a:pt x="3014" y="2012"/>
                    </a:lnTo>
                    <a:lnTo>
                      <a:pt x="3021" y="2020"/>
                    </a:lnTo>
                    <a:lnTo>
                      <a:pt x="3028" y="2028"/>
                    </a:lnTo>
                    <a:lnTo>
                      <a:pt x="3037" y="2035"/>
                    </a:lnTo>
                    <a:lnTo>
                      <a:pt x="3046" y="2041"/>
                    </a:lnTo>
                    <a:lnTo>
                      <a:pt x="3057" y="2046"/>
                    </a:lnTo>
                    <a:lnTo>
                      <a:pt x="3068" y="2049"/>
                    </a:lnTo>
                    <a:lnTo>
                      <a:pt x="3079" y="2053"/>
                    </a:lnTo>
                    <a:lnTo>
                      <a:pt x="3093" y="2054"/>
                    </a:lnTo>
                    <a:lnTo>
                      <a:pt x="3105" y="2055"/>
                    </a:lnTo>
                    <a:lnTo>
                      <a:pt x="3105" y="2055"/>
                    </a:lnTo>
                    <a:lnTo>
                      <a:pt x="3117" y="2054"/>
                    </a:lnTo>
                    <a:lnTo>
                      <a:pt x="3129" y="2053"/>
                    </a:lnTo>
                    <a:lnTo>
                      <a:pt x="3140" y="2049"/>
                    </a:lnTo>
                    <a:lnTo>
                      <a:pt x="3151" y="2046"/>
                    </a:lnTo>
                    <a:lnTo>
                      <a:pt x="3162" y="2040"/>
                    </a:lnTo>
                    <a:lnTo>
                      <a:pt x="3173" y="2034"/>
                    </a:lnTo>
                    <a:lnTo>
                      <a:pt x="3182" y="2025"/>
                    </a:lnTo>
                    <a:lnTo>
                      <a:pt x="3191" y="2017"/>
                    </a:lnTo>
                    <a:lnTo>
                      <a:pt x="3153" y="1979"/>
                    </a:lnTo>
                    <a:close/>
                    <a:moveTo>
                      <a:pt x="3051" y="1901"/>
                    </a:moveTo>
                    <a:lnTo>
                      <a:pt x="3051" y="1901"/>
                    </a:lnTo>
                    <a:lnTo>
                      <a:pt x="3052" y="1890"/>
                    </a:lnTo>
                    <a:lnTo>
                      <a:pt x="3056" y="1880"/>
                    </a:lnTo>
                    <a:lnTo>
                      <a:pt x="3060" y="1872"/>
                    </a:lnTo>
                    <a:lnTo>
                      <a:pt x="3065" y="1865"/>
                    </a:lnTo>
                    <a:lnTo>
                      <a:pt x="3072" y="1859"/>
                    </a:lnTo>
                    <a:lnTo>
                      <a:pt x="3079" y="1855"/>
                    </a:lnTo>
                    <a:lnTo>
                      <a:pt x="3088" y="1851"/>
                    </a:lnTo>
                    <a:lnTo>
                      <a:pt x="3097" y="1851"/>
                    </a:lnTo>
                    <a:lnTo>
                      <a:pt x="3097" y="1851"/>
                    </a:lnTo>
                    <a:lnTo>
                      <a:pt x="3108" y="1852"/>
                    </a:lnTo>
                    <a:lnTo>
                      <a:pt x="3117" y="1855"/>
                    </a:lnTo>
                    <a:lnTo>
                      <a:pt x="3125" y="1860"/>
                    </a:lnTo>
                    <a:lnTo>
                      <a:pt x="3131" y="1867"/>
                    </a:lnTo>
                    <a:lnTo>
                      <a:pt x="3136" y="1874"/>
                    </a:lnTo>
                    <a:lnTo>
                      <a:pt x="3140" y="1883"/>
                    </a:lnTo>
                    <a:lnTo>
                      <a:pt x="3142" y="1893"/>
                    </a:lnTo>
                    <a:lnTo>
                      <a:pt x="3144" y="1901"/>
                    </a:lnTo>
                    <a:lnTo>
                      <a:pt x="3051" y="1901"/>
                    </a:lnTo>
                    <a:close/>
                    <a:moveTo>
                      <a:pt x="2905" y="1964"/>
                    </a:moveTo>
                    <a:lnTo>
                      <a:pt x="2905" y="1964"/>
                    </a:lnTo>
                    <a:lnTo>
                      <a:pt x="2905" y="1973"/>
                    </a:lnTo>
                    <a:lnTo>
                      <a:pt x="2907" y="1979"/>
                    </a:lnTo>
                    <a:lnTo>
                      <a:pt x="2909" y="1985"/>
                    </a:lnTo>
                    <a:lnTo>
                      <a:pt x="2912" y="1990"/>
                    </a:lnTo>
                    <a:lnTo>
                      <a:pt x="2915" y="1993"/>
                    </a:lnTo>
                    <a:lnTo>
                      <a:pt x="2920" y="1996"/>
                    </a:lnTo>
                    <a:lnTo>
                      <a:pt x="2925" y="1997"/>
                    </a:lnTo>
                    <a:lnTo>
                      <a:pt x="2932" y="1997"/>
                    </a:lnTo>
                    <a:lnTo>
                      <a:pt x="2932" y="1997"/>
                    </a:lnTo>
                    <a:lnTo>
                      <a:pt x="2941" y="1997"/>
                    </a:lnTo>
                    <a:lnTo>
                      <a:pt x="2950" y="1995"/>
                    </a:lnTo>
                    <a:lnTo>
                      <a:pt x="2960" y="1991"/>
                    </a:lnTo>
                    <a:lnTo>
                      <a:pt x="2969" y="1986"/>
                    </a:lnTo>
                    <a:lnTo>
                      <a:pt x="2961" y="2043"/>
                    </a:lnTo>
                    <a:lnTo>
                      <a:pt x="2961" y="2043"/>
                    </a:lnTo>
                    <a:lnTo>
                      <a:pt x="2950" y="2048"/>
                    </a:lnTo>
                    <a:lnTo>
                      <a:pt x="2937" y="2052"/>
                    </a:lnTo>
                    <a:lnTo>
                      <a:pt x="2924" y="2054"/>
                    </a:lnTo>
                    <a:lnTo>
                      <a:pt x="2910" y="2055"/>
                    </a:lnTo>
                    <a:lnTo>
                      <a:pt x="2910" y="2055"/>
                    </a:lnTo>
                    <a:lnTo>
                      <a:pt x="2902" y="2054"/>
                    </a:lnTo>
                    <a:lnTo>
                      <a:pt x="2893" y="2053"/>
                    </a:lnTo>
                    <a:lnTo>
                      <a:pt x="2886" y="2051"/>
                    </a:lnTo>
                    <a:lnTo>
                      <a:pt x="2880" y="2048"/>
                    </a:lnTo>
                    <a:lnTo>
                      <a:pt x="2874" y="2045"/>
                    </a:lnTo>
                    <a:lnTo>
                      <a:pt x="2868" y="2041"/>
                    </a:lnTo>
                    <a:lnTo>
                      <a:pt x="2864" y="2036"/>
                    </a:lnTo>
                    <a:lnTo>
                      <a:pt x="2859" y="2030"/>
                    </a:lnTo>
                    <a:lnTo>
                      <a:pt x="2853" y="2019"/>
                    </a:lnTo>
                    <a:lnTo>
                      <a:pt x="2848" y="2006"/>
                    </a:lnTo>
                    <a:lnTo>
                      <a:pt x="2846" y="1993"/>
                    </a:lnTo>
                    <a:lnTo>
                      <a:pt x="2845" y="1980"/>
                    </a:lnTo>
                    <a:lnTo>
                      <a:pt x="2845" y="1861"/>
                    </a:lnTo>
                    <a:lnTo>
                      <a:pt x="2807" y="1861"/>
                    </a:lnTo>
                    <a:lnTo>
                      <a:pt x="2807" y="1805"/>
                    </a:lnTo>
                    <a:lnTo>
                      <a:pt x="2845" y="1805"/>
                    </a:lnTo>
                    <a:lnTo>
                      <a:pt x="2845" y="1742"/>
                    </a:lnTo>
                    <a:lnTo>
                      <a:pt x="2905" y="1711"/>
                    </a:lnTo>
                    <a:lnTo>
                      <a:pt x="2905" y="1805"/>
                    </a:lnTo>
                    <a:lnTo>
                      <a:pt x="2960" y="1805"/>
                    </a:lnTo>
                    <a:lnTo>
                      <a:pt x="2960" y="1861"/>
                    </a:lnTo>
                    <a:lnTo>
                      <a:pt x="2905" y="1861"/>
                    </a:lnTo>
                    <a:lnTo>
                      <a:pt x="2905" y="1964"/>
                    </a:lnTo>
                    <a:close/>
                    <a:moveTo>
                      <a:pt x="2788" y="2043"/>
                    </a:moveTo>
                    <a:lnTo>
                      <a:pt x="2788" y="2043"/>
                    </a:lnTo>
                    <a:lnTo>
                      <a:pt x="2777" y="2048"/>
                    </a:lnTo>
                    <a:lnTo>
                      <a:pt x="2764" y="2052"/>
                    </a:lnTo>
                    <a:lnTo>
                      <a:pt x="2751" y="2054"/>
                    </a:lnTo>
                    <a:lnTo>
                      <a:pt x="2738" y="2055"/>
                    </a:lnTo>
                    <a:lnTo>
                      <a:pt x="2738" y="2055"/>
                    </a:lnTo>
                    <a:lnTo>
                      <a:pt x="2728" y="2054"/>
                    </a:lnTo>
                    <a:lnTo>
                      <a:pt x="2721" y="2053"/>
                    </a:lnTo>
                    <a:lnTo>
                      <a:pt x="2713" y="2051"/>
                    </a:lnTo>
                    <a:lnTo>
                      <a:pt x="2706" y="2048"/>
                    </a:lnTo>
                    <a:lnTo>
                      <a:pt x="2701" y="2045"/>
                    </a:lnTo>
                    <a:lnTo>
                      <a:pt x="2695" y="2041"/>
                    </a:lnTo>
                    <a:lnTo>
                      <a:pt x="2690" y="2036"/>
                    </a:lnTo>
                    <a:lnTo>
                      <a:pt x="2687" y="2030"/>
                    </a:lnTo>
                    <a:lnTo>
                      <a:pt x="2679" y="2019"/>
                    </a:lnTo>
                    <a:lnTo>
                      <a:pt x="2676" y="2006"/>
                    </a:lnTo>
                    <a:lnTo>
                      <a:pt x="2672" y="1993"/>
                    </a:lnTo>
                    <a:lnTo>
                      <a:pt x="2672" y="1980"/>
                    </a:lnTo>
                    <a:lnTo>
                      <a:pt x="2672" y="1861"/>
                    </a:lnTo>
                    <a:lnTo>
                      <a:pt x="2634" y="1861"/>
                    </a:lnTo>
                    <a:lnTo>
                      <a:pt x="2634" y="1805"/>
                    </a:lnTo>
                    <a:lnTo>
                      <a:pt x="2672" y="1805"/>
                    </a:lnTo>
                    <a:lnTo>
                      <a:pt x="2672" y="1742"/>
                    </a:lnTo>
                    <a:lnTo>
                      <a:pt x="2733" y="1711"/>
                    </a:lnTo>
                    <a:lnTo>
                      <a:pt x="2733" y="1805"/>
                    </a:lnTo>
                    <a:lnTo>
                      <a:pt x="2784" y="1805"/>
                    </a:lnTo>
                    <a:lnTo>
                      <a:pt x="2784" y="1861"/>
                    </a:lnTo>
                    <a:lnTo>
                      <a:pt x="2733" y="1861"/>
                    </a:lnTo>
                    <a:lnTo>
                      <a:pt x="2733" y="1964"/>
                    </a:lnTo>
                    <a:lnTo>
                      <a:pt x="2733" y="1964"/>
                    </a:lnTo>
                    <a:lnTo>
                      <a:pt x="2733" y="1973"/>
                    </a:lnTo>
                    <a:lnTo>
                      <a:pt x="2734" y="1979"/>
                    </a:lnTo>
                    <a:lnTo>
                      <a:pt x="2737" y="1985"/>
                    </a:lnTo>
                    <a:lnTo>
                      <a:pt x="2739" y="1990"/>
                    </a:lnTo>
                    <a:lnTo>
                      <a:pt x="2743" y="1993"/>
                    </a:lnTo>
                    <a:lnTo>
                      <a:pt x="2747" y="1996"/>
                    </a:lnTo>
                    <a:lnTo>
                      <a:pt x="2752" y="1997"/>
                    </a:lnTo>
                    <a:lnTo>
                      <a:pt x="2758" y="1997"/>
                    </a:lnTo>
                    <a:lnTo>
                      <a:pt x="2758" y="1997"/>
                    </a:lnTo>
                    <a:lnTo>
                      <a:pt x="2768" y="1997"/>
                    </a:lnTo>
                    <a:lnTo>
                      <a:pt x="2778" y="1995"/>
                    </a:lnTo>
                    <a:lnTo>
                      <a:pt x="2786" y="1991"/>
                    </a:lnTo>
                    <a:lnTo>
                      <a:pt x="2795" y="1986"/>
                    </a:lnTo>
                    <a:lnTo>
                      <a:pt x="2788" y="2043"/>
                    </a:lnTo>
                    <a:close/>
                    <a:moveTo>
                      <a:pt x="3384" y="1873"/>
                    </a:moveTo>
                    <a:lnTo>
                      <a:pt x="3384" y="1873"/>
                    </a:lnTo>
                    <a:lnTo>
                      <a:pt x="3376" y="1867"/>
                    </a:lnTo>
                    <a:lnTo>
                      <a:pt x="3366" y="1863"/>
                    </a:lnTo>
                    <a:lnTo>
                      <a:pt x="3355" y="1861"/>
                    </a:lnTo>
                    <a:lnTo>
                      <a:pt x="3344" y="1860"/>
                    </a:lnTo>
                    <a:lnTo>
                      <a:pt x="3344" y="1860"/>
                    </a:lnTo>
                    <a:lnTo>
                      <a:pt x="3334" y="1861"/>
                    </a:lnTo>
                    <a:lnTo>
                      <a:pt x="3325" y="1863"/>
                    </a:lnTo>
                    <a:lnTo>
                      <a:pt x="3317" y="1868"/>
                    </a:lnTo>
                    <a:lnTo>
                      <a:pt x="3311" y="1874"/>
                    </a:lnTo>
                    <a:lnTo>
                      <a:pt x="3306" y="1882"/>
                    </a:lnTo>
                    <a:lnTo>
                      <a:pt x="3304" y="1891"/>
                    </a:lnTo>
                    <a:lnTo>
                      <a:pt x="3302" y="1904"/>
                    </a:lnTo>
                    <a:lnTo>
                      <a:pt x="3300" y="1917"/>
                    </a:lnTo>
                    <a:lnTo>
                      <a:pt x="3300" y="2049"/>
                    </a:lnTo>
                    <a:lnTo>
                      <a:pt x="3241" y="2049"/>
                    </a:lnTo>
                    <a:lnTo>
                      <a:pt x="3241" y="1805"/>
                    </a:lnTo>
                    <a:lnTo>
                      <a:pt x="3300" y="1805"/>
                    </a:lnTo>
                    <a:lnTo>
                      <a:pt x="3300" y="1826"/>
                    </a:lnTo>
                    <a:lnTo>
                      <a:pt x="3300" y="1826"/>
                    </a:lnTo>
                    <a:lnTo>
                      <a:pt x="3306" y="1820"/>
                    </a:lnTo>
                    <a:lnTo>
                      <a:pt x="3313" y="1814"/>
                    </a:lnTo>
                    <a:lnTo>
                      <a:pt x="3319" y="1810"/>
                    </a:lnTo>
                    <a:lnTo>
                      <a:pt x="3326" y="1806"/>
                    </a:lnTo>
                    <a:lnTo>
                      <a:pt x="3332" y="1803"/>
                    </a:lnTo>
                    <a:lnTo>
                      <a:pt x="3339" y="1801"/>
                    </a:lnTo>
                    <a:lnTo>
                      <a:pt x="3347" y="1800"/>
                    </a:lnTo>
                    <a:lnTo>
                      <a:pt x="3355" y="1799"/>
                    </a:lnTo>
                    <a:lnTo>
                      <a:pt x="3355" y="1799"/>
                    </a:lnTo>
                    <a:lnTo>
                      <a:pt x="3367" y="1800"/>
                    </a:lnTo>
                    <a:lnTo>
                      <a:pt x="3379" y="1804"/>
                    </a:lnTo>
                    <a:lnTo>
                      <a:pt x="3390" y="1807"/>
                    </a:lnTo>
                    <a:lnTo>
                      <a:pt x="3400" y="1814"/>
                    </a:lnTo>
                    <a:lnTo>
                      <a:pt x="3384" y="1873"/>
                    </a:lnTo>
                    <a:close/>
                    <a:moveTo>
                      <a:pt x="653" y="1747"/>
                    </a:moveTo>
                    <a:lnTo>
                      <a:pt x="653" y="1770"/>
                    </a:lnTo>
                    <a:lnTo>
                      <a:pt x="592" y="1770"/>
                    </a:lnTo>
                    <a:lnTo>
                      <a:pt x="592" y="1709"/>
                    </a:lnTo>
                    <a:lnTo>
                      <a:pt x="653" y="1709"/>
                    </a:lnTo>
                    <a:lnTo>
                      <a:pt x="653" y="1747"/>
                    </a:lnTo>
                    <a:close/>
                    <a:moveTo>
                      <a:pt x="1073" y="1805"/>
                    </a:moveTo>
                    <a:lnTo>
                      <a:pt x="1134" y="1805"/>
                    </a:lnTo>
                    <a:lnTo>
                      <a:pt x="1134" y="1930"/>
                    </a:lnTo>
                    <a:lnTo>
                      <a:pt x="1134" y="2049"/>
                    </a:lnTo>
                    <a:lnTo>
                      <a:pt x="1073" y="2049"/>
                    </a:lnTo>
                    <a:lnTo>
                      <a:pt x="1073" y="1805"/>
                    </a:lnTo>
                    <a:close/>
                    <a:moveTo>
                      <a:pt x="1134" y="1739"/>
                    </a:moveTo>
                    <a:lnTo>
                      <a:pt x="1134" y="1770"/>
                    </a:lnTo>
                    <a:lnTo>
                      <a:pt x="1073" y="1770"/>
                    </a:lnTo>
                    <a:lnTo>
                      <a:pt x="1073" y="1709"/>
                    </a:lnTo>
                    <a:lnTo>
                      <a:pt x="1134" y="1709"/>
                    </a:lnTo>
                    <a:lnTo>
                      <a:pt x="1134" y="1739"/>
                    </a:lnTo>
                    <a:close/>
                    <a:moveTo>
                      <a:pt x="2796" y="2250"/>
                    </a:moveTo>
                    <a:lnTo>
                      <a:pt x="2796" y="2250"/>
                    </a:lnTo>
                    <a:lnTo>
                      <a:pt x="2790" y="2245"/>
                    </a:lnTo>
                    <a:lnTo>
                      <a:pt x="2784" y="2240"/>
                    </a:lnTo>
                    <a:lnTo>
                      <a:pt x="2778" y="2237"/>
                    </a:lnTo>
                    <a:lnTo>
                      <a:pt x="2771" y="2233"/>
                    </a:lnTo>
                    <a:lnTo>
                      <a:pt x="2764" y="2231"/>
                    </a:lnTo>
                    <a:lnTo>
                      <a:pt x="2757" y="2229"/>
                    </a:lnTo>
                    <a:lnTo>
                      <a:pt x="2741" y="2227"/>
                    </a:lnTo>
                    <a:lnTo>
                      <a:pt x="2741" y="2227"/>
                    </a:lnTo>
                    <a:lnTo>
                      <a:pt x="2730" y="2228"/>
                    </a:lnTo>
                    <a:lnTo>
                      <a:pt x="2721" y="2229"/>
                    </a:lnTo>
                    <a:lnTo>
                      <a:pt x="2711" y="2233"/>
                    </a:lnTo>
                    <a:lnTo>
                      <a:pt x="2701" y="2237"/>
                    </a:lnTo>
                    <a:lnTo>
                      <a:pt x="2693" y="2241"/>
                    </a:lnTo>
                    <a:lnTo>
                      <a:pt x="2685" y="2246"/>
                    </a:lnTo>
                    <a:lnTo>
                      <a:pt x="2678" y="2254"/>
                    </a:lnTo>
                    <a:lnTo>
                      <a:pt x="2671" y="2261"/>
                    </a:lnTo>
                    <a:lnTo>
                      <a:pt x="2666" y="2269"/>
                    </a:lnTo>
                    <a:lnTo>
                      <a:pt x="2660" y="2279"/>
                    </a:lnTo>
                    <a:lnTo>
                      <a:pt x="2656" y="2289"/>
                    </a:lnTo>
                    <a:lnTo>
                      <a:pt x="2653" y="2301"/>
                    </a:lnTo>
                    <a:lnTo>
                      <a:pt x="2649" y="2312"/>
                    </a:lnTo>
                    <a:lnTo>
                      <a:pt x="2648" y="2325"/>
                    </a:lnTo>
                    <a:lnTo>
                      <a:pt x="2647" y="2339"/>
                    </a:lnTo>
                    <a:lnTo>
                      <a:pt x="2645" y="2353"/>
                    </a:lnTo>
                    <a:lnTo>
                      <a:pt x="2645" y="2353"/>
                    </a:lnTo>
                    <a:lnTo>
                      <a:pt x="2647" y="2368"/>
                    </a:lnTo>
                    <a:lnTo>
                      <a:pt x="2648" y="2381"/>
                    </a:lnTo>
                    <a:lnTo>
                      <a:pt x="2649" y="2395"/>
                    </a:lnTo>
                    <a:lnTo>
                      <a:pt x="2653" y="2408"/>
                    </a:lnTo>
                    <a:lnTo>
                      <a:pt x="2655" y="2419"/>
                    </a:lnTo>
                    <a:lnTo>
                      <a:pt x="2660" y="2430"/>
                    </a:lnTo>
                    <a:lnTo>
                      <a:pt x="2665" y="2440"/>
                    </a:lnTo>
                    <a:lnTo>
                      <a:pt x="2671" y="2448"/>
                    </a:lnTo>
                    <a:lnTo>
                      <a:pt x="2677" y="2457"/>
                    </a:lnTo>
                    <a:lnTo>
                      <a:pt x="2684" y="2463"/>
                    </a:lnTo>
                    <a:lnTo>
                      <a:pt x="2692" y="2469"/>
                    </a:lnTo>
                    <a:lnTo>
                      <a:pt x="2700" y="2474"/>
                    </a:lnTo>
                    <a:lnTo>
                      <a:pt x="2710" y="2479"/>
                    </a:lnTo>
                    <a:lnTo>
                      <a:pt x="2720" y="2481"/>
                    </a:lnTo>
                    <a:lnTo>
                      <a:pt x="2729" y="2482"/>
                    </a:lnTo>
                    <a:lnTo>
                      <a:pt x="2740" y="2483"/>
                    </a:lnTo>
                    <a:lnTo>
                      <a:pt x="2740" y="2483"/>
                    </a:lnTo>
                    <a:lnTo>
                      <a:pt x="2747" y="2482"/>
                    </a:lnTo>
                    <a:lnTo>
                      <a:pt x="2756" y="2481"/>
                    </a:lnTo>
                    <a:lnTo>
                      <a:pt x="2763" y="2480"/>
                    </a:lnTo>
                    <a:lnTo>
                      <a:pt x="2769" y="2477"/>
                    </a:lnTo>
                    <a:lnTo>
                      <a:pt x="2777" y="2474"/>
                    </a:lnTo>
                    <a:lnTo>
                      <a:pt x="2784" y="2470"/>
                    </a:lnTo>
                    <a:lnTo>
                      <a:pt x="2790" y="2465"/>
                    </a:lnTo>
                    <a:lnTo>
                      <a:pt x="2796" y="2459"/>
                    </a:lnTo>
                    <a:lnTo>
                      <a:pt x="2796" y="2477"/>
                    </a:lnTo>
                    <a:lnTo>
                      <a:pt x="2857" y="2477"/>
                    </a:lnTo>
                    <a:lnTo>
                      <a:pt x="2857" y="2131"/>
                    </a:lnTo>
                    <a:lnTo>
                      <a:pt x="2796" y="2161"/>
                    </a:lnTo>
                    <a:lnTo>
                      <a:pt x="2796" y="2250"/>
                    </a:lnTo>
                    <a:close/>
                    <a:moveTo>
                      <a:pt x="2754" y="2427"/>
                    </a:moveTo>
                    <a:lnTo>
                      <a:pt x="2754" y="2427"/>
                    </a:lnTo>
                    <a:lnTo>
                      <a:pt x="2745" y="2426"/>
                    </a:lnTo>
                    <a:lnTo>
                      <a:pt x="2738" y="2424"/>
                    </a:lnTo>
                    <a:lnTo>
                      <a:pt x="2729" y="2420"/>
                    </a:lnTo>
                    <a:lnTo>
                      <a:pt x="2722" y="2413"/>
                    </a:lnTo>
                    <a:lnTo>
                      <a:pt x="2716" y="2403"/>
                    </a:lnTo>
                    <a:lnTo>
                      <a:pt x="2711" y="2390"/>
                    </a:lnTo>
                    <a:lnTo>
                      <a:pt x="2709" y="2373"/>
                    </a:lnTo>
                    <a:lnTo>
                      <a:pt x="2707" y="2351"/>
                    </a:lnTo>
                    <a:lnTo>
                      <a:pt x="2707" y="2351"/>
                    </a:lnTo>
                    <a:lnTo>
                      <a:pt x="2709" y="2333"/>
                    </a:lnTo>
                    <a:lnTo>
                      <a:pt x="2711" y="2317"/>
                    </a:lnTo>
                    <a:lnTo>
                      <a:pt x="2716" y="2305"/>
                    </a:lnTo>
                    <a:lnTo>
                      <a:pt x="2722" y="2296"/>
                    </a:lnTo>
                    <a:lnTo>
                      <a:pt x="2729" y="2290"/>
                    </a:lnTo>
                    <a:lnTo>
                      <a:pt x="2737" y="2285"/>
                    </a:lnTo>
                    <a:lnTo>
                      <a:pt x="2745" y="2284"/>
                    </a:lnTo>
                    <a:lnTo>
                      <a:pt x="2752" y="2283"/>
                    </a:lnTo>
                    <a:lnTo>
                      <a:pt x="2752" y="2283"/>
                    </a:lnTo>
                    <a:lnTo>
                      <a:pt x="2761" y="2284"/>
                    </a:lnTo>
                    <a:lnTo>
                      <a:pt x="2768" y="2285"/>
                    </a:lnTo>
                    <a:lnTo>
                      <a:pt x="2774" y="2288"/>
                    </a:lnTo>
                    <a:lnTo>
                      <a:pt x="2780" y="2291"/>
                    </a:lnTo>
                    <a:lnTo>
                      <a:pt x="2785" y="2295"/>
                    </a:lnTo>
                    <a:lnTo>
                      <a:pt x="2790" y="2299"/>
                    </a:lnTo>
                    <a:lnTo>
                      <a:pt x="2796" y="2307"/>
                    </a:lnTo>
                    <a:lnTo>
                      <a:pt x="2796" y="2403"/>
                    </a:lnTo>
                    <a:lnTo>
                      <a:pt x="2796" y="2403"/>
                    </a:lnTo>
                    <a:lnTo>
                      <a:pt x="2789" y="2412"/>
                    </a:lnTo>
                    <a:lnTo>
                      <a:pt x="2780" y="2419"/>
                    </a:lnTo>
                    <a:lnTo>
                      <a:pt x="2774" y="2423"/>
                    </a:lnTo>
                    <a:lnTo>
                      <a:pt x="2768" y="2425"/>
                    </a:lnTo>
                    <a:lnTo>
                      <a:pt x="2761" y="2426"/>
                    </a:lnTo>
                    <a:lnTo>
                      <a:pt x="2754" y="2427"/>
                    </a:lnTo>
                    <a:lnTo>
                      <a:pt x="2754" y="2427"/>
                    </a:lnTo>
                    <a:close/>
                    <a:moveTo>
                      <a:pt x="740" y="2301"/>
                    </a:moveTo>
                    <a:lnTo>
                      <a:pt x="740" y="2301"/>
                    </a:lnTo>
                    <a:lnTo>
                      <a:pt x="732" y="2296"/>
                    </a:lnTo>
                    <a:lnTo>
                      <a:pt x="722" y="2291"/>
                    </a:lnTo>
                    <a:lnTo>
                      <a:pt x="711" y="2289"/>
                    </a:lnTo>
                    <a:lnTo>
                      <a:pt x="700" y="2288"/>
                    </a:lnTo>
                    <a:lnTo>
                      <a:pt x="700" y="2288"/>
                    </a:lnTo>
                    <a:lnTo>
                      <a:pt x="690" y="2289"/>
                    </a:lnTo>
                    <a:lnTo>
                      <a:pt x="680" y="2291"/>
                    </a:lnTo>
                    <a:lnTo>
                      <a:pt x="673" y="2296"/>
                    </a:lnTo>
                    <a:lnTo>
                      <a:pt x="667" y="2302"/>
                    </a:lnTo>
                    <a:lnTo>
                      <a:pt x="662" y="2310"/>
                    </a:lnTo>
                    <a:lnTo>
                      <a:pt x="660" y="2319"/>
                    </a:lnTo>
                    <a:lnTo>
                      <a:pt x="657" y="2331"/>
                    </a:lnTo>
                    <a:lnTo>
                      <a:pt x="656" y="2345"/>
                    </a:lnTo>
                    <a:lnTo>
                      <a:pt x="656" y="2477"/>
                    </a:lnTo>
                    <a:lnTo>
                      <a:pt x="597" y="2477"/>
                    </a:lnTo>
                    <a:lnTo>
                      <a:pt x="597" y="2233"/>
                    </a:lnTo>
                    <a:lnTo>
                      <a:pt x="656" y="2233"/>
                    </a:lnTo>
                    <a:lnTo>
                      <a:pt x="656" y="2254"/>
                    </a:lnTo>
                    <a:lnTo>
                      <a:pt x="656" y="2254"/>
                    </a:lnTo>
                    <a:lnTo>
                      <a:pt x="662" y="2248"/>
                    </a:lnTo>
                    <a:lnTo>
                      <a:pt x="668" y="2241"/>
                    </a:lnTo>
                    <a:lnTo>
                      <a:pt x="674" y="2238"/>
                    </a:lnTo>
                    <a:lnTo>
                      <a:pt x="682" y="2234"/>
                    </a:lnTo>
                    <a:lnTo>
                      <a:pt x="688" y="2231"/>
                    </a:lnTo>
                    <a:lnTo>
                      <a:pt x="695" y="2229"/>
                    </a:lnTo>
                    <a:lnTo>
                      <a:pt x="704" y="2228"/>
                    </a:lnTo>
                    <a:lnTo>
                      <a:pt x="711" y="2227"/>
                    </a:lnTo>
                    <a:lnTo>
                      <a:pt x="711" y="2227"/>
                    </a:lnTo>
                    <a:lnTo>
                      <a:pt x="723" y="2228"/>
                    </a:lnTo>
                    <a:lnTo>
                      <a:pt x="735" y="2232"/>
                    </a:lnTo>
                    <a:lnTo>
                      <a:pt x="747" y="2237"/>
                    </a:lnTo>
                    <a:lnTo>
                      <a:pt x="757" y="2243"/>
                    </a:lnTo>
                    <a:lnTo>
                      <a:pt x="740" y="2301"/>
                    </a:lnTo>
                    <a:close/>
                    <a:moveTo>
                      <a:pt x="265" y="2233"/>
                    </a:moveTo>
                    <a:lnTo>
                      <a:pt x="324" y="2233"/>
                    </a:lnTo>
                    <a:lnTo>
                      <a:pt x="255" y="2477"/>
                    </a:lnTo>
                    <a:lnTo>
                      <a:pt x="203" y="2477"/>
                    </a:lnTo>
                    <a:lnTo>
                      <a:pt x="176" y="2376"/>
                    </a:lnTo>
                    <a:lnTo>
                      <a:pt x="176" y="2376"/>
                    </a:lnTo>
                    <a:lnTo>
                      <a:pt x="163" y="2323"/>
                    </a:lnTo>
                    <a:lnTo>
                      <a:pt x="163" y="2323"/>
                    </a:lnTo>
                    <a:lnTo>
                      <a:pt x="157" y="2348"/>
                    </a:lnTo>
                    <a:lnTo>
                      <a:pt x="149" y="2378"/>
                    </a:lnTo>
                    <a:lnTo>
                      <a:pt x="122" y="2477"/>
                    </a:lnTo>
                    <a:lnTo>
                      <a:pt x="69" y="2477"/>
                    </a:lnTo>
                    <a:lnTo>
                      <a:pt x="69" y="2476"/>
                    </a:lnTo>
                    <a:lnTo>
                      <a:pt x="0" y="2233"/>
                    </a:lnTo>
                    <a:lnTo>
                      <a:pt x="63" y="2233"/>
                    </a:lnTo>
                    <a:lnTo>
                      <a:pt x="85" y="2324"/>
                    </a:lnTo>
                    <a:lnTo>
                      <a:pt x="85" y="2324"/>
                    </a:lnTo>
                    <a:lnTo>
                      <a:pt x="91" y="2353"/>
                    </a:lnTo>
                    <a:lnTo>
                      <a:pt x="97" y="2384"/>
                    </a:lnTo>
                    <a:lnTo>
                      <a:pt x="97" y="2384"/>
                    </a:lnTo>
                    <a:lnTo>
                      <a:pt x="105" y="2353"/>
                    </a:lnTo>
                    <a:lnTo>
                      <a:pt x="112" y="2323"/>
                    </a:lnTo>
                    <a:lnTo>
                      <a:pt x="137" y="2233"/>
                    </a:lnTo>
                    <a:lnTo>
                      <a:pt x="190" y="2233"/>
                    </a:lnTo>
                    <a:lnTo>
                      <a:pt x="215" y="2323"/>
                    </a:lnTo>
                    <a:lnTo>
                      <a:pt x="215" y="2323"/>
                    </a:lnTo>
                    <a:lnTo>
                      <a:pt x="222" y="2352"/>
                    </a:lnTo>
                    <a:lnTo>
                      <a:pt x="230" y="2385"/>
                    </a:lnTo>
                    <a:lnTo>
                      <a:pt x="230" y="2385"/>
                    </a:lnTo>
                    <a:lnTo>
                      <a:pt x="235" y="2357"/>
                    </a:lnTo>
                    <a:lnTo>
                      <a:pt x="242" y="2323"/>
                    </a:lnTo>
                    <a:lnTo>
                      <a:pt x="265" y="2233"/>
                    </a:lnTo>
                    <a:close/>
                    <a:moveTo>
                      <a:pt x="447" y="2227"/>
                    </a:moveTo>
                    <a:lnTo>
                      <a:pt x="447" y="2227"/>
                    </a:lnTo>
                    <a:lnTo>
                      <a:pt x="436" y="2228"/>
                    </a:lnTo>
                    <a:lnTo>
                      <a:pt x="424" y="2229"/>
                    </a:lnTo>
                    <a:lnTo>
                      <a:pt x="413" y="2233"/>
                    </a:lnTo>
                    <a:lnTo>
                      <a:pt x="403" y="2237"/>
                    </a:lnTo>
                    <a:lnTo>
                      <a:pt x="394" y="2241"/>
                    </a:lnTo>
                    <a:lnTo>
                      <a:pt x="384" y="2248"/>
                    </a:lnTo>
                    <a:lnTo>
                      <a:pt x="375" y="2255"/>
                    </a:lnTo>
                    <a:lnTo>
                      <a:pt x="368" y="2263"/>
                    </a:lnTo>
                    <a:lnTo>
                      <a:pt x="361" y="2272"/>
                    </a:lnTo>
                    <a:lnTo>
                      <a:pt x="355" y="2282"/>
                    </a:lnTo>
                    <a:lnTo>
                      <a:pt x="349" y="2293"/>
                    </a:lnTo>
                    <a:lnTo>
                      <a:pt x="345" y="2303"/>
                    </a:lnTo>
                    <a:lnTo>
                      <a:pt x="341" y="2316"/>
                    </a:lnTo>
                    <a:lnTo>
                      <a:pt x="339" y="2328"/>
                    </a:lnTo>
                    <a:lnTo>
                      <a:pt x="337" y="2341"/>
                    </a:lnTo>
                    <a:lnTo>
                      <a:pt x="337" y="2356"/>
                    </a:lnTo>
                    <a:lnTo>
                      <a:pt x="337" y="2356"/>
                    </a:lnTo>
                    <a:lnTo>
                      <a:pt x="337" y="2369"/>
                    </a:lnTo>
                    <a:lnTo>
                      <a:pt x="339" y="2382"/>
                    </a:lnTo>
                    <a:lnTo>
                      <a:pt x="341" y="2395"/>
                    </a:lnTo>
                    <a:lnTo>
                      <a:pt x="345" y="2407"/>
                    </a:lnTo>
                    <a:lnTo>
                      <a:pt x="349" y="2418"/>
                    </a:lnTo>
                    <a:lnTo>
                      <a:pt x="355" y="2429"/>
                    </a:lnTo>
                    <a:lnTo>
                      <a:pt x="361" y="2438"/>
                    </a:lnTo>
                    <a:lnTo>
                      <a:pt x="368" y="2447"/>
                    </a:lnTo>
                    <a:lnTo>
                      <a:pt x="375" y="2455"/>
                    </a:lnTo>
                    <a:lnTo>
                      <a:pt x="384" y="2463"/>
                    </a:lnTo>
                    <a:lnTo>
                      <a:pt x="394" y="2469"/>
                    </a:lnTo>
                    <a:lnTo>
                      <a:pt x="403" y="2474"/>
                    </a:lnTo>
                    <a:lnTo>
                      <a:pt x="413" y="2477"/>
                    </a:lnTo>
                    <a:lnTo>
                      <a:pt x="424" y="2481"/>
                    </a:lnTo>
                    <a:lnTo>
                      <a:pt x="436" y="2482"/>
                    </a:lnTo>
                    <a:lnTo>
                      <a:pt x="447" y="2483"/>
                    </a:lnTo>
                    <a:lnTo>
                      <a:pt x="447" y="2483"/>
                    </a:lnTo>
                    <a:lnTo>
                      <a:pt x="459" y="2482"/>
                    </a:lnTo>
                    <a:lnTo>
                      <a:pt x="471" y="2481"/>
                    </a:lnTo>
                    <a:lnTo>
                      <a:pt x="482" y="2477"/>
                    </a:lnTo>
                    <a:lnTo>
                      <a:pt x="492" y="2474"/>
                    </a:lnTo>
                    <a:lnTo>
                      <a:pt x="502" y="2469"/>
                    </a:lnTo>
                    <a:lnTo>
                      <a:pt x="512" y="2463"/>
                    </a:lnTo>
                    <a:lnTo>
                      <a:pt x="520" y="2455"/>
                    </a:lnTo>
                    <a:lnTo>
                      <a:pt x="527" y="2447"/>
                    </a:lnTo>
                    <a:lnTo>
                      <a:pt x="535" y="2438"/>
                    </a:lnTo>
                    <a:lnTo>
                      <a:pt x="541" y="2429"/>
                    </a:lnTo>
                    <a:lnTo>
                      <a:pt x="546" y="2418"/>
                    </a:lnTo>
                    <a:lnTo>
                      <a:pt x="550" y="2407"/>
                    </a:lnTo>
                    <a:lnTo>
                      <a:pt x="554" y="2395"/>
                    </a:lnTo>
                    <a:lnTo>
                      <a:pt x="557" y="2382"/>
                    </a:lnTo>
                    <a:lnTo>
                      <a:pt x="559" y="2369"/>
                    </a:lnTo>
                    <a:lnTo>
                      <a:pt x="559" y="2356"/>
                    </a:lnTo>
                    <a:lnTo>
                      <a:pt x="559" y="2356"/>
                    </a:lnTo>
                    <a:lnTo>
                      <a:pt x="559" y="2341"/>
                    </a:lnTo>
                    <a:lnTo>
                      <a:pt x="557" y="2328"/>
                    </a:lnTo>
                    <a:lnTo>
                      <a:pt x="554" y="2316"/>
                    </a:lnTo>
                    <a:lnTo>
                      <a:pt x="550" y="2303"/>
                    </a:lnTo>
                    <a:lnTo>
                      <a:pt x="546" y="2293"/>
                    </a:lnTo>
                    <a:lnTo>
                      <a:pt x="541" y="2282"/>
                    </a:lnTo>
                    <a:lnTo>
                      <a:pt x="535" y="2272"/>
                    </a:lnTo>
                    <a:lnTo>
                      <a:pt x="527" y="2263"/>
                    </a:lnTo>
                    <a:lnTo>
                      <a:pt x="520" y="2255"/>
                    </a:lnTo>
                    <a:lnTo>
                      <a:pt x="512" y="2248"/>
                    </a:lnTo>
                    <a:lnTo>
                      <a:pt x="502" y="2241"/>
                    </a:lnTo>
                    <a:lnTo>
                      <a:pt x="492" y="2237"/>
                    </a:lnTo>
                    <a:lnTo>
                      <a:pt x="482" y="2233"/>
                    </a:lnTo>
                    <a:lnTo>
                      <a:pt x="471" y="2229"/>
                    </a:lnTo>
                    <a:lnTo>
                      <a:pt x="459" y="2228"/>
                    </a:lnTo>
                    <a:lnTo>
                      <a:pt x="447" y="2227"/>
                    </a:lnTo>
                    <a:lnTo>
                      <a:pt x="447" y="2227"/>
                    </a:lnTo>
                    <a:close/>
                    <a:moveTo>
                      <a:pt x="447" y="2426"/>
                    </a:moveTo>
                    <a:lnTo>
                      <a:pt x="447" y="2426"/>
                    </a:lnTo>
                    <a:lnTo>
                      <a:pt x="436" y="2425"/>
                    </a:lnTo>
                    <a:lnTo>
                      <a:pt x="427" y="2421"/>
                    </a:lnTo>
                    <a:lnTo>
                      <a:pt x="419" y="2415"/>
                    </a:lnTo>
                    <a:lnTo>
                      <a:pt x="412" y="2407"/>
                    </a:lnTo>
                    <a:lnTo>
                      <a:pt x="406" y="2397"/>
                    </a:lnTo>
                    <a:lnTo>
                      <a:pt x="401" y="2385"/>
                    </a:lnTo>
                    <a:lnTo>
                      <a:pt x="399" y="2370"/>
                    </a:lnTo>
                    <a:lnTo>
                      <a:pt x="399" y="2356"/>
                    </a:lnTo>
                    <a:lnTo>
                      <a:pt x="399" y="2356"/>
                    </a:lnTo>
                    <a:lnTo>
                      <a:pt x="399" y="2340"/>
                    </a:lnTo>
                    <a:lnTo>
                      <a:pt x="401" y="2325"/>
                    </a:lnTo>
                    <a:lnTo>
                      <a:pt x="406" y="2314"/>
                    </a:lnTo>
                    <a:lnTo>
                      <a:pt x="412" y="2303"/>
                    </a:lnTo>
                    <a:lnTo>
                      <a:pt x="419" y="2295"/>
                    </a:lnTo>
                    <a:lnTo>
                      <a:pt x="427" y="2289"/>
                    </a:lnTo>
                    <a:lnTo>
                      <a:pt x="436" y="2285"/>
                    </a:lnTo>
                    <a:lnTo>
                      <a:pt x="447" y="2284"/>
                    </a:lnTo>
                    <a:lnTo>
                      <a:pt x="447" y="2284"/>
                    </a:lnTo>
                    <a:lnTo>
                      <a:pt x="458" y="2285"/>
                    </a:lnTo>
                    <a:lnTo>
                      <a:pt x="468" y="2289"/>
                    </a:lnTo>
                    <a:lnTo>
                      <a:pt x="476" y="2295"/>
                    </a:lnTo>
                    <a:lnTo>
                      <a:pt x="484" y="2303"/>
                    </a:lnTo>
                    <a:lnTo>
                      <a:pt x="490" y="2314"/>
                    </a:lnTo>
                    <a:lnTo>
                      <a:pt x="493" y="2325"/>
                    </a:lnTo>
                    <a:lnTo>
                      <a:pt x="496" y="2340"/>
                    </a:lnTo>
                    <a:lnTo>
                      <a:pt x="497" y="2356"/>
                    </a:lnTo>
                    <a:lnTo>
                      <a:pt x="497" y="2356"/>
                    </a:lnTo>
                    <a:lnTo>
                      <a:pt x="496" y="2370"/>
                    </a:lnTo>
                    <a:lnTo>
                      <a:pt x="493" y="2385"/>
                    </a:lnTo>
                    <a:lnTo>
                      <a:pt x="490" y="2397"/>
                    </a:lnTo>
                    <a:lnTo>
                      <a:pt x="484" y="2407"/>
                    </a:lnTo>
                    <a:lnTo>
                      <a:pt x="476" y="2415"/>
                    </a:lnTo>
                    <a:lnTo>
                      <a:pt x="468" y="2421"/>
                    </a:lnTo>
                    <a:lnTo>
                      <a:pt x="458" y="2425"/>
                    </a:lnTo>
                    <a:lnTo>
                      <a:pt x="447" y="2426"/>
                    </a:lnTo>
                    <a:lnTo>
                      <a:pt x="447" y="2426"/>
                    </a:lnTo>
                    <a:close/>
                    <a:moveTo>
                      <a:pt x="2498" y="2301"/>
                    </a:moveTo>
                    <a:lnTo>
                      <a:pt x="2498" y="2301"/>
                    </a:lnTo>
                    <a:lnTo>
                      <a:pt x="2489" y="2296"/>
                    </a:lnTo>
                    <a:lnTo>
                      <a:pt x="2479" y="2291"/>
                    </a:lnTo>
                    <a:lnTo>
                      <a:pt x="2468" y="2289"/>
                    </a:lnTo>
                    <a:lnTo>
                      <a:pt x="2458" y="2288"/>
                    </a:lnTo>
                    <a:lnTo>
                      <a:pt x="2458" y="2288"/>
                    </a:lnTo>
                    <a:lnTo>
                      <a:pt x="2447" y="2289"/>
                    </a:lnTo>
                    <a:lnTo>
                      <a:pt x="2439" y="2291"/>
                    </a:lnTo>
                    <a:lnTo>
                      <a:pt x="2432" y="2296"/>
                    </a:lnTo>
                    <a:lnTo>
                      <a:pt x="2425" y="2302"/>
                    </a:lnTo>
                    <a:lnTo>
                      <a:pt x="2421" y="2310"/>
                    </a:lnTo>
                    <a:lnTo>
                      <a:pt x="2417" y="2319"/>
                    </a:lnTo>
                    <a:lnTo>
                      <a:pt x="2415" y="2331"/>
                    </a:lnTo>
                    <a:lnTo>
                      <a:pt x="2415" y="2345"/>
                    </a:lnTo>
                    <a:lnTo>
                      <a:pt x="2415" y="2477"/>
                    </a:lnTo>
                    <a:lnTo>
                      <a:pt x="2354" y="2477"/>
                    </a:lnTo>
                    <a:lnTo>
                      <a:pt x="2354" y="2233"/>
                    </a:lnTo>
                    <a:lnTo>
                      <a:pt x="2415" y="2233"/>
                    </a:lnTo>
                    <a:lnTo>
                      <a:pt x="2415" y="2254"/>
                    </a:lnTo>
                    <a:lnTo>
                      <a:pt x="2415" y="2254"/>
                    </a:lnTo>
                    <a:lnTo>
                      <a:pt x="2419" y="2248"/>
                    </a:lnTo>
                    <a:lnTo>
                      <a:pt x="2425" y="2241"/>
                    </a:lnTo>
                    <a:lnTo>
                      <a:pt x="2432" y="2238"/>
                    </a:lnTo>
                    <a:lnTo>
                      <a:pt x="2439" y="2234"/>
                    </a:lnTo>
                    <a:lnTo>
                      <a:pt x="2446" y="2231"/>
                    </a:lnTo>
                    <a:lnTo>
                      <a:pt x="2453" y="2229"/>
                    </a:lnTo>
                    <a:lnTo>
                      <a:pt x="2461" y="2228"/>
                    </a:lnTo>
                    <a:lnTo>
                      <a:pt x="2468" y="2227"/>
                    </a:lnTo>
                    <a:lnTo>
                      <a:pt x="2468" y="2227"/>
                    </a:lnTo>
                    <a:lnTo>
                      <a:pt x="2480" y="2228"/>
                    </a:lnTo>
                    <a:lnTo>
                      <a:pt x="2492" y="2232"/>
                    </a:lnTo>
                    <a:lnTo>
                      <a:pt x="2504" y="2237"/>
                    </a:lnTo>
                    <a:lnTo>
                      <a:pt x="2514" y="2243"/>
                    </a:lnTo>
                    <a:lnTo>
                      <a:pt x="2498" y="2301"/>
                    </a:lnTo>
                    <a:close/>
                    <a:moveTo>
                      <a:pt x="2022" y="2233"/>
                    </a:moveTo>
                    <a:lnTo>
                      <a:pt x="2082" y="2233"/>
                    </a:lnTo>
                    <a:lnTo>
                      <a:pt x="2012" y="2477"/>
                    </a:lnTo>
                    <a:lnTo>
                      <a:pt x="1960" y="2477"/>
                    </a:lnTo>
                    <a:lnTo>
                      <a:pt x="1933" y="2376"/>
                    </a:lnTo>
                    <a:lnTo>
                      <a:pt x="1933" y="2376"/>
                    </a:lnTo>
                    <a:lnTo>
                      <a:pt x="1920" y="2323"/>
                    </a:lnTo>
                    <a:lnTo>
                      <a:pt x="1920" y="2323"/>
                    </a:lnTo>
                    <a:lnTo>
                      <a:pt x="1914" y="2348"/>
                    </a:lnTo>
                    <a:lnTo>
                      <a:pt x="1907" y="2378"/>
                    </a:lnTo>
                    <a:lnTo>
                      <a:pt x="1880" y="2477"/>
                    </a:lnTo>
                    <a:lnTo>
                      <a:pt x="1828" y="2477"/>
                    </a:lnTo>
                    <a:lnTo>
                      <a:pt x="1826" y="2476"/>
                    </a:lnTo>
                    <a:lnTo>
                      <a:pt x="1758" y="2233"/>
                    </a:lnTo>
                    <a:lnTo>
                      <a:pt x="1820" y="2233"/>
                    </a:lnTo>
                    <a:lnTo>
                      <a:pt x="1843" y="2324"/>
                    </a:lnTo>
                    <a:lnTo>
                      <a:pt x="1843" y="2324"/>
                    </a:lnTo>
                    <a:lnTo>
                      <a:pt x="1849" y="2353"/>
                    </a:lnTo>
                    <a:lnTo>
                      <a:pt x="1856" y="2384"/>
                    </a:lnTo>
                    <a:lnTo>
                      <a:pt x="1856" y="2384"/>
                    </a:lnTo>
                    <a:lnTo>
                      <a:pt x="1862" y="2353"/>
                    </a:lnTo>
                    <a:lnTo>
                      <a:pt x="1870" y="2323"/>
                    </a:lnTo>
                    <a:lnTo>
                      <a:pt x="1896" y="2233"/>
                    </a:lnTo>
                    <a:lnTo>
                      <a:pt x="1947" y="2233"/>
                    </a:lnTo>
                    <a:lnTo>
                      <a:pt x="1972" y="2323"/>
                    </a:lnTo>
                    <a:lnTo>
                      <a:pt x="1972" y="2323"/>
                    </a:lnTo>
                    <a:lnTo>
                      <a:pt x="1979" y="2352"/>
                    </a:lnTo>
                    <a:lnTo>
                      <a:pt x="1987" y="2385"/>
                    </a:lnTo>
                    <a:lnTo>
                      <a:pt x="1987" y="2385"/>
                    </a:lnTo>
                    <a:lnTo>
                      <a:pt x="1993" y="2357"/>
                    </a:lnTo>
                    <a:lnTo>
                      <a:pt x="2000" y="2323"/>
                    </a:lnTo>
                    <a:lnTo>
                      <a:pt x="2022" y="2233"/>
                    </a:lnTo>
                    <a:close/>
                    <a:moveTo>
                      <a:pt x="2204" y="2227"/>
                    </a:moveTo>
                    <a:lnTo>
                      <a:pt x="2204" y="2227"/>
                    </a:lnTo>
                    <a:lnTo>
                      <a:pt x="2193" y="2228"/>
                    </a:lnTo>
                    <a:lnTo>
                      <a:pt x="2181" y="2229"/>
                    </a:lnTo>
                    <a:lnTo>
                      <a:pt x="2170" y="2233"/>
                    </a:lnTo>
                    <a:lnTo>
                      <a:pt x="2161" y="2237"/>
                    </a:lnTo>
                    <a:lnTo>
                      <a:pt x="2151" y="2241"/>
                    </a:lnTo>
                    <a:lnTo>
                      <a:pt x="2141" y="2249"/>
                    </a:lnTo>
                    <a:lnTo>
                      <a:pt x="2133" y="2255"/>
                    </a:lnTo>
                    <a:lnTo>
                      <a:pt x="2125" y="2263"/>
                    </a:lnTo>
                    <a:lnTo>
                      <a:pt x="2118" y="2272"/>
                    </a:lnTo>
                    <a:lnTo>
                      <a:pt x="2112" y="2282"/>
                    </a:lnTo>
                    <a:lnTo>
                      <a:pt x="2106" y="2293"/>
                    </a:lnTo>
                    <a:lnTo>
                      <a:pt x="2102" y="2303"/>
                    </a:lnTo>
                    <a:lnTo>
                      <a:pt x="2099" y="2316"/>
                    </a:lnTo>
                    <a:lnTo>
                      <a:pt x="2095" y="2329"/>
                    </a:lnTo>
                    <a:lnTo>
                      <a:pt x="2094" y="2341"/>
                    </a:lnTo>
                    <a:lnTo>
                      <a:pt x="2094" y="2356"/>
                    </a:lnTo>
                    <a:lnTo>
                      <a:pt x="2094" y="2356"/>
                    </a:lnTo>
                    <a:lnTo>
                      <a:pt x="2094" y="2369"/>
                    </a:lnTo>
                    <a:lnTo>
                      <a:pt x="2095" y="2382"/>
                    </a:lnTo>
                    <a:lnTo>
                      <a:pt x="2099" y="2395"/>
                    </a:lnTo>
                    <a:lnTo>
                      <a:pt x="2102" y="2407"/>
                    </a:lnTo>
                    <a:lnTo>
                      <a:pt x="2106" y="2418"/>
                    </a:lnTo>
                    <a:lnTo>
                      <a:pt x="2112" y="2429"/>
                    </a:lnTo>
                    <a:lnTo>
                      <a:pt x="2118" y="2438"/>
                    </a:lnTo>
                    <a:lnTo>
                      <a:pt x="2125" y="2447"/>
                    </a:lnTo>
                    <a:lnTo>
                      <a:pt x="2133" y="2455"/>
                    </a:lnTo>
                    <a:lnTo>
                      <a:pt x="2141" y="2463"/>
                    </a:lnTo>
                    <a:lnTo>
                      <a:pt x="2151" y="2469"/>
                    </a:lnTo>
                    <a:lnTo>
                      <a:pt x="2161" y="2474"/>
                    </a:lnTo>
                    <a:lnTo>
                      <a:pt x="2170" y="2477"/>
                    </a:lnTo>
                    <a:lnTo>
                      <a:pt x="2181" y="2481"/>
                    </a:lnTo>
                    <a:lnTo>
                      <a:pt x="2193" y="2482"/>
                    </a:lnTo>
                    <a:lnTo>
                      <a:pt x="2204" y="2483"/>
                    </a:lnTo>
                    <a:lnTo>
                      <a:pt x="2204" y="2483"/>
                    </a:lnTo>
                    <a:lnTo>
                      <a:pt x="2216" y="2482"/>
                    </a:lnTo>
                    <a:lnTo>
                      <a:pt x="2229" y="2481"/>
                    </a:lnTo>
                    <a:lnTo>
                      <a:pt x="2240" y="2477"/>
                    </a:lnTo>
                    <a:lnTo>
                      <a:pt x="2249" y="2474"/>
                    </a:lnTo>
                    <a:lnTo>
                      <a:pt x="2259" y="2469"/>
                    </a:lnTo>
                    <a:lnTo>
                      <a:pt x="2269" y="2463"/>
                    </a:lnTo>
                    <a:lnTo>
                      <a:pt x="2277" y="2455"/>
                    </a:lnTo>
                    <a:lnTo>
                      <a:pt x="2284" y="2447"/>
                    </a:lnTo>
                    <a:lnTo>
                      <a:pt x="2292" y="2438"/>
                    </a:lnTo>
                    <a:lnTo>
                      <a:pt x="2298" y="2429"/>
                    </a:lnTo>
                    <a:lnTo>
                      <a:pt x="2303" y="2418"/>
                    </a:lnTo>
                    <a:lnTo>
                      <a:pt x="2308" y="2407"/>
                    </a:lnTo>
                    <a:lnTo>
                      <a:pt x="2311" y="2395"/>
                    </a:lnTo>
                    <a:lnTo>
                      <a:pt x="2314" y="2382"/>
                    </a:lnTo>
                    <a:lnTo>
                      <a:pt x="2316" y="2369"/>
                    </a:lnTo>
                    <a:lnTo>
                      <a:pt x="2316" y="2356"/>
                    </a:lnTo>
                    <a:lnTo>
                      <a:pt x="2316" y="2356"/>
                    </a:lnTo>
                    <a:lnTo>
                      <a:pt x="2316" y="2341"/>
                    </a:lnTo>
                    <a:lnTo>
                      <a:pt x="2314" y="2329"/>
                    </a:lnTo>
                    <a:lnTo>
                      <a:pt x="2311" y="2316"/>
                    </a:lnTo>
                    <a:lnTo>
                      <a:pt x="2308" y="2303"/>
                    </a:lnTo>
                    <a:lnTo>
                      <a:pt x="2303" y="2293"/>
                    </a:lnTo>
                    <a:lnTo>
                      <a:pt x="2298" y="2282"/>
                    </a:lnTo>
                    <a:lnTo>
                      <a:pt x="2292" y="2272"/>
                    </a:lnTo>
                    <a:lnTo>
                      <a:pt x="2284" y="2263"/>
                    </a:lnTo>
                    <a:lnTo>
                      <a:pt x="2277" y="2255"/>
                    </a:lnTo>
                    <a:lnTo>
                      <a:pt x="2269" y="2249"/>
                    </a:lnTo>
                    <a:lnTo>
                      <a:pt x="2259" y="2241"/>
                    </a:lnTo>
                    <a:lnTo>
                      <a:pt x="2249" y="2237"/>
                    </a:lnTo>
                    <a:lnTo>
                      <a:pt x="2240" y="2233"/>
                    </a:lnTo>
                    <a:lnTo>
                      <a:pt x="2229" y="2229"/>
                    </a:lnTo>
                    <a:lnTo>
                      <a:pt x="2216" y="2228"/>
                    </a:lnTo>
                    <a:lnTo>
                      <a:pt x="2204" y="2227"/>
                    </a:lnTo>
                    <a:lnTo>
                      <a:pt x="2204" y="2227"/>
                    </a:lnTo>
                    <a:close/>
                    <a:moveTo>
                      <a:pt x="2204" y="2426"/>
                    </a:moveTo>
                    <a:lnTo>
                      <a:pt x="2204" y="2426"/>
                    </a:lnTo>
                    <a:lnTo>
                      <a:pt x="2193" y="2425"/>
                    </a:lnTo>
                    <a:lnTo>
                      <a:pt x="2185" y="2421"/>
                    </a:lnTo>
                    <a:lnTo>
                      <a:pt x="2176" y="2415"/>
                    </a:lnTo>
                    <a:lnTo>
                      <a:pt x="2169" y="2407"/>
                    </a:lnTo>
                    <a:lnTo>
                      <a:pt x="2163" y="2397"/>
                    </a:lnTo>
                    <a:lnTo>
                      <a:pt x="2158" y="2385"/>
                    </a:lnTo>
                    <a:lnTo>
                      <a:pt x="2156" y="2370"/>
                    </a:lnTo>
                    <a:lnTo>
                      <a:pt x="2156" y="2356"/>
                    </a:lnTo>
                    <a:lnTo>
                      <a:pt x="2156" y="2356"/>
                    </a:lnTo>
                    <a:lnTo>
                      <a:pt x="2156" y="2340"/>
                    </a:lnTo>
                    <a:lnTo>
                      <a:pt x="2158" y="2327"/>
                    </a:lnTo>
                    <a:lnTo>
                      <a:pt x="2163" y="2314"/>
                    </a:lnTo>
                    <a:lnTo>
                      <a:pt x="2169" y="2303"/>
                    </a:lnTo>
                    <a:lnTo>
                      <a:pt x="2176" y="2295"/>
                    </a:lnTo>
                    <a:lnTo>
                      <a:pt x="2185" y="2289"/>
                    </a:lnTo>
                    <a:lnTo>
                      <a:pt x="2193" y="2285"/>
                    </a:lnTo>
                    <a:lnTo>
                      <a:pt x="2204" y="2284"/>
                    </a:lnTo>
                    <a:lnTo>
                      <a:pt x="2204" y="2284"/>
                    </a:lnTo>
                    <a:lnTo>
                      <a:pt x="2215" y="2285"/>
                    </a:lnTo>
                    <a:lnTo>
                      <a:pt x="2225" y="2289"/>
                    </a:lnTo>
                    <a:lnTo>
                      <a:pt x="2233" y="2295"/>
                    </a:lnTo>
                    <a:lnTo>
                      <a:pt x="2241" y="2303"/>
                    </a:lnTo>
                    <a:lnTo>
                      <a:pt x="2247" y="2314"/>
                    </a:lnTo>
                    <a:lnTo>
                      <a:pt x="2250" y="2327"/>
                    </a:lnTo>
                    <a:lnTo>
                      <a:pt x="2253" y="2340"/>
                    </a:lnTo>
                    <a:lnTo>
                      <a:pt x="2254" y="2356"/>
                    </a:lnTo>
                    <a:lnTo>
                      <a:pt x="2254" y="2356"/>
                    </a:lnTo>
                    <a:lnTo>
                      <a:pt x="2253" y="2370"/>
                    </a:lnTo>
                    <a:lnTo>
                      <a:pt x="2250" y="2385"/>
                    </a:lnTo>
                    <a:lnTo>
                      <a:pt x="2247" y="2397"/>
                    </a:lnTo>
                    <a:lnTo>
                      <a:pt x="2241" y="2407"/>
                    </a:lnTo>
                    <a:lnTo>
                      <a:pt x="2233" y="2415"/>
                    </a:lnTo>
                    <a:lnTo>
                      <a:pt x="2225" y="2421"/>
                    </a:lnTo>
                    <a:lnTo>
                      <a:pt x="2215" y="2425"/>
                    </a:lnTo>
                    <a:lnTo>
                      <a:pt x="2204" y="2426"/>
                    </a:lnTo>
                    <a:lnTo>
                      <a:pt x="2204" y="2426"/>
                    </a:lnTo>
                    <a:close/>
                    <a:moveTo>
                      <a:pt x="921" y="2313"/>
                    </a:moveTo>
                    <a:lnTo>
                      <a:pt x="995" y="2477"/>
                    </a:lnTo>
                    <a:lnTo>
                      <a:pt x="928" y="2477"/>
                    </a:lnTo>
                    <a:lnTo>
                      <a:pt x="877" y="2364"/>
                    </a:lnTo>
                    <a:lnTo>
                      <a:pt x="845" y="2404"/>
                    </a:lnTo>
                    <a:lnTo>
                      <a:pt x="845" y="2477"/>
                    </a:lnTo>
                    <a:lnTo>
                      <a:pt x="785" y="2477"/>
                    </a:lnTo>
                    <a:lnTo>
                      <a:pt x="785" y="2161"/>
                    </a:lnTo>
                    <a:lnTo>
                      <a:pt x="845" y="2131"/>
                    </a:lnTo>
                    <a:lnTo>
                      <a:pt x="845" y="2327"/>
                    </a:lnTo>
                    <a:lnTo>
                      <a:pt x="845" y="2327"/>
                    </a:lnTo>
                    <a:lnTo>
                      <a:pt x="868" y="2295"/>
                    </a:lnTo>
                    <a:lnTo>
                      <a:pt x="916" y="2233"/>
                    </a:lnTo>
                    <a:lnTo>
                      <a:pt x="987" y="2233"/>
                    </a:lnTo>
                    <a:lnTo>
                      <a:pt x="921" y="2313"/>
                    </a:lnTo>
                    <a:close/>
                    <a:moveTo>
                      <a:pt x="1208" y="2477"/>
                    </a:moveTo>
                    <a:lnTo>
                      <a:pt x="1147" y="2477"/>
                    </a:lnTo>
                    <a:lnTo>
                      <a:pt x="1147" y="2233"/>
                    </a:lnTo>
                    <a:lnTo>
                      <a:pt x="1208" y="2233"/>
                    </a:lnTo>
                    <a:lnTo>
                      <a:pt x="1208" y="2254"/>
                    </a:lnTo>
                    <a:lnTo>
                      <a:pt x="1208" y="2254"/>
                    </a:lnTo>
                    <a:lnTo>
                      <a:pt x="1214" y="2248"/>
                    </a:lnTo>
                    <a:lnTo>
                      <a:pt x="1220" y="2243"/>
                    </a:lnTo>
                    <a:lnTo>
                      <a:pt x="1227" y="2238"/>
                    </a:lnTo>
                    <a:lnTo>
                      <a:pt x="1235" y="2234"/>
                    </a:lnTo>
                    <a:lnTo>
                      <a:pt x="1243" y="2232"/>
                    </a:lnTo>
                    <a:lnTo>
                      <a:pt x="1252" y="2229"/>
                    </a:lnTo>
                    <a:lnTo>
                      <a:pt x="1260" y="2228"/>
                    </a:lnTo>
                    <a:lnTo>
                      <a:pt x="1270" y="2227"/>
                    </a:lnTo>
                    <a:lnTo>
                      <a:pt x="1270" y="2227"/>
                    </a:lnTo>
                    <a:lnTo>
                      <a:pt x="1281" y="2228"/>
                    </a:lnTo>
                    <a:lnTo>
                      <a:pt x="1290" y="2229"/>
                    </a:lnTo>
                    <a:lnTo>
                      <a:pt x="1299" y="2232"/>
                    </a:lnTo>
                    <a:lnTo>
                      <a:pt x="1309" y="2234"/>
                    </a:lnTo>
                    <a:lnTo>
                      <a:pt x="1316" y="2239"/>
                    </a:lnTo>
                    <a:lnTo>
                      <a:pt x="1323" y="2244"/>
                    </a:lnTo>
                    <a:lnTo>
                      <a:pt x="1331" y="2249"/>
                    </a:lnTo>
                    <a:lnTo>
                      <a:pt x="1337" y="2256"/>
                    </a:lnTo>
                    <a:lnTo>
                      <a:pt x="1342" y="2263"/>
                    </a:lnTo>
                    <a:lnTo>
                      <a:pt x="1346" y="2272"/>
                    </a:lnTo>
                    <a:lnTo>
                      <a:pt x="1350" y="2280"/>
                    </a:lnTo>
                    <a:lnTo>
                      <a:pt x="1354" y="2291"/>
                    </a:lnTo>
                    <a:lnTo>
                      <a:pt x="1356" y="2302"/>
                    </a:lnTo>
                    <a:lnTo>
                      <a:pt x="1357" y="2313"/>
                    </a:lnTo>
                    <a:lnTo>
                      <a:pt x="1359" y="2325"/>
                    </a:lnTo>
                    <a:lnTo>
                      <a:pt x="1360" y="2339"/>
                    </a:lnTo>
                    <a:lnTo>
                      <a:pt x="1360" y="2477"/>
                    </a:lnTo>
                    <a:lnTo>
                      <a:pt x="1299" y="2477"/>
                    </a:lnTo>
                    <a:lnTo>
                      <a:pt x="1299" y="2342"/>
                    </a:lnTo>
                    <a:lnTo>
                      <a:pt x="1299" y="2342"/>
                    </a:lnTo>
                    <a:lnTo>
                      <a:pt x="1298" y="2329"/>
                    </a:lnTo>
                    <a:lnTo>
                      <a:pt x="1297" y="2316"/>
                    </a:lnTo>
                    <a:lnTo>
                      <a:pt x="1293" y="2306"/>
                    </a:lnTo>
                    <a:lnTo>
                      <a:pt x="1288" y="2297"/>
                    </a:lnTo>
                    <a:lnTo>
                      <a:pt x="1282" y="2291"/>
                    </a:lnTo>
                    <a:lnTo>
                      <a:pt x="1275" y="2286"/>
                    </a:lnTo>
                    <a:lnTo>
                      <a:pt x="1265" y="2284"/>
                    </a:lnTo>
                    <a:lnTo>
                      <a:pt x="1254" y="2283"/>
                    </a:lnTo>
                    <a:lnTo>
                      <a:pt x="1254" y="2283"/>
                    </a:lnTo>
                    <a:lnTo>
                      <a:pt x="1244" y="2284"/>
                    </a:lnTo>
                    <a:lnTo>
                      <a:pt x="1235" y="2286"/>
                    </a:lnTo>
                    <a:lnTo>
                      <a:pt x="1226" y="2291"/>
                    </a:lnTo>
                    <a:lnTo>
                      <a:pt x="1220" y="2299"/>
                    </a:lnTo>
                    <a:lnTo>
                      <a:pt x="1215" y="2306"/>
                    </a:lnTo>
                    <a:lnTo>
                      <a:pt x="1212" y="2317"/>
                    </a:lnTo>
                    <a:lnTo>
                      <a:pt x="1209" y="2329"/>
                    </a:lnTo>
                    <a:lnTo>
                      <a:pt x="1208" y="2342"/>
                    </a:lnTo>
                    <a:lnTo>
                      <a:pt x="1208" y="2477"/>
                    </a:lnTo>
                    <a:close/>
                    <a:moveTo>
                      <a:pt x="1551" y="2250"/>
                    </a:moveTo>
                    <a:lnTo>
                      <a:pt x="1551" y="2250"/>
                    </a:lnTo>
                    <a:lnTo>
                      <a:pt x="1544" y="2245"/>
                    </a:lnTo>
                    <a:lnTo>
                      <a:pt x="1538" y="2240"/>
                    </a:lnTo>
                    <a:lnTo>
                      <a:pt x="1532" y="2237"/>
                    </a:lnTo>
                    <a:lnTo>
                      <a:pt x="1525" y="2233"/>
                    </a:lnTo>
                    <a:lnTo>
                      <a:pt x="1518" y="2231"/>
                    </a:lnTo>
                    <a:lnTo>
                      <a:pt x="1510" y="2229"/>
                    </a:lnTo>
                    <a:lnTo>
                      <a:pt x="1503" y="2228"/>
                    </a:lnTo>
                    <a:lnTo>
                      <a:pt x="1496" y="2227"/>
                    </a:lnTo>
                    <a:lnTo>
                      <a:pt x="1496" y="2227"/>
                    </a:lnTo>
                    <a:lnTo>
                      <a:pt x="1485" y="2228"/>
                    </a:lnTo>
                    <a:lnTo>
                      <a:pt x="1475" y="2229"/>
                    </a:lnTo>
                    <a:lnTo>
                      <a:pt x="1465" y="2232"/>
                    </a:lnTo>
                    <a:lnTo>
                      <a:pt x="1456" y="2237"/>
                    </a:lnTo>
                    <a:lnTo>
                      <a:pt x="1447" y="2240"/>
                    </a:lnTo>
                    <a:lnTo>
                      <a:pt x="1440" y="2246"/>
                    </a:lnTo>
                    <a:lnTo>
                      <a:pt x="1433" y="2254"/>
                    </a:lnTo>
                    <a:lnTo>
                      <a:pt x="1425" y="2261"/>
                    </a:lnTo>
                    <a:lnTo>
                      <a:pt x="1419" y="2269"/>
                    </a:lnTo>
                    <a:lnTo>
                      <a:pt x="1414" y="2279"/>
                    </a:lnTo>
                    <a:lnTo>
                      <a:pt x="1410" y="2289"/>
                    </a:lnTo>
                    <a:lnTo>
                      <a:pt x="1406" y="2301"/>
                    </a:lnTo>
                    <a:lnTo>
                      <a:pt x="1404" y="2312"/>
                    </a:lnTo>
                    <a:lnTo>
                      <a:pt x="1401" y="2325"/>
                    </a:lnTo>
                    <a:lnTo>
                      <a:pt x="1400" y="2339"/>
                    </a:lnTo>
                    <a:lnTo>
                      <a:pt x="1400" y="2352"/>
                    </a:lnTo>
                    <a:lnTo>
                      <a:pt x="1400" y="2352"/>
                    </a:lnTo>
                    <a:lnTo>
                      <a:pt x="1400" y="2368"/>
                    </a:lnTo>
                    <a:lnTo>
                      <a:pt x="1401" y="2381"/>
                    </a:lnTo>
                    <a:lnTo>
                      <a:pt x="1404" y="2395"/>
                    </a:lnTo>
                    <a:lnTo>
                      <a:pt x="1406" y="2408"/>
                    </a:lnTo>
                    <a:lnTo>
                      <a:pt x="1410" y="2419"/>
                    </a:lnTo>
                    <a:lnTo>
                      <a:pt x="1414" y="2430"/>
                    </a:lnTo>
                    <a:lnTo>
                      <a:pt x="1419" y="2440"/>
                    </a:lnTo>
                    <a:lnTo>
                      <a:pt x="1425" y="2448"/>
                    </a:lnTo>
                    <a:lnTo>
                      <a:pt x="1431" y="2457"/>
                    </a:lnTo>
                    <a:lnTo>
                      <a:pt x="1439" y="2463"/>
                    </a:lnTo>
                    <a:lnTo>
                      <a:pt x="1446" y="2469"/>
                    </a:lnTo>
                    <a:lnTo>
                      <a:pt x="1455" y="2474"/>
                    </a:lnTo>
                    <a:lnTo>
                      <a:pt x="1464" y="2477"/>
                    </a:lnTo>
                    <a:lnTo>
                      <a:pt x="1474" y="2481"/>
                    </a:lnTo>
                    <a:lnTo>
                      <a:pt x="1484" y="2482"/>
                    </a:lnTo>
                    <a:lnTo>
                      <a:pt x="1495" y="2483"/>
                    </a:lnTo>
                    <a:lnTo>
                      <a:pt x="1495" y="2483"/>
                    </a:lnTo>
                    <a:lnTo>
                      <a:pt x="1502" y="2482"/>
                    </a:lnTo>
                    <a:lnTo>
                      <a:pt x="1510" y="2481"/>
                    </a:lnTo>
                    <a:lnTo>
                      <a:pt x="1518" y="2480"/>
                    </a:lnTo>
                    <a:lnTo>
                      <a:pt x="1525" y="2477"/>
                    </a:lnTo>
                    <a:lnTo>
                      <a:pt x="1531" y="2474"/>
                    </a:lnTo>
                    <a:lnTo>
                      <a:pt x="1538" y="2470"/>
                    </a:lnTo>
                    <a:lnTo>
                      <a:pt x="1544" y="2465"/>
                    </a:lnTo>
                    <a:lnTo>
                      <a:pt x="1551" y="2459"/>
                    </a:lnTo>
                    <a:lnTo>
                      <a:pt x="1551" y="2465"/>
                    </a:lnTo>
                    <a:lnTo>
                      <a:pt x="1551" y="2465"/>
                    </a:lnTo>
                    <a:lnTo>
                      <a:pt x="1551" y="2475"/>
                    </a:lnTo>
                    <a:lnTo>
                      <a:pt x="1549" y="2486"/>
                    </a:lnTo>
                    <a:lnTo>
                      <a:pt x="1546" y="2497"/>
                    </a:lnTo>
                    <a:lnTo>
                      <a:pt x="1543" y="2502"/>
                    </a:lnTo>
                    <a:lnTo>
                      <a:pt x="1541" y="2506"/>
                    </a:lnTo>
                    <a:lnTo>
                      <a:pt x="1536" y="2511"/>
                    </a:lnTo>
                    <a:lnTo>
                      <a:pt x="1531" y="2516"/>
                    </a:lnTo>
                    <a:lnTo>
                      <a:pt x="1525" y="2520"/>
                    </a:lnTo>
                    <a:lnTo>
                      <a:pt x="1518" y="2524"/>
                    </a:lnTo>
                    <a:lnTo>
                      <a:pt x="1508" y="2526"/>
                    </a:lnTo>
                    <a:lnTo>
                      <a:pt x="1498" y="2528"/>
                    </a:lnTo>
                    <a:lnTo>
                      <a:pt x="1486" y="2530"/>
                    </a:lnTo>
                    <a:lnTo>
                      <a:pt x="1472" y="2530"/>
                    </a:lnTo>
                    <a:lnTo>
                      <a:pt x="1469" y="2530"/>
                    </a:lnTo>
                    <a:lnTo>
                      <a:pt x="1491" y="2577"/>
                    </a:lnTo>
                    <a:lnTo>
                      <a:pt x="1492" y="2577"/>
                    </a:lnTo>
                    <a:lnTo>
                      <a:pt x="1492" y="2577"/>
                    </a:lnTo>
                    <a:lnTo>
                      <a:pt x="1507" y="2577"/>
                    </a:lnTo>
                    <a:lnTo>
                      <a:pt x="1520" y="2576"/>
                    </a:lnTo>
                    <a:lnTo>
                      <a:pt x="1532" y="2572"/>
                    </a:lnTo>
                    <a:lnTo>
                      <a:pt x="1544" y="2570"/>
                    </a:lnTo>
                    <a:lnTo>
                      <a:pt x="1555" y="2565"/>
                    </a:lnTo>
                    <a:lnTo>
                      <a:pt x="1565" y="2560"/>
                    </a:lnTo>
                    <a:lnTo>
                      <a:pt x="1574" y="2554"/>
                    </a:lnTo>
                    <a:lnTo>
                      <a:pt x="1581" y="2547"/>
                    </a:lnTo>
                    <a:lnTo>
                      <a:pt x="1588" y="2538"/>
                    </a:lnTo>
                    <a:lnTo>
                      <a:pt x="1594" y="2530"/>
                    </a:lnTo>
                    <a:lnTo>
                      <a:pt x="1599" y="2519"/>
                    </a:lnTo>
                    <a:lnTo>
                      <a:pt x="1603" y="2508"/>
                    </a:lnTo>
                    <a:lnTo>
                      <a:pt x="1606" y="2497"/>
                    </a:lnTo>
                    <a:lnTo>
                      <a:pt x="1609" y="2483"/>
                    </a:lnTo>
                    <a:lnTo>
                      <a:pt x="1610" y="2470"/>
                    </a:lnTo>
                    <a:lnTo>
                      <a:pt x="1610" y="2455"/>
                    </a:lnTo>
                    <a:lnTo>
                      <a:pt x="1610" y="2233"/>
                    </a:lnTo>
                    <a:lnTo>
                      <a:pt x="1551" y="2233"/>
                    </a:lnTo>
                    <a:lnTo>
                      <a:pt x="1551" y="2250"/>
                    </a:lnTo>
                    <a:close/>
                    <a:moveTo>
                      <a:pt x="1551" y="2307"/>
                    </a:moveTo>
                    <a:lnTo>
                      <a:pt x="1551" y="2403"/>
                    </a:lnTo>
                    <a:lnTo>
                      <a:pt x="1551" y="2403"/>
                    </a:lnTo>
                    <a:lnTo>
                      <a:pt x="1542" y="2412"/>
                    </a:lnTo>
                    <a:lnTo>
                      <a:pt x="1534" y="2420"/>
                    </a:lnTo>
                    <a:lnTo>
                      <a:pt x="1527" y="2423"/>
                    </a:lnTo>
                    <a:lnTo>
                      <a:pt x="1521" y="2425"/>
                    </a:lnTo>
                    <a:lnTo>
                      <a:pt x="1515" y="2426"/>
                    </a:lnTo>
                    <a:lnTo>
                      <a:pt x="1507" y="2427"/>
                    </a:lnTo>
                    <a:lnTo>
                      <a:pt x="1507" y="2427"/>
                    </a:lnTo>
                    <a:lnTo>
                      <a:pt x="1499" y="2426"/>
                    </a:lnTo>
                    <a:lnTo>
                      <a:pt x="1491" y="2424"/>
                    </a:lnTo>
                    <a:lnTo>
                      <a:pt x="1484" y="2420"/>
                    </a:lnTo>
                    <a:lnTo>
                      <a:pt x="1476" y="2413"/>
                    </a:lnTo>
                    <a:lnTo>
                      <a:pt x="1470" y="2403"/>
                    </a:lnTo>
                    <a:lnTo>
                      <a:pt x="1465" y="2390"/>
                    </a:lnTo>
                    <a:lnTo>
                      <a:pt x="1463" y="2373"/>
                    </a:lnTo>
                    <a:lnTo>
                      <a:pt x="1462" y="2351"/>
                    </a:lnTo>
                    <a:lnTo>
                      <a:pt x="1462" y="2351"/>
                    </a:lnTo>
                    <a:lnTo>
                      <a:pt x="1463" y="2333"/>
                    </a:lnTo>
                    <a:lnTo>
                      <a:pt x="1465" y="2317"/>
                    </a:lnTo>
                    <a:lnTo>
                      <a:pt x="1470" y="2305"/>
                    </a:lnTo>
                    <a:lnTo>
                      <a:pt x="1476" y="2296"/>
                    </a:lnTo>
                    <a:lnTo>
                      <a:pt x="1484" y="2290"/>
                    </a:lnTo>
                    <a:lnTo>
                      <a:pt x="1491" y="2285"/>
                    </a:lnTo>
                    <a:lnTo>
                      <a:pt x="1499" y="2284"/>
                    </a:lnTo>
                    <a:lnTo>
                      <a:pt x="1507" y="2283"/>
                    </a:lnTo>
                    <a:lnTo>
                      <a:pt x="1507" y="2283"/>
                    </a:lnTo>
                    <a:lnTo>
                      <a:pt x="1515" y="2284"/>
                    </a:lnTo>
                    <a:lnTo>
                      <a:pt x="1523" y="2285"/>
                    </a:lnTo>
                    <a:lnTo>
                      <a:pt x="1529" y="2288"/>
                    </a:lnTo>
                    <a:lnTo>
                      <a:pt x="1535" y="2291"/>
                    </a:lnTo>
                    <a:lnTo>
                      <a:pt x="1540" y="2295"/>
                    </a:lnTo>
                    <a:lnTo>
                      <a:pt x="1543" y="2299"/>
                    </a:lnTo>
                    <a:lnTo>
                      <a:pt x="1551" y="2307"/>
                    </a:lnTo>
                    <a:lnTo>
                      <a:pt x="1551" y="2307"/>
                    </a:lnTo>
                    <a:close/>
                    <a:moveTo>
                      <a:pt x="1033" y="2233"/>
                    </a:moveTo>
                    <a:lnTo>
                      <a:pt x="1094" y="2233"/>
                    </a:lnTo>
                    <a:lnTo>
                      <a:pt x="1094" y="2341"/>
                    </a:lnTo>
                    <a:lnTo>
                      <a:pt x="1094" y="2477"/>
                    </a:lnTo>
                    <a:lnTo>
                      <a:pt x="1033" y="2477"/>
                    </a:lnTo>
                    <a:lnTo>
                      <a:pt x="1033" y="2233"/>
                    </a:lnTo>
                    <a:close/>
                    <a:moveTo>
                      <a:pt x="1094" y="2167"/>
                    </a:moveTo>
                    <a:lnTo>
                      <a:pt x="1094" y="2198"/>
                    </a:lnTo>
                    <a:lnTo>
                      <a:pt x="1033" y="2198"/>
                    </a:lnTo>
                    <a:lnTo>
                      <a:pt x="1033" y="2137"/>
                    </a:lnTo>
                    <a:lnTo>
                      <a:pt x="1094" y="2137"/>
                    </a:lnTo>
                    <a:lnTo>
                      <a:pt x="1094" y="2167"/>
                    </a:lnTo>
                    <a:close/>
                    <a:moveTo>
                      <a:pt x="2542" y="2161"/>
                    </a:moveTo>
                    <a:lnTo>
                      <a:pt x="2603" y="2131"/>
                    </a:lnTo>
                    <a:lnTo>
                      <a:pt x="2603" y="2352"/>
                    </a:lnTo>
                    <a:lnTo>
                      <a:pt x="2603" y="2477"/>
                    </a:lnTo>
                    <a:lnTo>
                      <a:pt x="2542" y="2477"/>
                    </a:lnTo>
                    <a:lnTo>
                      <a:pt x="2542" y="2161"/>
                    </a:lnTo>
                    <a:close/>
                    <a:moveTo>
                      <a:pt x="437" y="834"/>
                    </a:moveTo>
                    <a:lnTo>
                      <a:pt x="936" y="834"/>
                    </a:lnTo>
                    <a:lnTo>
                      <a:pt x="936" y="544"/>
                    </a:lnTo>
                    <a:lnTo>
                      <a:pt x="437" y="544"/>
                    </a:lnTo>
                    <a:lnTo>
                      <a:pt x="437" y="317"/>
                    </a:lnTo>
                    <a:lnTo>
                      <a:pt x="989" y="317"/>
                    </a:lnTo>
                    <a:lnTo>
                      <a:pt x="806" y="0"/>
                    </a:lnTo>
                    <a:lnTo>
                      <a:pt x="24" y="0"/>
                    </a:lnTo>
                    <a:lnTo>
                      <a:pt x="24" y="1378"/>
                    </a:lnTo>
                    <a:lnTo>
                      <a:pt x="1126" y="1378"/>
                    </a:lnTo>
                    <a:lnTo>
                      <a:pt x="1126" y="1061"/>
                    </a:lnTo>
                    <a:lnTo>
                      <a:pt x="437" y="1061"/>
                    </a:lnTo>
                    <a:lnTo>
                      <a:pt x="437" y="834"/>
                    </a:lnTo>
                    <a:close/>
                    <a:moveTo>
                      <a:pt x="1860" y="0"/>
                    </a:moveTo>
                    <a:lnTo>
                      <a:pt x="1626" y="450"/>
                    </a:lnTo>
                    <a:lnTo>
                      <a:pt x="1393" y="0"/>
                    </a:lnTo>
                    <a:lnTo>
                      <a:pt x="936" y="0"/>
                    </a:lnTo>
                    <a:lnTo>
                      <a:pt x="1417" y="834"/>
                    </a:lnTo>
                    <a:lnTo>
                      <a:pt x="1417" y="1378"/>
                    </a:lnTo>
                    <a:lnTo>
                      <a:pt x="1829" y="1378"/>
                    </a:lnTo>
                    <a:lnTo>
                      <a:pt x="1829" y="834"/>
                    </a:lnTo>
                    <a:lnTo>
                      <a:pt x="2311" y="0"/>
                    </a:lnTo>
                    <a:lnTo>
                      <a:pt x="18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</p:grpSp>
        <p:sp>
          <p:nvSpPr>
            <p:cNvPr id="40" name="Content Placeholder 5">
              <a:extLst>
                <a:ext uri="{FF2B5EF4-FFF2-40B4-BE49-F238E27FC236}">
                  <a16:creationId xmlns:a16="http://schemas.microsoft.com/office/drawing/2014/main" id="{2309BDEA-EC4A-4EE2-98FE-E0E3AB00628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28588" y="-12187"/>
              <a:ext cx="799089" cy="310587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Context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&amp; Scope</a:t>
              </a:r>
            </a:p>
          </p:txBody>
        </p:sp>
        <p:sp>
          <p:nvSpPr>
            <p:cNvPr id="41" name="Content Placeholder 5">
              <a:extLst>
                <a:ext uri="{FF2B5EF4-FFF2-40B4-BE49-F238E27FC236}">
                  <a16:creationId xmlns:a16="http://schemas.microsoft.com/office/drawing/2014/main" id="{8717AFB5-BFBC-4653-8811-6400EDDD7AB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653573" y="1246"/>
              <a:ext cx="1008804" cy="283721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en-US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 Timeline</a:t>
              </a:r>
            </a:p>
          </p:txBody>
        </p:sp>
        <p:sp>
          <p:nvSpPr>
            <p:cNvPr id="42" name="Content Placeholder 5">
              <a:extLst>
                <a:ext uri="{FF2B5EF4-FFF2-40B4-BE49-F238E27FC236}">
                  <a16:creationId xmlns:a16="http://schemas.microsoft.com/office/drawing/2014/main" id="{799E076D-E1D9-4A31-A735-197806A61DF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77810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Detailed Scope &amp; Assumptions</a:t>
              </a:r>
            </a:p>
          </p:txBody>
        </p:sp>
        <p:sp>
          <p:nvSpPr>
            <p:cNvPr id="43" name="Content Placeholder 5">
              <a:extLst>
                <a:ext uri="{FF2B5EF4-FFF2-40B4-BE49-F238E27FC236}">
                  <a16:creationId xmlns:a16="http://schemas.microsoft.com/office/drawing/2014/main" id="{454FE0BC-CCCD-42F8-9F3E-EB2CC3C03EA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97101" y="47457"/>
              <a:ext cx="1279397" cy="191298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Solution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roach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4" name="Content Placeholder 5">
              <a:extLst>
                <a:ext uri="{FF2B5EF4-FFF2-40B4-BE49-F238E27FC236}">
                  <a16:creationId xmlns:a16="http://schemas.microsoft.com/office/drawing/2014/main" id="{E8F91C0A-24BC-4190-AA89-57B1F155119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45922" y="75112"/>
              <a:ext cx="1138227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Project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</a:t>
              </a: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Team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</a:t>
              </a: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&amp; </a:t>
              </a:r>
              <a:r>
                <a:rPr lang="fr-FR" sz="800" b="1" kern="0" err="1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Governance</a:t>
              </a:r>
              <a:endParaRPr lang="fr-FR" sz="800" b="1" kern="0">
                <a:solidFill>
                  <a:srgbClr val="FFE600"/>
                </a:solidFill>
                <a:latin typeface="EYInterstate Bold" panose="02000803030000020004" pitchFamily="2" charset="0"/>
                <a:ea typeface="+mn-ea"/>
                <a:cs typeface="+mn-cs"/>
              </a:endParaRPr>
            </a:p>
          </p:txBody>
        </p:sp>
        <p:sp>
          <p:nvSpPr>
            <p:cNvPr id="45" name="Content Placeholder 5">
              <a:extLst>
                <a:ext uri="{FF2B5EF4-FFF2-40B4-BE49-F238E27FC236}">
                  <a16:creationId xmlns:a16="http://schemas.microsoft.com/office/drawing/2014/main" id="{A1662F93-54EA-4D63-9955-F1DB383FF49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31801" y="75112"/>
              <a:ext cx="1097554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Value Proposition</a:t>
              </a:r>
            </a:p>
          </p:txBody>
        </p:sp>
        <p:sp>
          <p:nvSpPr>
            <p:cNvPr id="46" name="Content Placeholder 5">
              <a:extLst>
                <a:ext uri="{FF2B5EF4-FFF2-40B4-BE49-F238E27FC236}">
                  <a16:creationId xmlns:a16="http://schemas.microsoft.com/office/drawing/2014/main" id="{7A40D057-0D4D-4BD4-9B5B-A9543DE8EA4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734717" y="79567"/>
              <a:ext cx="773670" cy="12707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Teams Profiles</a:t>
              </a:r>
            </a:p>
          </p:txBody>
        </p:sp>
        <p:sp>
          <p:nvSpPr>
            <p:cNvPr id="47" name="Content Placeholder 5">
              <a:extLst>
                <a:ext uri="{FF2B5EF4-FFF2-40B4-BE49-F238E27FC236}">
                  <a16:creationId xmlns:a16="http://schemas.microsoft.com/office/drawing/2014/main" id="{1980ECD7-36AB-45A9-90D1-306265FE701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98779" y="54928"/>
              <a:ext cx="866515" cy="1763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Credentials</a:t>
              </a:r>
            </a:p>
          </p:txBody>
        </p:sp>
        <p:sp>
          <p:nvSpPr>
            <p:cNvPr id="48" name="Content Placeholder 5">
              <a:extLst>
                <a:ext uri="{FF2B5EF4-FFF2-40B4-BE49-F238E27FC236}">
                  <a16:creationId xmlns:a16="http://schemas.microsoft.com/office/drawing/2014/main" id="{45C68673-FED3-44CF-9323-7066BDF79C3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229765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end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17035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42A0C30A-B037-4E43-9261-312322FBD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14"/>
          <a:stretch/>
        </p:blipFill>
        <p:spPr>
          <a:xfrm>
            <a:off x="1" y="3175"/>
            <a:ext cx="12195172" cy="6854825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948123"/>
              </p:ext>
            </p:ext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9" name="Freeform 198"/>
          <p:cNvSpPr/>
          <p:nvPr userDrawn="1"/>
        </p:nvSpPr>
        <p:spPr>
          <a:xfrm>
            <a:off x="418882" y="396876"/>
            <a:ext cx="5735825" cy="3714552"/>
          </a:xfrm>
          <a:custGeom>
            <a:avLst/>
            <a:gdLst>
              <a:gd name="connsiteX0" fmla="*/ 5738812 w 5738812"/>
              <a:gd name="connsiteY0" fmla="*/ 0 h 3714552"/>
              <a:gd name="connsiteX1" fmla="*/ 5738812 w 5738812"/>
              <a:gd name="connsiteY1" fmla="*/ 3714552 h 3714552"/>
              <a:gd name="connsiteX2" fmla="*/ 0 w 5738812"/>
              <a:gd name="connsiteY2" fmla="*/ 3714552 h 3714552"/>
              <a:gd name="connsiteX3" fmla="*/ 0 w 5738812"/>
              <a:gd name="connsiteY3" fmla="*/ 1011908 h 3714552"/>
              <a:gd name="connsiteX4" fmla="*/ 5738812 w 5738812"/>
              <a:gd name="connsiteY4" fmla="*/ 0 h 371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8812" h="3714552">
                <a:moveTo>
                  <a:pt x="5738812" y="0"/>
                </a:moveTo>
                <a:lnTo>
                  <a:pt x="5738812" y="3714552"/>
                </a:lnTo>
                <a:lnTo>
                  <a:pt x="0" y="3714552"/>
                </a:lnTo>
                <a:lnTo>
                  <a:pt x="0" y="1011908"/>
                </a:lnTo>
                <a:lnTo>
                  <a:pt x="5738812" y="0"/>
                </a:lnTo>
                <a:close/>
              </a:path>
            </a:pathLst>
          </a:cu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98139" y="1725816"/>
            <a:ext cx="4980145" cy="860400"/>
          </a:xfrm>
        </p:spPr>
        <p:txBody>
          <a:bodyPr/>
          <a:lstStyle>
            <a:lvl1pPr>
              <a:defRPr>
                <a:solidFill>
                  <a:srgbClr val="333333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798139" y="2713368"/>
            <a:ext cx="498014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333333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4FBAEEF7-E263-413E-ABFA-0B7FC7937BD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9724" y="5162667"/>
            <a:ext cx="987516" cy="1156968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126C57EF-AB84-4BB0-9BA8-61E9F8057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B7D9CA4D-1208-494D-9DD0-DB9E3DAB1D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53315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7034" cy="860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543597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44585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487210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13011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79E910-7CFE-41D0-BD32-A43268A790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283" y="1137920"/>
            <a:ext cx="10975022" cy="4756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IN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430936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149232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808447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9111" y="869577"/>
            <a:ext cx="4845500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41291676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15021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104670"/>
              </p:ext>
            </p:extLst>
          </p:nvPr>
        </p:nvGraphicFramePr>
        <p:xfrm>
          <a:off x="2121" y="1594"/>
          <a:ext cx="211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CB083FE1-E99D-44D7-999D-47CFE928C923}"/>
              </a:ext>
            </a:extLst>
          </p:cNvPr>
          <p:cNvSpPr/>
          <p:nvPr userDrawn="1"/>
        </p:nvSpPr>
        <p:spPr>
          <a:xfrm>
            <a:off x="-792287" y="600412"/>
            <a:ext cx="1181100" cy="0"/>
          </a:xfrm>
          <a:custGeom>
            <a:avLst/>
            <a:gdLst>
              <a:gd name="connsiteX0" fmla="*/ 0 w 1181100"/>
              <a:gd name="connsiteY0" fmla="*/ 0 h 0"/>
              <a:gd name="connsiteX1" fmla="*/ 1181100 w 1181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81100">
                <a:moveTo>
                  <a:pt x="0" y="0"/>
                </a:moveTo>
                <a:lnTo>
                  <a:pt x="1181100" y="0"/>
                </a:lnTo>
              </a:path>
            </a:pathLst>
          </a:cu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ED65D4E-691A-4FBD-BE99-95B5192433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478450"/>
            <a:ext cx="11175818" cy="476462"/>
          </a:xfrm>
        </p:spPr>
        <p:txBody>
          <a:bodyPr numCol="1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lang="en-US" sz="1600" b="0" kern="1200" cap="none" baseline="0" noProof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marL="169790" indent="0">
              <a:buNone/>
              <a:defRPr/>
            </a:lvl2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0" name="Rectangle 36">
            <a:extLst>
              <a:ext uri="{FF2B5EF4-FFF2-40B4-BE49-F238E27FC236}">
                <a16:creationId xmlns:a16="http://schemas.microsoft.com/office/drawing/2014/main" id="{B7B7CC29-EB94-49A6-83FA-332151D992B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99441" y="6544316"/>
            <a:ext cx="284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EY Consulting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2485583-0C76-4A35-B6DC-F19C55B14B90}"/>
              </a:ext>
            </a:extLst>
          </p:cNvPr>
          <p:cNvGrpSpPr/>
          <p:nvPr userDrawn="1"/>
        </p:nvGrpSpPr>
        <p:grpSpPr>
          <a:xfrm>
            <a:off x="0" y="-2662"/>
            <a:ext cx="12212298" cy="362728"/>
            <a:chOff x="0" y="-12187"/>
            <a:chExt cx="12212298" cy="362728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778ED9B6-DCAF-4B39-AAEF-2227A78A448E}"/>
                </a:ext>
              </a:extLst>
            </p:cNvPr>
            <p:cNvGrpSpPr/>
            <p:nvPr userDrawn="1"/>
          </p:nvGrpSpPr>
          <p:grpSpPr>
            <a:xfrm>
              <a:off x="0" y="1"/>
              <a:ext cx="12192000" cy="350540"/>
              <a:chOff x="0" y="1"/>
              <a:chExt cx="12192000" cy="350540"/>
            </a:xfrm>
          </p:grpSpPr>
          <p:sp>
            <p:nvSpPr>
              <p:cNvPr id="51" name="AutoShape 4">
                <a:extLst>
                  <a:ext uri="{FF2B5EF4-FFF2-40B4-BE49-F238E27FC236}">
                    <a16:creationId xmlns:a16="http://schemas.microsoft.com/office/drawing/2014/main" id="{EF2CC654-B3B3-453E-BEEE-A761592076F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4680" y="68072"/>
                <a:ext cx="167539" cy="200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87A772AE-AE8E-4EF2-ADD5-9B4F58A4AC4E}"/>
                  </a:ext>
                </a:extLst>
              </p:cNvPr>
              <p:cNvGrpSpPr/>
              <p:nvPr userDrawn="1"/>
            </p:nvGrpSpPr>
            <p:grpSpPr>
              <a:xfrm>
                <a:off x="0" y="1"/>
                <a:ext cx="12192000" cy="350540"/>
                <a:chOff x="0" y="1"/>
                <a:chExt cx="12192000" cy="350540"/>
              </a:xfrm>
            </p:grpSpPr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4BE07285-67E7-4702-8191-F4038BC7904B}"/>
                    </a:ext>
                  </a:extLst>
                </p:cNvPr>
                <p:cNvSpPr/>
                <p:nvPr userDrawn="1"/>
              </p:nvSpPr>
              <p:spPr>
                <a:xfrm>
                  <a:off x="0" y="1"/>
                  <a:ext cx="12192000" cy="350540"/>
                </a:xfrm>
                <a:prstGeom prst="rect">
                  <a:avLst/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50DCF7DA-6012-4722-A926-2A31374A0D15}"/>
                    </a:ext>
                  </a:extLst>
                </p:cNvPr>
                <p:cNvGrpSpPr/>
                <p:nvPr userDrawn="1"/>
              </p:nvGrpSpPr>
              <p:grpSpPr>
                <a:xfrm>
                  <a:off x="81557" y="51130"/>
                  <a:ext cx="11861822" cy="211888"/>
                  <a:chOff x="81557" y="51130"/>
                  <a:chExt cx="11861822" cy="211888"/>
                </a:xfrm>
              </p:grpSpPr>
              <p:grpSp>
                <p:nvGrpSpPr>
                  <p:cNvPr id="56" name="Group 55">
                    <a:extLst>
                      <a:ext uri="{FF2B5EF4-FFF2-40B4-BE49-F238E27FC236}">
                        <a16:creationId xmlns:a16="http://schemas.microsoft.com/office/drawing/2014/main" id="{F120027E-54C2-4766-9762-9812972C119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81557" y="62687"/>
                    <a:ext cx="167539" cy="200331"/>
                    <a:chOff x="784680" y="68072"/>
                    <a:chExt cx="167539" cy="200331"/>
                  </a:xfrm>
                </p:grpSpPr>
                <p:sp>
                  <p:nvSpPr>
                    <p:cNvPr id="65" name="Freeform 6">
                      <a:extLst>
                        <a:ext uri="{FF2B5EF4-FFF2-40B4-BE49-F238E27FC236}">
                          <a16:creationId xmlns:a16="http://schemas.microsoft.com/office/drawing/2014/main" id="{DAA04755-91C6-4DA5-BDE0-3363EE9CB3A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84680" y="68072"/>
                      <a:ext cx="134278" cy="50020"/>
                    </a:xfrm>
                    <a:custGeom>
                      <a:avLst/>
                      <a:gdLst>
                        <a:gd name="T0" fmla="*/ 2723 w 2723"/>
                        <a:gd name="T1" fmla="*/ 0 h 994"/>
                        <a:gd name="T2" fmla="*/ 0 w 2723"/>
                        <a:gd name="T3" fmla="*/ 994 h 994"/>
                        <a:gd name="T4" fmla="*/ 2723 w 2723"/>
                        <a:gd name="T5" fmla="*/ 513 h 994"/>
                        <a:gd name="T6" fmla="*/ 2723 w 2723"/>
                        <a:gd name="T7" fmla="*/ 0 h 9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723" h="994">
                          <a:moveTo>
                            <a:pt x="2723" y="0"/>
                          </a:moveTo>
                          <a:lnTo>
                            <a:pt x="0" y="994"/>
                          </a:lnTo>
                          <a:lnTo>
                            <a:pt x="2723" y="513"/>
                          </a:lnTo>
                          <a:lnTo>
                            <a:pt x="2723" y="0"/>
                          </a:lnTo>
                          <a:close/>
                        </a:path>
                      </a:pathLst>
                    </a:custGeom>
                    <a:solidFill>
                      <a:srgbClr val="F7DF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  <p:sp>
                  <p:nvSpPr>
                    <p:cNvPr id="66" name="Freeform 7">
                      <a:extLst>
                        <a:ext uri="{FF2B5EF4-FFF2-40B4-BE49-F238E27FC236}">
                          <a16:creationId xmlns:a16="http://schemas.microsoft.com/office/drawing/2014/main" id="{9C73D11A-6EC7-46E4-9A46-7BB78D006751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84680" y="138954"/>
                      <a:ext cx="167539" cy="129449"/>
                    </a:xfrm>
                    <a:custGeom>
                      <a:avLst/>
                      <a:gdLst>
                        <a:gd name="T0" fmla="*/ 256 w 3400"/>
                        <a:gd name="T1" fmla="*/ 1749 h 2577"/>
                        <a:gd name="T2" fmla="*/ 278 w 3400"/>
                        <a:gd name="T3" fmla="*/ 1978 h 2577"/>
                        <a:gd name="T4" fmla="*/ 166 w 3400"/>
                        <a:gd name="T5" fmla="*/ 1993 h 2577"/>
                        <a:gd name="T6" fmla="*/ 386 w 3400"/>
                        <a:gd name="T7" fmla="*/ 1940 h 2577"/>
                        <a:gd name="T8" fmla="*/ 458 w 3400"/>
                        <a:gd name="T9" fmla="*/ 2046 h 2577"/>
                        <a:gd name="T10" fmla="*/ 1255 w 3400"/>
                        <a:gd name="T11" fmla="*/ 1820 h 2577"/>
                        <a:gd name="T12" fmla="*/ 1339 w 3400"/>
                        <a:gd name="T13" fmla="*/ 1914 h 2577"/>
                        <a:gd name="T14" fmla="*/ 767 w 3400"/>
                        <a:gd name="T15" fmla="*/ 1703 h 2577"/>
                        <a:gd name="T16" fmla="*/ 813 w 3400"/>
                        <a:gd name="T17" fmla="*/ 1884 h 2577"/>
                        <a:gd name="T18" fmla="*/ 947 w 3400"/>
                        <a:gd name="T19" fmla="*/ 2042 h 2577"/>
                        <a:gd name="T20" fmla="*/ 916 w 3400"/>
                        <a:gd name="T21" fmla="*/ 1855 h 2577"/>
                        <a:gd name="T22" fmla="*/ 2225 w 3400"/>
                        <a:gd name="T23" fmla="*/ 2049 h 2577"/>
                        <a:gd name="T24" fmla="*/ 2376 w 3400"/>
                        <a:gd name="T25" fmla="*/ 1924 h 2577"/>
                        <a:gd name="T26" fmla="*/ 2312 w 3400"/>
                        <a:gd name="T27" fmla="*/ 1906 h 2577"/>
                        <a:gd name="T28" fmla="*/ 2267 w 3400"/>
                        <a:gd name="T29" fmla="*/ 1855 h 2577"/>
                        <a:gd name="T30" fmla="*/ 1441 w 3400"/>
                        <a:gd name="T31" fmla="*/ 1911 h 2577"/>
                        <a:gd name="T32" fmla="*/ 1591 w 3400"/>
                        <a:gd name="T33" fmla="*/ 2031 h 2577"/>
                        <a:gd name="T34" fmla="*/ 1622 w 3400"/>
                        <a:gd name="T35" fmla="*/ 2119 h 2577"/>
                        <a:gd name="T36" fmla="*/ 1507 w 3400"/>
                        <a:gd name="T37" fmla="*/ 1962 h 2577"/>
                        <a:gd name="T38" fmla="*/ 1902 w 3400"/>
                        <a:gd name="T39" fmla="*/ 1848 h 2577"/>
                        <a:gd name="T40" fmla="*/ 1797 w 3400"/>
                        <a:gd name="T41" fmla="*/ 1958 h 2577"/>
                        <a:gd name="T42" fmla="*/ 2006 w 3400"/>
                        <a:gd name="T43" fmla="*/ 1884 h 2577"/>
                        <a:gd name="T44" fmla="*/ 1857 w 3400"/>
                        <a:gd name="T45" fmla="*/ 1968 h 2577"/>
                        <a:gd name="T46" fmla="*/ 1881 w 3400"/>
                        <a:gd name="T47" fmla="*/ 2002 h 2577"/>
                        <a:gd name="T48" fmla="*/ 2467 w 3400"/>
                        <a:gd name="T49" fmla="*/ 1946 h 2577"/>
                        <a:gd name="T50" fmla="*/ 2452 w 3400"/>
                        <a:gd name="T51" fmla="*/ 1821 h 2577"/>
                        <a:gd name="T52" fmla="*/ 2521 w 3400"/>
                        <a:gd name="T53" fmla="*/ 2055 h 2577"/>
                        <a:gd name="T54" fmla="*/ 2555 w 3400"/>
                        <a:gd name="T55" fmla="*/ 1883 h 2577"/>
                        <a:gd name="T56" fmla="*/ 3202 w 3400"/>
                        <a:gd name="T57" fmla="*/ 1928 h 2577"/>
                        <a:gd name="T58" fmla="*/ 3006 w 3400"/>
                        <a:gd name="T59" fmla="*/ 1854 h 2577"/>
                        <a:gd name="T60" fmla="*/ 3140 w 3400"/>
                        <a:gd name="T61" fmla="*/ 2049 h 2577"/>
                        <a:gd name="T62" fmla="*/ 2905 w 3400"/>
                        <a:gd name="T63" fmla="*/ 1964 h 2577"/>
                        <a:gd name="T64" fmla="*/ 2868 w 3400"/>
                        <a:gd name="T65" fmla="*/ 2041 h 2577"/>
                        <a:gd name="T66" fmla="*/ 2713 w 3400"/>
                        <a:gd name="T67" fmla="*/ 2051 h 2577"/>
                        <a:gd name="T68" fmla="*/ 2747 w 3400"/>
                        <a:gd name="T69" fmla="*/ 1996 h 2577"/>
                        <a:gd name="T70" fmla="*/ 3300 w 3400"/>
                        <a:gd name="T71" fmla="*/ 1805 h 2577"/>
                        <a:gd name="T72" fmla="*/ 1073 w 3400"/>
                        <a:gd name="T73" fmla="*/ 2049 h 2577"/>
                        <a:gd name="T74" fmla="*/ 2660 w 3400"/>
                        <a:gd name="T75" fmla="*/ 2279 h 2577"/>
                        <a:gd name="T76" fmla="*/ 2763 w 3400"/>
                        <a:gd name="T77" fmla="*/ 2480 h 2577"/>
                        <a:gd name="T78" fmla="*/ 2737 w 3400"/>
                        <a:gd name="T79" fmla="*/ 2285 h 2577"/>
                        <a:gd name="T80" fmla="*/ 690 w 3400"/>
                        <a:gd name="T81" fmla="*/ 2289 h 2577"/>
                        <a:gd name="T82" fmla="*/ 740 w 3400"/>
                        <a:gd name="T83" fmla="*/ 2301 h 2577"/>
                        <a:gd name="T84" fmla="*/ 222 w 3400"/>
                        <a:gd name="T85" fmla="*/ 2352 h 2577"/>
                        <a:gd name="T86" fmla="*/ 341 w 3400"/>
                        <a:gd name="T87" fmla="*/ 2395 h 2577"/>
                        <a:gd name="T88" fmla="*/ 554 w 3400"/>
                        <a:gd name="T89" fmla="*/ 2395 h 2577"/>
                        <a:gd name="T90" fmla="*/ 412 w 3400"/>
                        <a:gd name="T91" fmla="*/ 2407 h 2577"/>
                        <a:gd name="T92" fmla="*/ 484 w 3400"/>
                        <a:gd name="T93" fmla="*/ 2407 h 2577"/>
                        <a:gd name="T94" fmla="*/ 2419 w 3400"/>
                        <a:gd name="T95" fmla="*/ 2248 h 2577"/>
                        <a:gd name="T96" fmla="*/ 1758 w 3400"/>
                        <a:gd name="T97" fmla="*/ 2233 h 2577"/>
                        <a:gd name="T98" fmla="*/ 2133 w 3400"/>
                        <a:gd name="T99" fmla="*/ 2255 h 2577"/>
                        <a:gd name="T100" fmla="*/ 2204 w 3400"/>
                        <a:gd name="T101" fmla="*/ 2483 h 2577"/>
                        <a:gd name="T102" fmla="*/ 2269 w 3400"/>
                        <a:gd name="T103" fmla="*/ 2249 h 2577"/>
                        <a:gd name="T104" fmla="*/ 2204 w 3400"/>
                        <a:gd name="T105" fmla="*/ 2284 h 2577"/>
                        <a:gd name="T106" fmla="*/ 845 w 3400"/>
                        <a:gd name="T107" fmla="*/ 2131 h 2577"/>
                        <a:gd name="T108" fmla="*/ 1323 w 3400"/>
                        <a:gd name="T109" fmla="*/ 2244 h 2577"/>
                        <a:gd name="T110" fmla="*/ 1220 w 3400"/>
                        <a:gd name="T111" fmla="*/ 2299 h 2577"/>
                        <a:gd name="T112" fmla="*/ 1410 w 3400"/>
                        <a:gd name="T113" fmla="*/ 2289 h 2577"/>
                        <a:gd name="T114" fmla="*/ 1525 w 3400"/>
                        <a:gd name="T115" fmla="*/ 2477 h 2577"/>
                        <a:gd name="T116" fmla="*/ 1544 w 3400"/>
                        <a:gd name="T117" fmla="*/ 2570 h 2577"/>
                        <a:gd name="T118" fmla="*/ 1491 w 3400"/>
                        <a:gd name="T119" fmla="*/ 2424 h 2577"/>
                        <a:gd name="T120" fmla="*/ 1094 w 3400"/>
                        <a:gd name="T121" fmla="*/ 2341 h 2577"/>
                        <a:gd name="T122" fmla="*/ 437 w 3400"/>
                        <a:gd name="T123" fmla="*/ 1061 h 25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3400" h="2577">
                          <a:moveTo>
                            <a:pt x="283" y="1942"/>
                          </a:moveTo>
                          <a:lnTo>
                            <a:pt x="283" y="1942"/>
                          </a:lnTo>
                          <a:lnTo>
                            <a:pt x="283" y="1934"/>
                          </a:lnTo>
                          <a:lnTo>
                            <a:pt x="282" y="1927"/>
                          </a:lnTo>
                          <a:lnTo>
                            <a:pt x="278" y="1912"/>
                          </a:lnTo>
                          <a:lnTo>
                            <a:pt x="272" y="1900"/>
                          </a:lnTo>
                          <a:lnTo>
                            <a:pt x="265" y="1890"/>
                          </a:lnTo>
                          <a:lnTo>
                            <a:pt x="256" y="1883"/>
                          </a:lnTo>
                          <a:lnTo>
                            <a:pt x="248" y="1877"/>
                          </a:lnTo>
                          <a:lnTo>
                            <a:pt x="241" y="1872"/>
                          </a:lnTo>
                          <a:lnTo>
                            <a:pt x="233" y="1868"/>
                          </a:lnTo>
                          <a:lnTo>
                            <a:pt x="233" y="1868"/>
                          </a:lnTo>
                          <a:lnTo>
                            <a:pt x="242" y="1862"/>
                          </a:lnTo>
                          <a:lnTo>
                            <a:pt x="249" y="1856"/>
                          </a:lnTo>
                          <a:lnTo>
                            <a:pt x="255" y="1849"/>
                          </a:lnTo>
                          <a:lnTo>
                            <a:pt x="261" y="1840"/>
                          </a:lnTo>
                          <a:lnTo>
                            <a:pt x="266" y="1832"/>
                          </a:lnTo>
                          <a:lnTo>
                            <a:pt x="269" y="1822"/>
                          </a:lnTo>
                          <a:lnTo>
                            <a:pt x="271" y="1812"/>
                          </a:lnTo>
                          <a:lnTo>
                            <a:pt x="271" y="1801"/>
                          </a:lnTo>
                          <a:lnTo>
                            <a:pt x="271" y="1801"/>
                          </a:lnTo>
                          <a:lnTo>
                            <a:pt x="271" y="1792"/>
                          </a:lnTo>
                          <a:lnTo>
                            <a:pt x="270" y="1782"/>
                          </a:lnTo>
                          <a:lnTo>
                            <a:pt x="267" y="1773"/>
                          </a:lnTo>
                          <a:lnTo>
                            <a:pt x="265" y="1765"/>
                          </a:lnTo>
                          <a:lnTo>
                            <a:pt x="261" y="1756"/>
                          </a:lnTo>
                          <a:lnTo>
                            <a:pt x="256" y="1749"/>
                          </a:lnTo>
                          <a:lnTo>
                            <a:pt x="250" y="1743"/>
                          </a:lnTo>
                          <a:lnTo>
                            <a:pt x="244" y="1737"/>
                          </a:lnTo>
                          <a:lnTo>
                            <a:pt x="237" y="1732"/>
                          </a:lnTo>
                          <a:lnTo>
                            <a:pt x="230" y="1727"/>
                          </a:lnTo>
                          <a:lnTo>
                            <a:pt x="221" y="1724"/>
                          </a:lnTo>
                          <a:lnTo>
                            <a:pt x="211" y="1720"/>
                          </a:lnTo>
                          <a:lnTo>
                            <a:pt x="202" y="1718"/>
                          </a:lnTo>
                          <a:lnTo>
                            <a:pt x="191" y="1715"/>
                          </a:lnTo>
                          <a:lnTo>
                            <a:pt x="180" y="1715"/>
                          </a:lnTo>
                          <a:lnTo>
                            <a:pt x="168" y="1714"/>
                          </a:lnTo>
                          <a:lnTo>
                            <a:pt x="24" y="1714"/>
                          </a:lnTo>
                          <a:lnTo>
                            <a:pt x="24" y="2049"/>
                          </a:lnTo>
                          <a:lnTo>
                            <a:pt x="166" y="2049"/>
                          </a:lnTo>
                          <a:lnTo>
                            <a:pt x="166" y="2049"/>
                          </a:lnTo>
                          <a:lnTo>
                            <a:pt x="180" y="2049"/>
                          </a:lnTo>
                          <a:lnTo>
                            <a:pt x="192" y="2048"/>
                          </a:lnTo>
                          <a:lnTo>
                            <a:pt x="204" y="2046"/>
                          </a:lnTo>
                          <a:lnTo>
                            <a:pt x="215" y="2042"/>
                          </a:lnTo>
                          <a:lnTo>
                            <a:pt x="226" y="2038"/>
                          </a:lnTo>
                          <a:lnTo>
                            <a:pt x="236" y="2034"/>
                          </a:lnTo>
                          <a:lnTo>
                            <a:pt x="244" y="2028"/>
                          </a:lnTo>
                          <a:lnTo>
                            <a:pt x="252" y="2021"/>
                          </a:lnTo>
                          <a:lnTo>
                            <a:pt x="259" y="2014"/>
                          </a:lnTo>
                          <a:lnTo>
                            <a:pt x="265" y="2006"/>
                          </a:lnTo>
                          <a:lnTo>
                            <a:pt x="271" y="1997"/>
                          </a:lnTo>
                          <a:lnTo>
                            <a:pt x="275" y="1987"/>
                          </a:lnTo>
                          <a:lnTo>
                            <a:pt x="278" y="1978"/>
                          </a:lnTo>
                          <a:lnTo>
                            <a:pt x="281" y="1967"/>
                          </a:lnTo>
                          <a:lnTo>
                            <a:pt x="282" y="1955"/>
                          </a:lnTo>
                          <a:lnTo>
                            <a:pt x="283" y="1942"/>
                          </a:lnTo>
                          <a:lnTo>
                            <a:pt x="283" y="1942"/>
                          </a:lnTo>
                          <a:close/>
                          <a:moveTo>
                            <a:pt x="166" y="1993"/>
                          </a:moveTo>
                          <a:lnTo>
                            <a:pt x="86" y="1993"/>
                          </a:lnTo>
                          <a:lnTo>
                            <a:pt x="86" y="1897"/>
                          </a:lnTo>
                          <a:lnTo>
                            <a:pt x="166" y="1897"/>
                          </a:lnTo>
                          <a:lnTo>
                            <a:pt x="166" y="1897"/>
                          </a:lnTo>
                          <a:lnTo>
                            <a:pt x="179" y="1899"/>
                          </a:lnTo>
                          <a:lnTo>
                            <a:pt x="188" y="1900"/>
                          </a:lnTo>
                          <a:lnTo>
                            <a:pt x="197" y="1904"/>
                          </a:lnTo>
                          <a:lnTo>
                            <a:pt x="204" y="1910"/>
                          </a:lnTo>
                          <a:lnTo>
                            <a:pt x="210" y="1916"/>
                          </a:lnTo>
                          <a:lnTo>
                            <a:pt x="214" y="1924"/>
                          </a:lnTo>
                          <a:lnTo>
                            <a:pt x="216" y="1934"/>
                          </a:lnTo>
                          <a:lnTo>
                            <a:pt x="218" y="1945"/>
                          </a:lnTo>
                          <a:lnTo>
                            <a:pt x="218" y="1945"/>
                          </a:lnTo>
                          <a:lnTo>
                            <a:pt x="216" y="1956"/>
                          </a:lnTo>
                          <a:lnTo>
                            <a:pt x="214" y="1966"/>
                          </a:lnTo>
                          <a:lnTo>
                            <a:pt x="209" y="1974"/>
                          </a:lnTo>
                          <a:lnTo>
                            <a:pt x="204" y="1980"/>
                          </a:lnTo>
                          <a:lnTo>
                            <a:pt x="197" y="1986"/>
                          </a:lnTo>
                          <a:lnTo>
                            <a:pt x="188" y="1990"/>
                          </a:lnTo>
                          <a:lnTo>
                            <a:pt x="177" y="1992"/>
                          </a:lnTo>
                          <a:lnTo>
                            <a:pt x="166" y="1993"/>
                          </a:lnTo>
                          <a:lnTo>
                            <a:pt x="166" y="1993"/>
                          </a:lnTo>
                          <a:close/>
                          <a:moveTo>
                            <a:pt x="165" y="1843"/>
                          </a:moveTo>
                          <a:lnTo>
                            <a:pt x="86" y="1843"/>
                          </a:lnTo>
                          <a:lnTo>
                            <a:pt x="86" y="1771"/>
                          </a:lnTo>
                          <a:lnTo>
                            <a:pt x="163" y="1771"/>
                          </a:lnTo>
                          <a:lnTo>
                            <a:pt x="163" y="1771"/>
                          </a:lnTo>
                          <a:lnTo>
                            <a:pt x="173" y="1772"/>
                          </a:lnTo>
                          <a:lnTo>
                            <a:pt x="182" y="1773"/>
                          </a:lnTo>
                          <a:lnTo>
                            <a:pt x="190" y="1776"/>
                          </a:lnTo>
                          <a:lnTo>
                            <a:pt x="196" y="1780"/>
                          </a:lnTo>
                          <a:lnTo>
                            <a:pt x="201" y="1786"/>
                          </a:lnTo>
                          <a:lnTo>
                            <a:pt x="204" y="1792"/>
                          </a:lnTo>
                          <a:lnTo>
                            <a:pt x="205" y="1799"/>
                          </a:lnTo>
                          <a:lnTo>
                            <a:pt x="207" y="1807"/>
                          </a:lnTo>
                          <a:lnTo>
                            <a:pt x="207" y="1807"/>
                          </a:lnTo>
                          <a:lnTo>
                            <a:pt x="207" y="1814"/>
                          </a:lnTo>
                          <a:lnTo>
                            <a:pt x="205" y="1820"/>
                          </a:lnTo>
                          <a:lnTo>
                            <a:pt x="203" y="1826"/>
                          </a:lnTo>
                          <a:lnTo>
                            <a:pt x="199" y="1831"/>
                          </a:lnTo>
                          <a:lnTo>
                            <a:pt x="193" y="1835"/>
                          </a:lnTo>
                          <a:lnTo>
                            <a:pt x="186" y="1839"/>
                          </a:lnTo>
                          <a:lnTo>
                            <a:pt x="177" y="1842"/>
                          </a:lnTo>
                          <a:lnTo>
                            <a:pt x="165" y="1843"/>
                          </a:lnTo>
                          <a:lnTo>
                            <a:pt x="165" y="1843"/>
                          </a:lnTo>
                          <a:close/>
                          <a:moveTo>
                            <a:pt x="326" y="1944"/>
                          </a:moveTo>
                          <a:lnTo>
                            <a:pt x="326" y="1805"/>
                          </a:lnTo>
                          <a:lnTo>
                            <a:pt x="386" y="1805"/>
                          </a:lnTo>
                          <a:lnTo>
                            <a:pt x="386" y="1940"/>
                          </a:lnTo>
                          <a:lnTo>
                            <a:pt x="386" y="1940"/>
                          </a:lnTo>
                          <a:lnTo>
                            <a:pt x="386" y="1953"/>
                          </a:lnTo>
                          <a:lnTo>
                            <a:pt x="389" y="1967"/>
                          </a:lnTo>
                          <a:lnTo>
                            <a:pt x="392" y="1976"/>
                          </a:lnTo>
                          <a:lnTo>
                            <a:pt x="397" y="1985"/>
                          </a:lnTo>
                          <a:lnTo>
                            <a:pt x="403" y="1991"/>
                          </a:lnTo>
                          <a:lnTo>
                            <a:pt x="411" y="1996"/>
                          </a:lnTo>
                          <a:lnTo>
                            <a:pt x="420" y="1998"/>
                          </a:lnTo>
                          <a:lnTo>
                            <a:pt x="431" y="2000"/>
                          </a:lnTo>
                          <a:lnTo>
                            <a:pt x="431" y="2000"/>
                          </a:lnTo>
                          <a:lnTo>
                            <a:pt x="442" y="1998"/>
                          </a:lnTo>
                          <a:lnTo>
                            <a:pt x="451" y="1996"/>
                          </a:lnTo>
                          <a:lnTo>
                            <a:pt x="459" y="1991"/>
                          </a:lnTo>
                          <a:lnTo>
                            <a:pt x="465" y="1985"/>
                          </a:lnTo>
                          <a:lnTo>
                            <a:pt x="470" y="1976"/>
                          </a:lnTo>
                          <a:lnTo>
                            <a:pt x="474" y="1966"/>
                          </a:lnTo>
                          <a:lnTo>
                            <a:pt x="476" y="1953"/>
                          </a:lnTo>
                          <a:lnTo>
                            <a:pt x="476" y="1940"/>
                          </a:lnTo>
                          <a:lnTo>
                            <a:pt x="476" y="1805"/>
                          </a:lnTo>
                          <a:lnTo>
                            <a:pt x="537" y="1805"/>
                          </a:lnTo>
                          <a:lnTo>
                            <a:pt x="537" y="2049"/>
                          </a:lnTo>
                          <a:lnTo>
                            <a:pt x="476" y="2049"/>
                          </a:lnTo>
                          <a:lnTo>
                            <a:pt x="476" y="2030"/>
                          </a:lnTo>
                          <a:lnTo>
                            <a:pt x="476" y="2030"/>
                          </a:lnTo>
                          <a:lnTo>
                            <a:pt x="471" y="2036"/>
                          </a:lnTo>
                          <a:lnTo>
                            <a:pt x="464" y="2041"/>
                          </a:lnTo>
                          <a:lnTo>
                            <a:pt x="458" y="2046"/>
                          </a:lnTo>
                          <a:lnTo>
                            <a:pt x="451" y="2048"/>
                          </a:lnTo>
                          <a:lnTo>
                            <a:pt x="444" y="2052"/>
                          </a:lnTo>
                          <a:lnTo>
                            <a:pt x="435" y="2053"/>
                          </a:lnTo>
                          <a:lnTo>
                            <a:pt x="427" y="2054"/>
                          </a:lnTo>
                          <a:lnTo>
                            <a:pt x="418" y="2055"/>
                          </a:lnTo>
                          <a:lnTo>
                            <a:pt x="418" y="2055"/>
                          </a:lnTo>
                          <a:lnTo>
                            <a:pt x="403" y="2054"/>
                          </a:lnTo>
                          <a:lnTo>
                            <a:pt x="391" y="2052"/>
                          </a:lnTo>
                          <a:lnTo>
                            <a:pt x="380" y="2048"/>
                          </a:lnTo>
                          <a:lnTo>
                            <a:pt x="369" y="2043"/>
                          </a:lnTo>
                          <a:lnTo>
                            <a:pt x="361" y="2037"/>
                          </a:lnTo>
                          <a:lnTo>
                            <a:pt x="354" y="2031"/>
                          </a:lnTo>
                          <a:lnTo>
                            <a:pt x="348" y="2023"/>
                          </a:lnTo>
                          <a:lnTo>
                            <a:pt x="341" y="2014"/>
                          </a:lnTo>
                          <a:lnTo>
                            <a:pt x="338" y="2006"/>
                          </a:lnTo>
                          <a:lnTo>
                            <a:pt x="334" y="1997"/>
                          </a:lnTo>
                          <a:lnTo>
                            <a:pt x="329" y="1978"/>
                          </a:lnTo>
                          <a:lnTo>
                            <a:pt x="327" y="1959"/>
                          </a:lnTo>
                          <a:lnTo>
                            <a:pt x="326" y="1944"/>
                          </a:lnTo>
                          <a:lnTo>
                            <a:pt x="326" y="1944"/>
                          </a:lnTo>
                          <a:close/>
                          <a:moveTo>
                            <a:pt x="1249" y="2049"/>
                          </a:moveTo>
                          <a:lnTo>
                            <a:pt x="1188" y="2049"/>
                          </a:lnTo>
                          <a:lnTo>
                            <a:pt x="1188" y="1805"/>
                          </a:lnTo>
                          <a:lnTo>
                            <a:pt x="1249" y="1805"/>
                          </a:lnTo>
                          <a:lnTo>
                            <a:pt x="1249" y="1826"/>
                          </a:lnTo>
                          <a:lnTo>
                            <a:pt x="1249" y="1826"/>
                          </a:lnTo>
                          <a:lnTo>
                            <a:pt x="1255" y="1820"/>
                          </a:lnTo>
                          <a:lnTo>
                            <a:pt x="1261" y="1814"/>
                          </a:lnTo>
                          <a:lnTo>
                            <a:pt x="1269" y="1810"/>
                          </a:lnTo>
                          <a:lnTo>
                            <a:pt x="1276" y="1806"/>
                          </a:lnTo>
                          <a:lnTo>
                            <a:pt x="1284" y="1803"/>
                          </a:lnTo>
                          <a:lnTo>
                            <a:pt x="1292" y="1801"/>
                          </a:lnTo>
                          <a:lnTo>
                            <a:pt x="1301" y="1800"/>
                          </a:lnTo>
                          <a:lnTo>
                            <a:pt x="1310" y="1799"/>
                          </a:lnTo>
                          <a:lnTo>
                            <a:pt x="1310" y="1799"/>
                          </a:lnTo>
                          <a:lnTo>
                            <a:pt x="1321" y="1800"/>
                          </a:lnTo>
                          <a:lnTo>
                            <a:pt x="1331" y="1801"/>
                          </a:lnTo>
                          <a:lnTo>
                            <a:pt x="1340" y="1804"/>
                          </a:lnTo>
                          <a:lnTo>
                            <a:pt x="1349" y="1806"/>
                          </a:lnTo>
                          <a:lnTo>
                            <a:pt x="1357" y="1810"/>
                          </a:lnTo>
                          <a:lnTo>
                            <a:pt x="1365" y="1816"/>
                          </a:lnTo>
                          <a:lnTo>
                            <a:pt x="1371" y="1821"/>
                          </a:lnTo>
                          <a:lnTo>
                            <a:pt x="1377" y="1828"/>
                          </a:lnTo>
                          <a:lnTo>
                            <a:pt x="1383" y="1835"/>
                          </a:lnTo>
                          <a:lnTo>
                            <a:pt x="1386" y="1844"/>
                          </a:lnTo>
                          <a:lnTo>
                            <a:pt x="1391" y="1852"/>
                          </a:lnTo>
                          <a:lnTo>
                            <a:pt x="1394" y="1862"/>
                          </a:lnTo>
                          <a:lnTo>
                            <a:pt x="1396" y="1873"/>
                          </a:lnTo>
                          <a:lnTo>
                            <a:pt x="1399" y="1885"/>
                          </a:lnTo>
                          <a:lnTo>
                            <a:pt x="1400" y="1897"/>
                          </a:lnTo>
                          <a:lnTo>
                            <a:pt x="1400" y="1911"/>
                          </a:lnTo>
                          <a:lnTo>
                            <a:pt x="1400" y="2049"/>
                          </a:lnTo>
                          <a:lnTo>
                            <a:pt x="1339" y="2049"/>
                          </a:lnTo>
                          <a:lnTo>
                            <a:pt x="1339" y="1914"/>
                          </a:lnTo>
                          <a:lnTo>
                            <a:pt x="1339" y="1914"/>
                          </a:lnTo>
                          <a:lnTo>
                            <a:pt x="1339" y="1900"/>
                          </a:lnTo>
                          <a:lnTo>
                            <a:pt x="1337" y="1888"/>
                          </a:lnTo>
                          <a:lnTo>
                            <a:pt x="1333" y="1878"/>
                          </a:lnTo>
                          <a:lnTo>
                            <a:pt x="1328" y="1869"/>
                          </a:lnTo>
                          <a:lnTo>
                            <a:pt x="1322" y="1863"/>
                          </a:lnTo>
                          <a:lnTo>
                            <a:pt x="1315" y="1859"/>
                          </a:lnTo>
                          <a:lnTo>
                            <a:pt x="1306" y="1856"/>
                          </a:lnTo>
                          <a:lnTo>
                            <a:pt x="1295" y="1855"/>
                          </a:lnTo>
                          <a:lnTo>
                            <a:pt x="1295" y="1855"/>
                          </a:lnTo>
                          <a:lnTo>
                            <a:pt x="1284" y="1856"/>
                          </a:lnTo>
                          <a:lnTo>
                            <a:pt x="1275" y="1859"/>
                          </a:lnTo>
                          <a:lnTo>
                            <a:pt x="1267" y="1863"/>
                          </a:lnTo>
                          <a:lnTo>
                            <a:pt x="1261" y="1869"/>
                          </a:lnTo>
                          <a:lnTo>
                            <a:pt x="1255" y="1878"/>
                          </a:lnTo>
                          <a:lnTo>
                            <a:pt x="1252" y="1889"/>
                          </a:lnTo>
                          <a:lnTo>
                            <a:pt x="1249" y="1901"/>
                          </a:lnTo>
                          <a:lnTo>
                            <a:pt x="1249" y="1914"/>
                          </a:lnTo>
                          <a:lnTo>
                            <a:pt x="1249" y="2049"/>
                          </a:lnTo>
                          <a:close/>
                          <a:moveTo>
                            <a:pt x="653" y="1927"/>
                          </a:moveTo>
                          <a:lnTo>
                            <a:pt x="653" y="2049"/>
                          </a:lnTo>
                          <a:lnTo>
                            <a:pt x="592" y="2049"/>
                          </a:lnTo>
                          <a:lnTo>
                            <a:pt x="592" y="1805"/>
                          </a:lnTo>
                          <a:lnTo>
                            <a:pt x="653" y="1805"/>
                          </a:lnTo>
                          <a:lnTo>
                            <a:pt x="653" y="1927"/>
                          </a:lnTo>
                          <a:close/>
                          <a:moveTo>
                            <a:pt x="706" y="1733"/>
                          </a:moveTo>
                          <a:lnTo>
                            <a:pt x="767" y="1703"/>
                          </a:lnTo>
                          <a:lnTo>
                            <a:pt x="767" y="1924"/>
                          </a:lnTo>
                          <a:lnTo>
                            <a:pt x="767" y="2049"/>
                          </a:lnTo>
                          <a:lnTo>
                            <a:pt x="706" y="2049"/>
                          </a:lnTo>
                          <a:lnTo>
                            <a:pt x="706" y="1733"/>
                          </a:lnTo>
                          <a:close/>
                          <a:moveTo>
                            <a:pt x="959" y="1822"/>
                          </a:moveTo>
                          <a:lnTo>
                            <a:pt x="959" y="1822"/>
                          </a:lnTo>
                          <a:lnTo>
                            <a:pt x="954" y="1816"/>
                          </a:lnTo>
                          <a:lnTo>
                            <a:pt x="948" y="1812"/>
                          </a:lnTo>
                          <a:lnTo>
                            <a:pt x="941" y="1807"/>
                          </a:lnTo>
                          <a:lnTo>
                            <a:pt x="934" y="1805"/>
                          </a:lnTo>
                          <a:lnTo>
                            <a:pt x="927" y="1803"/>
                          </a:lnTo>
                          <a:lnTo>
                            <a:pt x="920" y="1800"/>
                          </a:lnTo>
                          <a:lnTo>
                            <a:pt x="905" y="1799"/>
                          </a:lnTo>
                          <a:lnTo>
                            <a:pt x="905" y="1799"/>
                          </a:lnTo>
                          <a:lnTo>
                            <a:pt x="894" y="1800"/>
                          </a:lnTo>
                          <a:lnTo>
                            <a:pt x="883" y="1801"/>
                          </a:lnTo>
                          <a:lnTo>
                            <a:pt x="874" y="1804"/>
                          </a:lnTo>
                          <a:lnTo>
                            <a:pt x="865" y="1807"/>
                          </a:lnTo>
                          <a:lnTo>
                            <a:pt x="857" y="1812"/>
                          </a:lnTo>
                          <a:lnTo>
                            <a:pt x="848" y="1818"/>
                          </a:lnTo>
                          <a:lnTo>
                            <a:pt x="841" y="1826"/>
                          </a:lnTo>
                          <a:lnTo>
                            <a:pt x="835" y="1833"/>
                          </a:lnTo>
                          <a:lnTo>
                            <a:pt x="829" y="1842"/>
                          </a:lnTo>
                          <a:lnTo>
                            <a:pt x="824" y="1851"/>
                          </a:lnTo>
                          <a:lnTo>
                            <a:pt x="819" y="1861"/>
                          </a:lnTo>
                          <a:lnTo>
                            <a:pt x="815" y="1872"/>
                          </a:lnTo>
                          <a:lnTo>
                            <a:pt x="813" y="1884"/>
                          </a:lnTo>
                          <a:lnTo>
                            <a:pt x="811" y="1897"/>
                          </a:lnTo>
                          <a:lnTo>
                            <a:pt x="809" y="1911"/>
                          </a:lnTo>
                          <a:lnTo>
                            <a:pt x="809" y="1924"/>
                          </a:lnTo>
                          <a:lnTo>
                            <a:pt x="809" y="1924"/>
                          </a:lnTo>
                          <a:lnTo>
                            <a:pt x="809" y="1940"/>
                          </a:lnTo>
                          <a:lnTo>
                            <a:pt x="811" y="1953"/>
                          </a:lnTo>
                          <a:lnTo>
                            <a:pt x="813" y="1967"/>
                          </a:lnTo>
                          <a:lnTo>
                            <a:pt x="815" y="1979"/>
                          </a:lnTo>
                          <a:lnTo>
                            <a:pt x="819" y="1991"/>
                          </a:lnTo>
                          <a:lnTo>
                            <a:pt x="823" y="2002"/>
                          </a:lnTo>
                          <a:lnTo>
                            <a:pt x="828" y="2012"/>
                          </a:lnTo>
                          <a:lnTo>
                            <a:pt x="834" y="2020"/>
                          </a:lnTo>
                          <a:lnTo>
                            <a:pt x="841" y="2029"/>
                          </a:lnTo>
                          <a:lnTo>
                            <a:pt x="847" y="2035"/>
                          </a:lnTo>
                          <a:lnTo>
                            <a:pt x="855" y="2041"/>
                          </a:lnTo>
                          <a:lnTo>
                            <a:pt x="864" y="2046"/>
                          </a:lnTo>
                          <a:lnTo>
                            <a:pt x="872" y="2049"/>
                          </a:lnTo>
                          <a:lnTo>
                            <a:pt x="882" y="2053"/>
                          </a:lnTo>
                          <a:lnTo>
                            <a:pt x="893" y="2054"/>
                          </a:lnTo>
                          <a:lnTo>
                            <a:pt x="904" y="2055"/>
                          </a:lnTo>
                          <a:lnTo>
                            <a:pt x="904" y="2055"/>
                          </a:lnTo>
                          <a:lnTo>
                            <a:pt x="911" y="2054"/>
                          </a:lnTo>
                          <a:lnTo>
                            <a:pt x="919" y="2053"/>
                          </a:lnTo>
                          <a:lnTo>
                            <a:pt x="926" y="2052"/>
                          </a:lnTo>
                          <a:lnTo>
                            <a:pt x="933" y="2049"/>
                          </a:lnTo>
                          <a:lnTo>
                            <a:pt x="939" y="2046"/>
                          </a:lnTo>
                          <a:lnTo>
                            <a:pt x="947" y="2042"/>
                          </a:lnTo>
                          <a:lnTo>
                            <a:pt x="953" y="2037"/>
                          </a:lnTo>
                          <a:lnTo>
                            <a:pt x="959" y="2031"/>
                          </a:lnTo>
                          <a:lnTo>
                            <a:pt x="959" y="2049"/>
                          </a:lnTo>
                          <a:lnTo>
                            <a:pt x="1020" y="2049"/>
                          </a:lnTo>
                          <a:lnTo>
                            <a:pt x="1020" y="1703"/>
                          </a:lnTo>
                          <a:lnTo>
                            <a:pt x="959" y="1733"/>
                          </a:lnTo>
                          <a:lnTo>
                            <a:pt x="959" y="1822"/>
                          </a:lnTo>
                          <a:close/>
                          <a:moveTo>
                            <a:pt x="916" y="2000"/>
                          </a:moveTo>
                          <a:lnTo>
                            <a:pt x="916" y="2000"/>
                          </a:lnTo>
                          <a:lnTo>
                            <a:pt x="909" y="1998"/>
                          </a:lnTo>
                          <a:lnTo>
                            <a:pt x="900" y="1996"/>
                          </a:lnTo>
                          <a:lnTo>
                            <a:pt x="893" y="1992"/>
                          </a:lnTo>
                          <a:lnTo>
                            <a:pt x="886" y="1985"/>
                          </a:lnTo>
                          <a:lnTo>
                            <a:pt x="880" y="1975"/>
                          </a:lnTo>
                          <a:lnTo>
                            <a:pt x="875" y="1962"/>
                          </a:lnTo>
                          <a:lnTo>
                            <a:pt x="871" y="1945"/>
                          </a:lnTo>
                          <a:lnTo>
                            <a:pt x="870" y="1923"/>
                          </a:lnTo>
                          <a:lnTo>
                            <a:pt x="870" y="1923"/>
                          </a:lnTo>
                          <a:lnTo>
                            <a:pt x="871" y="1904"/>
                          </a:lnTo>
                          <a:lnTo>
                            <a:pt x="875" y="1889"/>
                          </a:lnTo>
                          <a:lnTo>
                            <a:pt x="880" y="1877"/>
                          </a:lnTo>
                          <a:lnTo>
                            <a:pt x="886" y="1868"/>
                          </a:lnTo>
                          <a:lnTo>
                            <a:pt x="892" y="1861"/>
                          </a:lnTo>
                          <a:lnTo>
                            <a:pt x="900" y="1857"/>
                          </a:lnTo>
                          <a:lnTo>
                            <a:pt x="908" y="1855"/>
                          </a:lnTo>
                          <a:lnTo>
                            <a:pt x="916" y="1855"/>
                          </a:lnTo>
                          <a:lnTo>
                            <a:pt x="916" y="1855"/>
                          </a:lnTo>
                          <a:lnTo>
                            <a:pt x="924" y="1855"/>
                          </a:lnTo>
                          <a:lnTo>
                            <a:pt x="931" y="1857"/>
                          </a:lnTo>
                          <a:lnTo>
                            <a:pt x="938" y="1860"/>
                          </a:lnTo>
                          <a:lnTo>
                            <a:pt x="943" y="1863"/>
                          </a:lnTo>
                          <a:lnTo>
                            <a:pt x="948" y="1867"/>
                          </a:lnTo>
                          <a:lnTo>
                            <a:pt x="953" y="1871"/>
                          </a:lnTo>
                          <a:lnTo>
                            <a:pt x="959" y="1879"/>
                          </a:lnTo>
                          <a:lnTo>
                            <a:pt x="959" y="1975"/>
                          </a:lnTo>
                          <a:lnTo>
                            <a:pt x="959" y="1975"/>
                          </a:lnTo>
                          <a:lnTo>
                            <a:pt x="951" y="1984"/>
                          </a:lnTo>
                          <a:lnTo>
                            <a:pt x="943" y="1991"/>
                          </a:lnTo>
                          <a:lnTo>
                            <a:pt x="938" y="1995"/>
                          </a:lnTo>
                          <a:lnTo>
                            <a:pt x="931" y="1997"/>
                          </a:lnTo>
                          <a:lnTo>
                            <a:pt x="925" y="1998"/>
                          </a:lnTo>
                          <a:lnTo>
                            <a:pt x="916" y="2000"/>
                          </a:lnTo>
                          <a:lnTo>
                            <a:pt x="916" y="2000"/>
                          </a:lnTo>
                          <a:close/>
                          <a:moveTo>
                            <a:pt x="2278" y="1799"/>
                          </a:moveTo>
                          <a:lnTo>
                            <a:pt x="2278" y="1799"/>
                          </a:lnTo>
                          <a:lnTo>
                            <a:pt x="2272" y="1800"/>
                          </a:lnTo>
                          <a:lnTo>
                            <a:pt x="2265" y="1801"/>
                          </a:lnTo>
                          <a:lnTo>
                            <a:pt x="2250" y="1805"/>
                          </a:lnTo>
                          <a:lnTo>
                            <a:pt x="2237" y="1812"/>
                          </a:lnTo>
                          <a:lnTo>
                            <a:pt x="2225" y="1822"/>
                          </a:lnTo>
                          <a:lnTo>
                            <a:pt x="2225" y="1709"/>
                          </a:lnTo>
                          <a:lnTo>
                            <a:pt x="2164" y="1739"/>
                          </a:lnTo>
                          <a:lnTo>
                            <a:pt x="2164" y="2049"/>
                          </a:lnTo>
                          <a:lnTo>
                            <a:pt x="2225" y="2049"/>
                          </a:lnTo>
                          <a:lnTo>
                            <a:pt x="2225" y="2031"/>
                          </a:lnTo>
                          <a:lnTo>
                            <a:pt x="2225" y="2031"/>
                          </a:lnTo>
                          <a:lnTo>
                            <a:pt x="2230" y="2037"/>
                          </a:lnTo>
                          <a:lnTo>
                            <a:pt x="2237" y="2042"/>
                          </a:lnTo>
                          <a:lnTo>
                            <a:pt x="2243" y="2046"/>
                          </a:lnTo>
                          <a:lnTo>
                            <a:pt x="2250" y="2049"/>
                          </a:lnTo>
                          <a:lnTo>
                            <a:pt x="2257" y="2052"/>
                          </a:lnTo>
                          <a:lnTo>
                            <a:pt x="2265" y="2053"/>
                          </a:lnTo>
                          <a:lnTo>
                            <a:pt x="2272" y="2054"/>
                          </a:lnTo>
                          <a:lnTo>
                            <a:pt x="2280" y="2055"/>
                          </a:lnTo>
                          <a:lnTo>
                            <a:pt x="2280" y="2055"/>
                          </a:lnTo>
                          <a:lnTo>
                            <a:pt x="2291" y="2054"/>
                          </a:lnTo>
                          <a:lnTo>
                            <a:pt x="2302" y="2053"/>
                          </a:lnTo>
                          <a:lnTo>
                            <a:pt x="2311" y="2051"/>
                          </a:lnTo>
                          <a:lnTo>
                            <a:pt x="2321" y="2046"/>
                          </a:lnTo>
                          <a:lnTo>
                            <a:pt x="2329" y="2041"/>
                          </a:lnTo>
                          <a:lnTo>
                            <a:pt x="2337" y="2036"/>
                          </a:lnTo>
                          <a:lnTo>
                            <a:pt x="2344" y="2029"/>
                          </a:lnTo>
                          <a:lnTo>
                            <a:pt x="2350" y="2021"/>
                          </a:lnTo>
                          <a:lnTo>
                            <a:pt x="2356" y="2012"/>
                          </a:lnTo>
                          <a:lnTo>
                            <a:pt x="2361" y="2002"/>
                          </a:lnTo>
                          <a:lnTo>
                            <a:pt x="2365" y="1991"/>
                          </a:lnTo>
                          <a:lnTo>
                            <a:pt x="2368" y="1980"/>
                          </a:lnTo>
                          <a:lnTo>
                            <a:pt x="2372" y="1968"/>
                          </a:lnTo>
                          <a:lnTo>
                            <a:pt x="2373" y="1955"/>
                          </a:lnTo>
                          <a:lnTo>
                            <a:pt x="2374" y="1940"/>
                          </a:lnTo>
                          <a:lnTo>
                            <a:pt x="2376" y="1924"/>
                          </a:lnTo>
                          <a:lnTo>
                            <a:pt x="2376" y="1924"/>
                          </a:lnTo>
                          <a:lnTo>
                            <a:pt x="2374" y="1911"/>
                          </a:lnTo>
                          <a:lnTo>
                            <a:pt x="2373" y="1897"/>
                          </a:lnTo>
                          <a:lnTo>
                            <a:pt x="2371" y="1884"/>
                          </a:lnTo>
                          <a:lnTo>
                            <a:pt x="2368" y="1872"/>
                          </a:lnTo>
                          <a:lnTo>
                            <a:pt x="2365" y="1861"/>
                          </a:lnTo>
                          <a:lnTo>
                            <a:pt x="2360" y="1851"/>
                          </a:lnTo>
                          <a:lnTo>
                            <a:pt x="2355" y="1842"/>
                          </a:lnTo>
                          <a:lnTo>
                            <a:pt x="2349" y="1833"/>
                          </a:lnTo>
                          <a:lnTo>
                            <a:pt x="2343" y="1826"/>
                          </a:lnTo>
                          <a:lnTo>
                            <a:pt x="2336" y="1818"/>
                          </a:lnTo>
                          <a:lnTo>
                            <a:pt x="2327" y="1812"/>
                          </a:lnTo>
                          <a:lnTo>
                            <a:pt x="2319" y="1807"/>
                          </a:lnTo>
                          <a:lnTo>
                            <a:pt x="2310" y="1804"/>
                          </a:lnTo>
                          <a:lnTo>
                            <a:pt x="2300" y="1801"/>
                          </a:lnTo>
                          <a:lnTo>
                            <a:pt x="2289" y="1800"/>
                          </a:lnTo>
                          <a:lnTo>
                            <a:pt x="2278" y="1799"/>
                          </a:lnTo>
                          <a:lnTo>
                            <a:pt x="2278" y="1799"/>
                          </a:lnTo>
                          <a:close/>
                          <a:moveTo>
                            <a:pt x="2267" y="1855"/>
                          </a:moveTo>
                          <a:lnTo>
                            <a:pt x="2267" y="1855"/>
                          </a:lnTo>
                          <a:lnTo>
                            <a:pt x="2276" y="1856"/>
                          </a:lnTo>
                          <a:lnTo>
                            <a:pt x="2284" y="1859"/>
                          </a:lnTo>
                          <a:lnTo>
                            <a:pt x="2292" y="1863"/>
                          </a:lnTo>
                          <a:lnTo>
                            <a:pt x="2299" y="1871"/>
                          </a:lnTo>
                          <a:lnTo>
                            <a:pt x="2305" y="1879"/>
                          </a:lnTo>
                          <a:lnTo>
                            <a:pt x="2309" y="1891"/>
                          </a:lnTo>
                          <a:lnTo>
                            <a:pt x="2312" y="1906"/>
                          </a:lnTo>
                          <a:lnTo>
                            <a:pt x="2314" y="1923"/>
                          </a:lnTo>
                          <a:lnTo>
                            <a:pt x="2314" y="1923"/>
                          </a:lnTo>
                          <a:lnTo>
                            <a:pt x="2312" y="1941"/>
                          </a:lnTo>
                          <a:lnTo>
                            <a:pt x="2310" y="1957"/>
                          </a:lnTo>
                          <a:lnTo>
                            <a:pt x="2308" y="1969"/>
                          </a:lnTo>
                          <a:lnTo>
                            <a:pt x="2303" y="1980"/>
                          </a:lnTo>
                          <a:lnTo>
                            <a:pt x="2295" y="1989"/>
                          </a:lnTo>
                          <a:lnTo>
                            <a:pt x="2288" y="1995"/>
                          </a:lnTo>
                          <a:lnTo>
                            <a:pt x="2280" y="1998"/>
                          </a:lnTo>
                          <a:lnTo>
                            <a:pt x="2269" y="2000"/>
                          </a:lnTo>
                          <a:lnTo>
                            <a:pt x="2269" y="2000"/>
                          </a:lnTo>
                          <a:lnTo>
                            <a:pt x="2260" y="1998"/>
                          </a:lnTo>
                          <a:lnTo>
                            <a:pt x="2253" y="1997"/>
                          </a:lnTo>
                          <a:lnTo>
                            <a:pt x="2247" y="1993"/>
                          </a:lnTo>
                          <a:lnTo>
                            <a:pt x="2241" y="1991"/>
                          </a:lnTo>
                          <a:lnTo>
                            <a:pt x="2231" y="1983"/>
                          </a:lnTo>
                          <a:lnTo>
                            <a:pt x="2225" y="1976"/>
                          </a:lnTo>
                          <a:lnTo>
                            <a:pt x="2225" y="1879"/>
                          </a:lnTo>
                          <a:lnTo>
                            <a:pt x="2225" y="1879"/>
                          </a:lnTo>
                          <a:lnTo>
                            <a:pt x="2229" y="1874"/>
                          </a:lnTo>
                          <a:lnTo>
                            <a:pt x="2233" y="1869"/>
                          </a:lnTo>
                          <a:lnTo>
                            <a:pt x="2238" y="1865"/>
                          </a:lnTo>
                          <a:lnTo>
                            <a:pt x="2243" y="1861"/>
                          </a:lnTo>
                          <a:lnTo>
                            <a:pt x="2249" y="1859"/>
                          </a:lnTo>
                          <a:lnTo>
                            <a:pt x="2255" y="1856"/>
                          </a:lnTo>
                          <a:lnTo>
                            <a:pt x="2261" y="1855"/>
                          </a:lnTo>
                          <a:lnTo>
                            <a:pt x="2267" y="1855"/>
                          </a:lnTo>
                          <a:lnTo>
                            <a:pt x="2267" y="1855"/>
                          </a:lnTo>
                          <a:close/>
                          <a:moveTo>
                            <a:pt x="1591" y="1822"/>
                          </a:moveTo>
                          <a:lnTo>
                            <a:pt x="1591" y="1822"/>
                          </a:lnTo>
                          <a:lnTo>
                            <a:pt x="1586" y="1817"/>
                          </a:lnTo>
                          <a:lnTo>
                            <a:pt x="1580" y="1812"/>
                          </a:lnTo>
                          <a:lnTo>
                            <a:pt x="1572" y="1809"/>
                          </a:lnTo>
                          <a:lnTo>
                            <a:pt x="1566" y="1805"/>
                          </a:lnTo>
                          <a:lnTo>
                            <a:pt x="1559" y="1803"/>
                          </a:lnTo>
                          <a:lnTo>
                            <a:pt x="1552" y="1800"/>
                          </a:lnTo>
                          <a:lnTo>
                            <a:pt x="1544" y="1800"/>
                          </a:lnTo>
                          <a:lnTo>
                            <a:pt x="1537" y="1799"/>
                          </a:lnTo>
                          <a:lnTo>
                            <a:pt x="1537" y="1799"/>
                          </a:lnTo>
                          <a:lnTo>
                            <a:pt x="1526" y="1800"/>
                          </a:lnTo>
                          <a:lnTo>
                            <a:pt x="1515" y="1801"/>
                          </a:lnTo>
                          <a:lnTo>
                            <a:pt x="1506" y="1804"/>
                          </a:lnTo>
                          <a:lnTo>
                            <a:pt x="1497" y="1807"/>
                          </a:lnTo>
                          <a:lnTo>
                            <a:pt x="1489" y="1812"/>
                          </a:lnTo>
                          <a:lnTo>
                            <a:pt x="1480" y="1818"/>
                          </a:lnTo>
                          <a:lnTo>
                            <a:pt x="1473" y="1826"/>
                          </a:lnTo>
                          <a:lnTo>
                            <a:pt x="1467" y="1833"/>
                          </a:lnTo>
                          <a:lnTo>
                            <a:pt x="1461" y="1842"/>
                          </a:lnTo>
                          <a:lnTo>
                            <a:pt x="1456" y="1851"/>
                          </a:lnTo>
                          <a:lnTo>
                            <a:pt x="1451" y="1861"/>
                          </a:lnTo>
                          <a:lnTo>
                            <a:pt x="1447" y="1872"/>
                          </a:lnTo>
                          <a:lnTo>
                            <a:pt x="1445" y="1884"/>
                          </a:lnTo>
                          <a:lnTo>
                            <a:pt x="1442" y="1897"/>
                          </a:lnTo>
                          <a:lnTo>
                            <a:pt x="1441" y="1911"/>
                          </a:lnTo>
                          <a:lnTo>
                            <a:pt x="1441" y="1924"/>
                          </a:lnTo>
                          <a:lnTo>
                            <a:pt x="1441" y="1924"/>
                          </a:lnTo>
                          <a:lnTo>
                            <a:pt x="1441" y="1940"/>
                          </a:lnTo>
                          <a:lnTo>
                            <a:pt x="1442" y="1953"/>
                          </a:lnTo>
                          <a:lnTo>
                            <a:pt x="1445" y="1967"/>
                          </a:lnTo>
                          <a:lnTo>
                            <a:pt x="1447" y="1979"/>
                          </a:lnTo>
                          <a:lnTo>
                            <a:pt x="1451" y="1991"/>
                          </a:lnTo>
                          <a:lnTo>
                            <a:pt x="1455" y="2002"/>
                          </a:lnTo>
                          <a:lnTo>
                            <a:pt x="1461" y="2012"/>
                          </a:lnTo>
                          <a:lnTo>
                            <a:pt x="1465" y="2020"/>
                          </a:lnTo>
                          <a:lnTo>
                            <a:pt x="1473" y="2029"/>
                          </a:lnTo>
                          <a:lnTo>
                            <a:pt x="1479" y="2035"/>
                          </a:lnTo>
                          <a:lnTo>
                            <a:pt x="1487" y="2041"/>
                          </a:lnTo>
                          <a:lnTo>
                            <a:pt x="1496" y="2046"/>
                          </a:lnTo>
                          <a:lnTo>
                            <a:pt x="1504" y="2049"/>
                          </a:lnTo>
                          <a:lnTo>
                            <a:pt x="1514" y="2053"/>
                          </a:lnTo>
                          <a:lnTo>
                            <a:pt x="1525" y="2054"/>
                          </a:lnTo>
                          <a:lnTo>
                            <a:pt x="1536" y="2054"/>
                          </a:lnTo>
                          <a:lnTo>
                            <a:pt x="1536" y="2054"/>
                          </a:lnTo>
                          <a:lnTo>
                            <a:pt x="1543" y="2054"/>
                          </a:lnTo>
                          <a:lnTo>
                            <a:pt x="1551" y="2053"/>
                          </a:lnTo>
                          <a:lnTo>
                            <a:pt x="1558" y="2052"/>
                          </a:lnTo>
                          <a:lnTo>
                            <a:pt x="1565" y="2049"/>
                          </a:lnTo>
                          <a:lnTo>
                            <a:pt x="1572" y="2046"/>
                          </a:lnTo>
                          <a:lnTo>
                            <a:pt x="1578" y="2041"/>
                          </a:lnTo>
                          <a:lnTo>
                            <a:pt x="1585" y="2037"/>
                          </a:lnTo>
                          <a:lnTo>
                            <a:pt x="1591" y="2031"/>
                          </a:lnTo>
                          <a:lnTo>
                            <a:pt x="1591" y="2037"/>
                          </a:lnTo>
                          <a:lnTo>
                            <a:pt x="1591" y="2037"/>
                          </a:lnTo>
                          <a:lnTo>
                            <a:pt x="1591" y="2047"/>
                          </a:lnTo>
                          <a:lnTo>
                            <a:pt x="1589" y="2058"/>
                          </a:lnTo>
                          <a:lnTo>
                            <a:pt x="1587" y="2069"/>
                          </a:lnTo>
                          <a:lnTo>
                            <a:pt x="1585" y="2074"/>
                          </a:lnTo>
                          <a:lnTo>
                            <a:pt x="1581" y="2079"/>
                          </a:lnTo>
                          <a:lnTo>
                            <a:pt x="1577" y="2083"/>
                          </a:lnTo>
                          <a:lnTo>
                            <a:pt x="1572" y="2088"/>
                          </a:lnTo>
                          <a:lnTo>
                            <a:pt x="1565" y="2092"/>
                          </a:lnTo>
                          <a:lnTo>
                            <a:pt x="1558" y="2094"/>
                          </a:lnTo>
                          <a:lnTo>
                            <a:pt x="1549" y="2098"/>
                          </a:lnTo>
                          <a:lnTo>
                            <a:pt x="1538" y="2099"/>
                          </a:lnTo>
                          <a:lnTo>
                            <a:pt x="1526" y="2102"/>
                          </a:lnTo>
                          <a:lnTo>
                            <a:pt x="1513" y="2102"/>
                          </a:lnTo>
                          <a:lnTo>
                            <a:pt x="1510" y="2102"/>
                          </a:lnTo>
                          <a:lnTo>
                            <a:pt x="1531" y="2149"/>
                          </a:lnTo>
                          <a:lnTo>
                            <a:pt x="1532" y="2149"/>
                          </a:lnTo>
                          <a:lnTo>
                            <a:pt x="1532" y="2149"/>
                          </a:lnTo>
                          <a:lnTo>
                            <a:pt x="1547" y="2149"/>
                          </a:lnTo>
                          <a:lnTo>
                            <a:pt x="1560" y="2147"/>
                          </a:lnTo>
                          <a:lnTo>
                            <a:pt x="1574" y="2144"/>
                          </a:lnTo>
                          <a:lnTo>
                            <a:pt x="1585" y="2141"/>
                          </a:lnTo>
                          <a:lnTo>
                            <a:pt x="1595" y="2137"/>
                          </a:lnTo>
                          <a:lnTo>
                            <a:pt x="1605" y="2132"/>
                          </a:lnTo>
                          <a:lnTo>
                            <a:pt x="1614" y="2125"/>
                          </a:lnTo>
                          <a:lnTo>
                            <a:pt x="1622" y="2119"/>
                          </a:lnTo>
                          <a:lnTo>
                            <a:pt x="1630" y="2110"/>
                          </a:lnTo>
                          <a:lnTo>
                            <a:pt x="1634" y="2100"/>
                          </a:lnTo>
                          <a:lnTo>
                            <a:pt x="1640" y="2091"/>
                          </a:lnTo>
                          <a:lnTo>
                            <a:pt x="1644" y="2080"/>
                          </a:lnTo>
                          <a:lnTo>
                            <a:pt x="1648" y="2068"/>
                          </a:lnTo>
                          <a:lnTo>
                            <a:pt x="1650" y="2055"/>
                          </a:lnTo>
                          <a:lnTo>
                            <a:pt x="1651" y="2042"/>
                          </a:lnTo>
                          <a:lnTo>
                            <a:pt x="1651" y="2026"/>
                          </a:lnTo>
                          <a:lnTo>
                            <a:pt x="1651" y="1805"/>
                          </a:lnTo>
                          <a:lnTo>
                            <a:pt x="1591" y="1805"/>
                          </a:lnTo>
                          <a:lnTo>
                            <a:pt x="1591" y="1822"/>
                          </a:lnTo>
                          <a:close/>
                          <a:moveTo>
                            <a:pt x="1591" y="1879"/>
                          </a:moveTo>
                          <a:lnTo>
                            <a:pt x="1591" y="1975"/>
                          </a:lnTo>
                          <a:lnTo>
                            <a:pt x="1591" y="1975"/>
                          </a:lnTo>
                          <a:lnTo>
                            <a:pt x="1583" y="1984"/>
                          </a:lnTo>
                          <a:lnTo>
                            <a:pt x="1574" y="1992"/>
                          </a:lnTo>
                          <a:lnTo>
                            <a:pt x="1569" y="1995"/>
                          </a:lnTo>
                          <a:lnTo>
                            <a:pt x="1563" y="1997"/>
                          </a:lnTo>
                          <a:lnTo>
                            <a:pt x="1555" y="1998"/>
                          </a:lnTo>
                          <a:lnTo>
                            <a:pt x="1548" y="2000"/>
                          </a:lnTo>
                          <a:lnTo>
                            <a:pt x="1548" y="2000"/>
                          </a:lnTo>
                          <a:lnTo>
                            <a:pt x="1540" y="1998"/>
                          </a:lnTo>
                          <a:lnTo>
                            <a:pt x="1532" y="1996"/>
                          </a:lnTo>
                          <a:lnTo>
                            <a:pt x="1524" y="1991"/>
                          </a:lnTo>
                          <a:lnTo>
                            <a:pt x="1518" y="1985"/>
                          </a:lnTo>
                          <a:lnTo>
                            <a:pt x="1512" y="1975"/>
                          </a:lnTo>
                          <a:lnTo>
                            <a:pt x="1507" y="1962"/>
                          </a:lnTo>
                          <a:lnTo>
                            <a:pt x="1503" y="1945"/>
                          </a:lnTo>
                          <a:lnTo>
                            <a:pt x="1502" y="1923"/>
                          </a:lnTo>
                          <a:lnTo>
                            <a:pt x="1502" y="1923"/>
                          </a:lnTo>
                          <a:lnTo>
                            <a:pt x="1503" y="1904"/>
                          </a:lnTo>
                          <a:lnTo>
                            <a:pt x="1507" y="1889"/>
                          </a:lnTo>
                          <a:lnTo>
                            <a:pt x="1512" y="1877"/>
                          </a:lnTo>
                          <a:lnTo>
                            <a:pt x="1518" y="1868"/>
                          </a:lnTo>
                          <a:lnTo>
                            <a:pt x="1524" y="1861"/>
                          </a:lnTo>
                          <a:lnTo>
                            <a:pt x="1532" y="1857"/>
                          </a:lnTo>
                          <a:lnTo>
                            <a:pt x="1540" y="1855"/>
                          </a:lnTo>
                          <a:lnTo>
                            <a:pt x="1548" y="1855"/>
                          </a:lnTo>
                          <a:lnTo>
                            <a:pt x="1548" y="1855"/>
                          </a:lnTo>
                          <a:lnTo>
                            <a:pt x="1555" y="1855"/>
                          </a:lnTo>
                          <a:lnTo>
                            <a:pt x="1563" y="1857"/>
                          </a:lnTo>
                          <a:lnTo>
                            <a:pt x="1570" y="1860"/>
                          </a:lnTo>
                          <a:lnTo>
                            <a:pt x="1575" y="1862"/>
                          </a:lnTo>
                          <a:lnTo>
                            <a:pt x="1580" y="1867"/>
                          </a:lnTo>
                          <a:lnTo>
                            <a:pt x="1585" y="1871"/>
                          </a:lnTo>
                          <a:lnTo>
                            <a:pt x="1591" y="1879"/>
                          </a:lnTo>
                          <a:lnTo>
                            <a:pt x="1591" y="1879"/>
                          </a:lnTo>
                          <a:close/>
                          <a:moveTo>
                            <a:pt x="1840" y="1865"/>
                          </a:moveTo>
                          <a:lnTo>
                            <a:pt x="1840" y="1865"/>
                          </a:lnTo>
                          <a:lnTo>
                            <a:pt x="1854" y="1857"/>
                          </a:lnTo>
                          <a:lnTo>
                            <a:pt x="1869" y="1852"/>
                          </a:lnTo>
                          <a:lnTo>
                            <a:pt x="1885" y="1849"/>
                          </a:lnTo>
                          <a:lnTo>
                            <a:pt x="1902" y="1848"/>
                          </a:lnTo>
                          <a:lnTo>
                            <a:pt x="1902" y="1848"/>
                          </a:lnTo>
                          <a:lnTo>
                            <a:pt x="1913" y="1849"/>
                          </a:lnTo>
                          <a:lnTo>
                            <a:pt x="1921" y="1850"/>
                          </a:lnTo>
                          <a:lnTo>
                            <a:pt x="1928" y="1852"/>
                          </a:lnTo>
                          <a:lnTo>
                            <a:pt x="1935" y="1857"/>
                          </a:lnTo>
                          <a:lnTo>
                            <a:pt x="1939" y="1862"/>
                          </a:lnTo>
                          <a:lnTo>
                            <a:pt x="1943" y="1868"/>
                          </a:lnTo>
                          <a:lnTo>
                            <a:pt x="1945" y="1874"/>
                          </a:lnTo>
                          <a:lnTo>
                            <a:pt x="1945" y="1883"/>
                          </a:lnTo>
                          <a:lnTo>
                            <a:pt x="1945" y="1900"/>
                          </a:lnTo>
                          <a:lnTo>
                            <a:pt x="1945" y="1900"/>
                          </a:lnTo>
                          <a:lnTo>
                            <a:pt x="1935" y="1895"/>
                          </a:lnTo>
                          <a:lnTo>
                            <a:pt x="1921" y="1891"/>
                          </a:lnTo>
                          <a:lnTo>
                            <a:pt x="1908" y="1889"/>
                          </a:lnTo>
                          <a:lnTo>
                            <a:pt x="1893" y="1888"/>
                          </a:lnTo>
                          <a:lnTo>
                            <a:pt x="1893" y="1888"/>
                          </a:lnTo>
                          <a:lnTo>
                            <a:pt x="1876" y="1889"/>
                          </a:lnTo>
                          <a:lnTo>
                            <a:pt x="1859" y="1893"/>
                          </a:lnTo>
                          <a:lnTo>
                            <a:pt x="1843" y="1897"/>
                          </a:lnTo>
                          <a:lnTo>
                            <a:pt x="1835" y="1901"/>
                          </a:lnTo>
                          <a:lnTo>
                            <a:pt x="1828" y="1906"/>
                          </a:lnTo>
                          <a:lnTo>
                            <a:pt x="1822" y="1911"/>
                          </a:lnTo>
                          <a:lnTo>
                            <a:pt x="1815" y="1917"/>
                          </a:lnTo>
                          <a:lnTo>
                            <a:pt x="1809" y="1923"/>
                          </a:lnTo>
                          <a:lnTo>
                            <a:pt x="1805" y="1930"/>
                          </a:lnTo>
                          <a:lnTo>
                            <a:pt x="1801" y="1939"/>
                          </a:lnTo>
                          <a:lnTo>
                            <a:pt x="1798" y="1948"/>
                          </a:lnTo>
                          <a:lnTo>
                            <a:pt x="1797" y="1958"/>
                          </a:lnTo>
                          <a:lnTo>
                            <a:pt x="1796" y="1968"/>
                          </a:lnTo>
                          <a:lnTo>
                            <a:pt x="1796" y="1968"/>
                          </a:lnTo>
                          <a:lnTo>
                            <a:pt x="1797" y="1980"/>
                          </a:lnTo>
                          <a:lnTo>
                            <a:pt x="1798" y="1991"/>
                          </a:lnTo>
                          <a:lnTo>
                            <a:pt x="1801" y="2000"/>
                          </a:lnTo>
                          <a:lnTo>
                            <a:pt x="1805" y="2009"/>
                          </a:lnTo>
                          <a:lnTo>
                            <a:pt x="1808" y="2017"/>
                          </a:lnTo>
                          <a:lnTo>
                            <a:pt x="1814" y="2024"/>
                          </a:lnTo>
                          <a:lnTo>
                            <a:pt x="1819" y="2030"/>
                          </a:lnTo>
                          <a:lnTo>
                            <a:pt x="1826" y="2036"/>
                          </a:lnTo>
                          <a:lnTo>
                            <a:pt x="1832" y="2041"/>
                          </a:lnTo>
                          <a:lnTo>
                            <a:pt x="1840" y="2045"/>
                          </a:lnTo>
                          <a:lnTo>
                            <a:pt x="1856" y="2051"/>
                          </a:lnTo>
                          <a:lnTo>
                            <a:pt x="1871" y="2054"/>
                          </a:lnTo>
                          <a:lnTo>
                            <a:pt x="1887" y="2055"/>
                          </a:lnTo>
                          <a:lnTo>
                            <a:pt x="1887" y="2055"/>
                          </a:lnTo>
                          <a:lnTo>
                            <a:pt x="1901" y="2053"/>
                          </a:lnTo>
                          <a:lnTo>
                            <a:pt x="1909" y="2052"/>
                          </a:lnTo>
                          <a:lnTo>
                            <a:pt x="1916" y="2049"/>
                          </a:lnTo>
                          <a:lnTo>
                            <a:pt x="1925" y="2046"/>
                          </a:lnTo>
                          <a:lnTo>
                            <a:pt x="1932" y="2041"/>
                          </a:lnTo>
                          <a:lnTo>
                            <a:pt x="1939" y="2036"/>
                          </a:lnTo>
                          <a:lnTo>
                            <a:pt x="1945" y="2030"/>
                          </a:lnTo>
                          <a:lnTo>
                            <a:pt x="1945" y="2049"/>
                          </a:lnTo>
                          <a:lnTo>
                            <a:pt x="2006" y="2049"/>
                          </a:lnTo>
                          <a:lnTo>
                            <a:pt x="2006" y="1884"/>
                          </a:lnTo>
                          <a:lnTo>
                            <a:pt x="2006" y="1884"/>
                          </a:lnTo>
                          <a:lnTo>
                            <a:pt x="2006" y="1874"/>
                          </a:lnTo>
                          <a:lnTo>
                            <a:pt x="2005" y="1866"/>
                          </a:lnTo>
                          <a:lnTo>
                            <a:pt x="2003" y="1857"/>
                          </a:lnTo>
                          <a:lnTo>
                            <a:pt x="2000" y="1849"/>
                          </a:lnTo>
                          <a:lnTo>
                            <a:pt x="1995" y="1842"/>
                          </a:lnTo>
                          <a:lnTo>
                            <a:pt x="1992" y="1834"/>
                          </a:lnTo>
                          <a:lnTo>
                            <a:pt x="1986" y="1828"/>
                          </a:lnTo>
                          <a:lnTo>
                            <a:pt x="1979" y="1822"/>
                          </a:lnTo>
                          <a:lnTo>
                            <a:pt x="1973" y="1817"/>
                          </a:lnTo>
                          <a:lnTo>
                            <a:pt x="1966" y="1812"/>
                          </a:lnTo>
                          <a:lnTo>
                            <a:pt x="1958" y="1809"/>
                          </a:lnTo>
                          <a:lnTo>
                            <a:pt x="1949" y="1805"/>
                          </a:lnTo>
                          <a:lnTo>
                            <a:pt x="1939" y="1803"/>
                          </a:lnTo>
                          <a:lnTo>
                            <a:pt x="1930" y="1801"/>
                          </a:lnTo>
                          <a:lnTo>
                            <a:pt x="1919" y="1800"/>
                          </a:lnTo>
                          <a:lnTo>
                            <a:pt x="1908" y="1799"/>
                          </a:lnTo>
                          <a:lnTo>
                            <a:pt x="1908" y="1799"/>
                          </a:lnTo>
                          <a:lnTo>
                            <a:pt x="1894" y="1800"/>
                          </a:lnTo>
                          <a:lnTo>
                            <a:pt x="1883" y="1800"/>
                          </a:lnTo>
                          <a:lnTo>
                            <a:pt x="1871" y="1803"/>
                          </a:lnTo>
                          <a:lnTo>
                            <a:pt x="1859" y="1805"/>
                          </a:lnTo>
                          <a:lnTo>
                            <a:pt x="1848" y="1809"/>
                          </a:lnTo>
                          <a:lnTo>
                            <a:pt x="1837" y="1812"/>
                          </a:lnTo>
                          <a:lnTo>
                            <a:pt x="1826" y="1817"/>
                          </a:lnTo>
                          <a:lnTo>
                            <a:pt x="1815" y="1823"/>
                          </a:lnTo>
                          <a:lnTo>
                            <a:pt x="1840" y="1865"/>
                          </a:lnTo>
                          <a:close/>
                          <a:moveTo>
                            <a:pt x="1857" y="1968"/>
                          </a:moveTo>
                          <a:lnTo>
                            <a:pt x="1857" y="1968"/>
                          </a:lnTo>
                          <a:lnTo>
                            <a:pt x="1857" y="1961"/>
                          </a:lnTo>
                          <a:lnTo>
                            <a:pt x="1859" y="1953"/>
                          </a:lnTo>
                          <a:lnTo>
                            <a:pt x="1863" y="1947"/>
                          </a:lnTo>
                          <a:lnTo>
                            <a:pt x="1868" y="1942"/>
                          </a:lnTo>
                          <a:lnTo>
                            <a:pt x="1874" y="1939"/>
                          </a:lnTo>
                          <a:lnTo>
                            <a:pt x="1881" y="1936"/>
                          </a:lnTo>
                          <a:lnTo>
                            <a:pt x="1890" y="1934"/>
                          </a:lnTo>
                          <a:lnTo>
                            <a:pt x="1898" y="1934"/>
                          </a:lnTo>
                          <a:lnTo>
                            <a:pt x="1898" y="1934"/>
                          </a:lnTo>
                          <a:lnTo>
                            <a:pt x="1911" y="1934"/>
                          </a:lnTo>
                          <a:lnTo>
                            <a:pt x="1924" y="1936"/>
                          </a:lnTo>
                          <a:lnTo>
                            <a:pt x="1935" y="1940"/>
                          </a:lnTo>
                          <a:lnTo>
                            <a:pt x="1945" y="1946"/>
                          </a:lnTo>
                          <a:lnTo>
                            <a:pt x="1945" y="1979"/>
                          </a:lnTo>
                          <a:lnTo>
                            <a:pt x="1945" y="1979"/>
                          </a:lnTo>
                          <a:lnTo>
                            <a:pt x="1943" y="1984"/>
                          </a:lnTo>
                          <a:lnTo>
                            <a:pt x="1938" y="1989"/>
                          </a:lnTo>
                          <a:lnTo>
                            <a:pt x="1933" y="1993"/>
                          </a:lnTo>
                          <a:lnTo>
                            <a:pt x="1927" y="1997"/>
                          </a:lnTo>
                          <a:lnTo>
                            <a:pt x="1921" y="2001"/>
                          </a:lnTo>
                          <a:lnTo>
                            <a:pt x="1914" y="2003"/>
                          </a:lnTo>
                          <a:lnTo>
                            <a:pt x="1907" y="2004"/>
                          </a:lnTo>
                          <a:lnTo>
                            <a:pt x="1898" y="2006"/>
                          </a:lnTo>
                          <a:lnTo>
                            <a:pt x="1898" y="2006"/>
                          </a:lnTo>
                          <a:lnTo>
                            <a:pt x="1890" y="2004"/>
                          </a:lnTo>
                          <a:lnTo>
                            <a:pt x="1881" y="2002"/>
                          </a:lnTo>
                          <a:lnTo>
                            <a:pt x="1874" y="2000"/>
                          </a:lnTo>
                          <a:lnTo>
                            <a:pt x="1868" y="1995"/>
                          </a:lnTo>
                          <a:lnTo>
                            <a:pt x="1863" y="1990"/>
                          </a:lnTo>
                          <a:lnTo>
                            <a:pt x="1859" y="1984"/>
                          </a:lnTo>
                          <a:lnTo>
                            <a:pt x="1858" y="1976"/>
                          </a:lnTo>
                          <a:lnTo>
                            <a:pt x="1857" y="1968"/>
                          </a:lnTo>
                          <a:lnTo>
                            <a:pt x="1857" y="1968"/>
                          </a:lnTo>
                          <a:close/>
                          <a:moveTo>
                            <a:pt x="2569" y="1979"/>
                          </a:moveTo>
                          <a:lnTo>
                            <a:pt x="2569" y="1979"/>
                          </a:lnTo>
                          <a:lnTo>
                            <a:pt x="2560" y="1986"/>
                          </a:lnTo>
                          <a:lnTo>
                            <a:pt x="2549" y="1992"/>
                          </a:lnTo>
                          <a:lnTo>
                            <a:pt x="2543" y="1995"/>
                          </a:lnTo>
                          <a:lnTo>
                            <a:pt x="2536" y="1997"/>
                          </a:lnTo>
                          <a:lnTo>
                            <a:pt x="2529" y="1998"/>
                          </a:lnTo>
                          <a:lnTo>
                            <a:pt x="2521" y="2000"/>
                          </a:lnTo>
                          <a:lnTo>
                            <a:pt x="2521" y="2000"/>
                          </a:lnTo>
                          <a:lnTo>
                            <a:pt x="2515" y="1998"/>
                          </a:lnTo>
                          <a:lnTo>
                            <a:pt x="2508" y="1998"/>
                          </a:lnTo>
                          <a:lnTo>
                            <a:pt x="2500" y="1996"/>
                          </a:lnTo>
                          <a:lnTo>
                            <a:pt x="2490" y="1991"/>
                          </a:lnTo>
                          <a:lnTo>
                            <a:pt x="2481" y="1985"/>
                          </a:lnTo>
                          <a:lnTo>
                            <a:pt x="2478" y="1980"/>
                          </a:lnTo>
                          <a:lnTo>
                            <a:pt x="2474" y="1975"/>
                          </a:lnTo>
                          <a:lnTo>
                            <a:pt x="2472" y="1969"/>
                          </a:lnTo>
                          <a:lnTo>
                            <a:pt x="2469" y="1962"/>
                          </a:lnTo>
                          <a:lnTo>
                            <a:pt x="2468" y="1955"/>
                          </a:lnTo>
                          <a:lnTo>
                            <a:pt x="2467" y="1946"/>
                          </a:lnTo>
                          <a:lnTo>
                            <a:pt x="2616" y="1946"/>
                          </a:lnTo>
                          <a:lnTo>
                            <a:pt x="2616" y="1946"/>
                          </a:lnTo>
                          <a:lnTo>
                            <a:pt x="2617" y="1928"/>
                          </a:lnTo>
                          <a:lnTo>
                            <a:pt x="2617" y="1928"/>
                          </a:lnTo>
                          <a:lnTo>
                            <a:pt x="2617" y="1913"/>
                          </a:lnTo>
                          <a:lnTo>
                            <a:pt x="2615" y="1900"/>
                          </a:lnTo>
                          <a:lnTo>
                            <a:pt x="2614" y="1886"/>
                          </a:lnTo>
                          <a:lnTo>
                            <a:pt x="2610" y="1874"/>
                          </a:lnTo>
                          <a:lnTo>
                            <a:pt x="2607" y="1863"/>
                          </a:lnTo>
                          <a:lnTo>
                            <a:pt x="2602" y="1852"/>
                          </a:lnTo>
                          <a:lnTo>
                            <a:pt x="2596" y="1843"/>
                          </a:lnTo>
                          <a:lnTo>
                            <a:pt x="2589" y="1834"/>
                          </a:lnTo>
                          <a:lnTo>
                            <a:pt x="2582" y="1826"/>
                          </a:lnTo>
                          <a:lnTo>
                            <a:pt x="2575" y="1820"/>
                          </a:lnTo>
                          <a:lnTo>
                            <a:pt x="2566" y="1814"/>
                          </a:lnTo>
                          <a:lnTo>
                            <a:pt x="2557" y="1809"/>
                          </a:lnTo>
                          <a:lnTo>
                            <a:pt x="2547" y="1805"/>
                          </a:lnTo>
                          <a:lnTo>
                            <a:pt x="2537" y="1801"/>
                          </a:lnTo>
                          <a:lnTo>
                            <a:pt x="2526" y="1800"/>
                          </a:lnTo>
                          <a:lnTo>
                            <a:pt x="2514" y="1799"/>
                          </a:lnTo>
                          <a:lnTo>
                            <a:pt x="2514" y="1799"/>
                          </a:lnTo>
                          <a:lnTo>
                            <a:pt x="2503" y="1800"/>
                          </a:lnTo>
                          <a:lnTo>
                            <a:pt x="2492" y="1801"/>
                          </a:lnTo>
                          <a:lnTo>
                            <a:pt x="2481" y="1805"/>
                          </a:lnTo>
                          <a:lnTo>
                            <a:pt x="2470" y="1809"/>
                          </a:lnTo>
                          <a:lnTo>
                            <a:pt x="2461" y="1814"/>
                          </a:lnTo>
                          <a:lnTo>
                            <a:pt x="2452" y="1821"/>
                          </a:lnTo>
                          <a:lnTo>
                            <a:pt x="2444" y="1827"/>
                          </a:lnTo>
                          <a:lnTo>
                            <a:pt x="2436" y="1835"/>
                          </a:lnTo>
                          <a:lnTo>
                            <a:pt x="2429" y="1844"/>
                          </a:lnTo>
                          <a:lnTo>
                            <a:pt x="2423" y="1854"/>
                          </a:lnTo>
                          <a:lnTo>
                            <a:pt x="2418" y="1865"/>
                          </a:lnTo>
                          <a:lnTo>
                            <a:pt x="2413" y="1876"/>
                          </a:lnTo>
                          <a:lnTo>
                            <a:pt x="2410" y="1888"/>
                          </a:lnTo>
                          <a:lnTo>
                            <a:pt x="2407" y="1901"/>
                          </a:lnTo>
                          <a:lnTo>
                            <a:pt x="2406" y="1913"/>
                          </a:lnTo>
                          <a:lnTo>
                            <a:pt x="2405" y="1928"/>
                          </a:lnTo>
                          <a:lnTo>
                            <a:pt x="2405" y="1928"/>
                          </a:lnTo>
                          <a:lnTo>
                            <a:pt x="2406" y="1941"/>
                          </a:lnTo>
                          <a:lnTo>
                            <a:pt x="2407" y="1955"/>
                          </a:lnTo>
                          <a:lnTo>
                            <a:pt x="2410" y="1968"/>
                          </a:lnTo>
                          <a:lnTo>
                            <a:pt x="2413" y="1980"/>
                          </a:lnTo>
                          <a:lnTo>
                            <a:pt x="2418" y="1991"/>
                          </a:lnTo>
                          <a:lnTo>
                            <a:pt x="2423" y="2002"/>
                          </a:lnTo>
                          <a:lnTo>
                            <a:pt x="2429" y="2012"/>
                          </a:lnTo>
                          <a:lnTo>
                            <a:pt x="2436" y="2020"/>
                          </a:lnTo>
                          <a:lnTo>
                            <a:pt x="2445" y="2028"/>
                          </a:lnTo>
                          <a:lnTo>
                            <a:pt x="2453" y="2035"/>
                          </a:lnTo>
                          <a:lnTo>
                            <a:pt x="2463" y="2041"/>
                          </a:lnTo>
                          <a:lnTo>
                            <a:pt x="2473" y="2046"/>
                          </a:lnTo>
                          <a:lnTo>
                            <a:pt x="2484" y="2049"/>
                          </a:lnTo>
                          <a:lnTo>
                            <a:pt x="2496" y="2053"/>
                          </a:lnTo>
                          <a:lnTo>
                            <a:pt x="2508" y="2054"/>
                          </a:lnTo>
                          <a:lnTo>
                            <a:pt x="2521" y="2055"/>
                          </a:lnTo>
                          <a:lnTo>
                            <a:pt x="2521" y="2055"/>
                          </a:lnTo>
                          <a:lnTo>
                            <a:pt x="2534" y="2054"/>
                          </a:lnTo>
                          <a:lnTo>
                            <a:pt x="2545" y="2053"/>
                          </a:lnTo>
                          <a:lnTo>
                            <a:pt x="2557" y="2049"/>
                          </a:lnTo>
                          <a:lnTo>
                            <a:pt x="2568" y="2046"/>
                          </a:lnTo>
                          <a:lnTo>
                            <a:pt x="2579" y="2040"/>
                          </a:lnTo>
                          <a:lnTo>
                            <a:pt x="2588" y="2034"/>
                          </a:lnTo>
                          <a:lnTo>
                            <a:pt x="2598" y="2025"/>
                          </a:lnTo>
                          <a:lnTo>
                            <a:pt x="2608" y="2017"/>
                          </a:lnTo>
                          <a:lnTo>
                            <a:pt x="2569" y="1979"/>
                          </a:lnTo>
                          <a:close/>
                          <a:moveTo>
                            <a:pt x="2468" y="1901"/>
                          </a:moveTo>
                          <a:lnTo>
                            <a:pt x="2468" y="1901"/>
                          </a:lnTo>
                          <a:lnTo>
                            <a:pt x="2469" y="1890"/>
                          </a:lnTo>
                          <a:lnTo>
                            <a:pt x="2472" y="1880"/>
                          </a:lnTo>
                          <a:lnTo>
                            <a:pt x="2475" y="1872"/>
                          </a:lnTo>
                          <a:lnTo>
                            <a:pt x="2481" y="1865"/>
                          </a:lnTo>
                          <a:lnTo>
                            <a:pt x="2487" y="1859"/>
                          </a:lnTo>
                          <a:lnTo>
                            <a:pt x="2495" y="1855"/>
                          </a:lnTo>
                          <a:lnTo>
                            <a:pt x="2503" y="1851"/>
                          </a:lnTo>
                          <a:lnTo>
                            <a:pt x="2513" y="1851"/>
                          </a:lnTo>
                          <a:lnTo>
                            <a:pt x="2513" y="1851"/>
                          </a:lnTo>
                          <a:lnTo>
                            <a:pt x="2524" y="1852"/>
                          </a:lnTo>
                          <a:lnTo>
                            <a:pt x="2534" y="1855"/>
                          </a:lnTo>
                          <a:lnTo>
                            <a:pt x="2541" y="1860"/>
                          </a:lnTo>
                          <a:lnTo>
                            <a:pt x="2547" y="1867"/>
                          </a:lnTo>
                          <a:lnTo>
                            <a:pt x="2552" y="1874"/>
                          </a:lnTo>
                          <a:lnTo>
                            <a:pt x="2555" y="1883"/>
                          </a:lnTo>
                          <a:lnTo>
                            <a:pt x="2558" y="1893"/>
                          </a:lnTo>
                          <a:lnTo>
                            <a:pt x="2559" y="1901"/>
                          </a:lnTo>
                          <a:lnTo>
                            <a:pt x="2468" y="1901"/>
                          </a:lnTo>
                          <a:close/>
                          <a:moveTo>
                            <a:pt x="3153" y="1979"/>
                          </a:moveTo>
                          <a:lnTo>
                            <a:pt x="3153" y="1979"/>
                          </a:lnTo>
                          <a:lnTo>
                            <a:pt x="3144" y="1986"/>
                          </a:lnTo>
                          <a:lnTo>
                            <a:pt x="3134" y="1992"/>
                          </a:lnTo>
                          <a:lnTo>
                            <a:pt x="3127" y="1995"/>
                          </a:lnTo>
                          <a:lnTo>
                            <a:pt x="3121" y="1997"/>
                          </a:lnTo>
                          <a:lnTo>
                            <a:pt x="3113" y="1998"/>
                          </a:lnTo>
                          <a:lnTo>
                            <a:pt x="3105" y="2000"/>
                          </a:lnTo>
                          <a:lnTo>
                            <a:pt x="3105" y="2000"/>
                          </a:lnTo>
                          <a:lnTo>
                            <a:pt x="3099" y="1998"/>
                          </a:lnTo>
                          <a:lnTo>
                            <a:pt x="3091" y="1998"/>
                          </a:lnTo>
                          <a:lnTo>
                            <a:pt x="3083" y="1996"/>
                          </a:lnTo>
                          <a:lnTo>
                            <a:pt x="3074" y="1991"/>
                          </a:lnTo>
                          <a:lnTo>
                            <a:pt x="3066" y="1985"/>
                          </a:lnTo>
                          <a:lnTo>
                            <a:pt x="3062" y="1980"/>
                          </a:lnTo>
                          <a:lnTo>
                            <a:pt x="3059" y="1975"/>
                          </a:lnTo>
                          <a:lnTo>
                            <a:pt x="3056" y="1969"/>
                          </a:lnTo>
                          <a:lnTo>
                            <a:pt x="3054" y="1962"/>
                          </a:lnTo>
                          <a:lnTo>
                            <a:pt x="3051" y="1955"/>
                          </a:lnTo>
                          <a:lnTo>
                            <a:pt x="3050" y="1946"/>
                          </a:lnTo>
                          <a:lnTo>
                            <a:pt x="3201" y="1946"/>
                          </a:lnTo>
                          <a:lnTo>
                            <a:pt x="3201" y="1946"/>
                          </a:lnTo>
                          <a:lnTo>
                            <a:pt x="3202" y="1928"/>
                          </a:lnTo>
                          <a:lnTo>
                            <a:pt x="3202" y="1928"/>
                          </a:lnTo>
                          <a:lnTo>
                            <a:pt x="3201" y="1913"/>
                          </a:lnTo>
                          <a:lnTo>
                            <a:pt x="3199" y="1900"/>
                          </a:lnTo>
                          <a:lnTo>
                            <a:pt x="3197" y="1886"/>
                          </a:lnTo>
                          <a:lnTo>
                            <a:pt x="3195" y="1874"/>
                          </a:lnTo>
                          <a:lnTo>
                            <a:pt x="3190" y="1863"/>
                          </a:lnTo>
                          <a:lnTo>
                            <a:pt x="3185" y="1852"/>
                          </a:lnTo>
                          <a:lnTo>
                            <a:pt x="3180" y="1843"/>
                          </a:lnTo>
                          <a:lnTo>
                            <a:pt x="3174" y="1834"/>
                          </a:lnTo>
                          <a:lnTo>
                            <a:pt x="3167" y="1826"/>
                          </a:lnTo>
                          <a:lnTo>
                            <a:pt x="3158" y="1820"/>
                          </a:lnTo>
                          <a:lnTo>
                            <a:pt x="3150" y="1814"/>
                          </a:lnTo>
                          <a:lnTo>
                            <a:pt x="3141" y="1809"/>
                          </a:lnTo>
                          <a:lnTo>
                            <a:pt x="3131" y="1805"/>
                          </a:lnTo>
                          <a:lnTo>
                            <a:pt x="3121" y="1801"/>
                          </a:lnTo>
                          <a:lnTo>
                            <a:pt x="3110" y="1800"/>
                          </a:lnTo>
                          <a:lnTo>
                            <a:pt x="3099" y="1799"/>
                          </a:lnTo>
                          <a:lnTo>
                            <a:pt x="3099" y="1799"/>
                          </a:lnTo>
                          <a:lnTo>
                            <a:pt x="3086" y="1800"/>
                          </a:lnTo>
                          <a:lnTo>
                            <a:pt x="3076" y="1801"/>
                          </a:lnTo>
                          <a:lnTo>
                            <a:pt x="3065" y="1805"/>
                          </a:lnTo>
                          <a:lnTo>
                            <a:pt x="3055" y="1809"/>
                          </a:lnTo>
                          <a:lnTo>
                            <a:pt x="3045" y="1814"/>
                          </a:lnTo>
                          <a:lnTo>
                            <a:pt x="3035" y="1821"/>
                          </a:lnTo>
                          <a:lnTo>
                            <a:pt x="3028" y="1827"/>
                          </a:lnTo>
                          <a:lnTo>
                            <a:pt x="3020" y="1835"/>
                          </a:lnTo>
                          <a:lnTo>
                            <a:pt x="3012" y="1844"/>
                          </a:lnTo>
                          <a:lnTo>
                            <a:pt x="3006" y="1854"/>
                          </a:lnTo>
                          <a:lnTo>
                            <a:pt x="3001" y="1865"/>
                          </a:lnTo>
                          <a:lnTo>
                            <a:pt x="2997" y="1876"/>
                          </a:lnTo>
                          <a:lnTo>
                            <a:pt x="2994" y="1888"/>
                          </a:lnTo>
                          <a:lnTo>
                            <a:pt x="2990" y="1901"/>
                          </a:lnTo>
                          <a:lnTo>
                            <a:pt x="2989" y="1913"/>
                          </a:lnTo>
                          <a:lnTo>
                            <a:pt x="2989" y="1928"/>
                          </a:lnTo>
                          <a:lnTo>
                            <a:pt x="2989" y="1928"/>
                          </a:lnTo>
                          <a:lnTo>
                            <a:pt x="2989" y="1941"/>
                          </a:lnTo>
                          <a:lnTo>
                            <a:pt x="2990" y="1955"/>
                          </a:lnTo>
                          <a:lnTo>
                            <a:pt x="2993" y="1968"/>
                          </a:lnTo>
                          <a:lnTo>
                            <a:pt x="2997" y="1980"/>
                          </a:lnTo>
                          <a:lnTo>
                            <a:pt x="3001" y="1991"/>
                          </a:lnTo>
                          <a:lnTo>
                            <a:pt x="3008" y="2002"/>
                          </a:lnTo>
                          <a:lnTo>
                            <a:pt x="3014" y="2012"/>
                          </a:lnTo>
                          <a:lnTo>
                            <a:pt x="3021" y="2020"/>
                          </a:lnTo>
                          <a:lnTo>
                            <a:pt x="3028" y="2028"/>
                          </a:lnTo>
                          <a:lnTo>
                            <a:pt x="3037" y="2035"/>
                          </a:lnTo>
                          <a:lnTo>
                            <a:pt x="3046" y="2041"/>
                          </a:lnTo>
                          <a:lnTo>
                            <a:pt x="3057" y="2046"/>
                          </a:lnTo>
                          <a:lnTo>
                            <a:pt x="3068" y="2049"/>
                          </a:lnTo>
                          <a:lnTo>
                            <a:pt x="3079" y="2053"/>
                          </a:lnTo>
                          <a:lnTo>
                            <a:pt x="3093" y="2054"/>
                          </a:lnTo>
                          <a:lnTo>
                            <a:pt x="3105" y="2055"/>
                          </a:lnTo>
                          <a:lnTo>
                            <a:pt x="3105" y="2055"/>
                          </a:lnTo>
                          <a:lnTo>
                            <a:pt x="3117" y="2054"/>
                          </a:lnTo>
                          <a:lnTo>
                            <a:pt x="3129" y="2053"/>
                          </a:lnTo>
                          <a:lnTo>
                            <a:pt x="3140" y="2049"/>
                          </a:lnTo>
                          <a:lnTo>
                            <a:pt x="3151" y="2046"/>
                          </a:lnTo>
                          <a:lnTo>
                            <a:pt x="3162" y="2040"/>
                          </a:lnTo>
                          <a:lnTo>
                            <a:pt x="3173" y="2034"/>
                          </a:lnTo>
                          <a:lnTo>
                            <a:pt x="3182" y="2025"/>
                          </a:lnTo>
                          <a:lnTo>
                            <a:pt x="3191" y="2017"/>
                          </a:lnTo>
                          <a:lnTo>
                            <a:pt x="3153" y="1979"/>
                          </a:lnTo>
                          <a:close/>
                          <a:moveTo>
                            <a:pt x="3051" y="1901"/>
                          </a:moveTo>
                          <a:lnTo>
                            <a:pt x="3051" y="1901"/>
                          </a:lnTo>
                          <a:lnTo>
                            <a:pt x="3052" y="1890"/>
                          </a:lnTo>
                          <a:lnTo>
                            <a:pt x="3056" y="1880"/>
                          </a:lnTo>
                          <a:lnTo>
                            <a:pt x="3060" y="1872"/>
                          </a:lnTo>
                          <a:lnTo>
                            <a:pt x="3065" y="1865"/>
                          </a:lnTo>
                          <a:lnTo>
                            <a:pt x="3072" y="1859"/>
                          </a:lnTo>
                          <a:lnTo>
                            <a:pt x="3079" y="1855"/>
                          </a:lnTo>
                          <a:lnTo>
                            <a:pt x="3088" y="1851"/>
                          </a:lnTo>
                          <a:lnTo>
                            <a:pt x="3097" y="1851"/>
                          </a:lnTo>
                          <a:lnTo>
                            <a:pt x="3097" y="1851"/>
                          </a:lnTo>
                          <a:lnTo>
                            <a:pt x="3108" y="1852"/>
                          </a:lnTo>
                          <a:lnTo>
                            <a:pt x="3117" y="1855"/>
                          </a:lnTo>
                          <a:lnTo>
                            <a:pt x="3125" y="1860"/>
                          </a:lnTo>
                          <a:lnTo>
                            <a:pt x="3131" y="1867"/>
                          </a:lnTo>
                          <a:lnTo>
                            <a:pt x="3136" y="1874"/>
                          </a:lnTo>
                          <a:lnTo>
                            <a:pt x="3140" y="1883"/>
                          </a:lnTo>
                          <a:lnTo>
                            <a:pt x="3142" y="1893"/>
                          </a:lnTo>
                          <a:lnTo>
                            <a:pt x="3144" y="1901"/>
                          </a:lnTo>
                          <a:lnTo>
                            <a:pt x="3051" y="1901"/>
                          </a:lnTo>
                          <a:close/>
                          <a:moveTo>
                            <a:pt x="2905" y="1964"/>
                          </a:moveTo>
                          <a:lnTo>
                            <a:pt x="2905" y="1964"/>
                          </a:lnTo>
                          <a:lnTo>
                            <a:pt x="2905" y="1973"/>
                          </a:lnTo>
                          <a:lnTo>
                            <a:pt x="2907" y="1979"/>
                          </a:lnTo>
                          <a:lnTo>
                            <a:pt x="2909" y="1985"/>
                          </a:lnTo>
                          <a:lnTo>
                            <a:pt x="2912" y="1990"/>
                          </a:lnTo>
                          <a:lnTo>
                            <a:pt x="2915" y="1993"/>
                          </a:lnTo>
                          <a:lnTo>
                            <a:pt x="2920" y="1996"/>
                          </a:lnTo>
                          <a:lnTo>
                            <a:pt x="2925" y="1997"/>
                          </a:lnTo>
                          <a:lnTo>
                            <a:pt x="2932" y="1997"/>
                          </a:lnTo>
                          <a:lnTo>
                            <a:pt x="2932" y="1997"/>
                          </a:lnTo>
                          <a:lnTo>
                            <a:pt x="2941" y="1997"/>
                          </a:lnTo>
                          <a:lnTo>
                            <a:pt x="2950" y="1995"/>
                          </a:lnTo>
                          <a:lnTo>
                            <a:pt x="2960" y="1991"/>
                          </a:lnTo>
                          <a:lnTo>
                            <a:pt x="2969" y="1986"/>
                          </a:lnTo>
                          <a:lnTo>
                            <a:pt x="2961" y="2043"/>
                          </a:lnTo>
                          <a:lnTo>
                            <a:pt x="2961" y="2043"/>
                          </a:lnTo>
                          <a:lnTo>
                            <a:pt x="2950" y="2048"/>
                          </a:lnTo>
                          <a:lnTo>
                            <a:pt x="2937" y="2052"/>
                          </a:lnTo>
                          <a:lnTo>
                            <a:pt x="2924" y="2054"/>
                          </a:lnTo>
                          <a:lnTo>
                            <a:pt x="2910" y="2055"/>
                          </a:lnTo>
                          <a:lnTo>
                            <a:pt x="2910" y="2055"/>
                          </a:lnTo>
                          <a:lnTo>
                            <a:pt x="2902" y="2054"/>
                          </a:lnTo>
                          <a:lnTo>
                            <a:pt x="2893" y="2053"/>
                          </a:lnTo>
                          <a:lnTo>
                            <a:pt x="2886" y="2051"/>
                          </a:lnTo>
                          <a:lnTo>
                            <a:pt x="2880" y="2048"/>
                          </a:lnTo>
                          <a:lnTo>
                            <a:pt x="2874" y="2045"/>
                          </a:lnTo>
                          <a:lnTo>
                            <a:pt x="2868" y="2041"/>
                          </a:lnTo>
                          <a:lnTo>
                            <a:pt x="2864" y="2036"/>
                          </a:lnTo>
                          <a:lnTo>
                            <a:pt x="2859" y="2030"/>
                          </a:lnTo>
                          <a:lnTo>
                            <a:pt x="2853" y="2019"/>
                          </a:lnTo>
                          <a:lnTo>
                            <a:pt x="2848" y="2006"/>
                          </a:lnTo>
                          <a:lnTo>
                            <a:pt x="2846" y="1993"/>
                          </a:lnTo>
                          <a:lnTo>
                            <a:pt x="2845" y="1980"/>
                          </a:lnTo>
                          <a:lnTo>
                            <a:pt x="2845" y="1861"/>
                          </a:lnTo>
                          <a:lnTo>
                            <a:pt x="2807" y="1861"/>
                          </a:lnTo>
                          <a:lnTo>
                            <a:pt x="2807" y="1805"/>
                          </a:lnTo>
                          <a:lnTo>
                            <a:pt x="2845" y="1805"/>
                          </a:lnTo>
                          <a:lnTo>
                            <a:pt x="2845" y="1742"/>
                          </a:lnTo>
                          <a:lnTo>
                            <a:pt x="2905" y="1711"/>
                          </a:lnTo>
                          <a:lnTo>
                            <a:pt x="2905" y="1805"/>
                          </a:lnTo>
                          <a:lnTo>
                            <a:pt x="2960" y="1805"/>
                          </a:lnTo>
                          <a:lnTo>
                            <a:pt x="2960" y="1861"/>
                          </a:lnTo>
                          <a:lnTo>
                            <a:pt x="2905" y="1861"/>
                          </a:lnTo>
                          <a:lnTo>
                            <a:pt x="2905" y="1964"/>
                          </a:lnTo>
                          <a:close/>
                          <a:moveTo>
                            <a:pt x="2788" y="2043"/>
                          </a:moveTo>
                          <a:lnTo>
                            <a:pt x="2788" y="2043"/>
                          </a:lnTo>
                          <a:lnTo>
                            <a:pt x="2777" y="2048"/>
                          </a:lnTo>
                          <a:lnTo>
                            <a:pt x="2764" y="2052"/>
                          </a:lnTo>
                          <a:lnTo>
                            <a:pt x="2751" y="2054"/>
                          </a:lnTo>
                          <a:lnTo>
                            <a:pt x="2738" y="2055"/>
                          </a:lnTo>
                          <a:lnTo>
                            <a:pt x="2738" y="2055"/>
                          </a:lnTo>
                          <a:lnTo>
                            <a:pt x="2728" y="2054"/>
                          </a:lnTo>
                          <a:lnTo>
                            <a:pt x="2721" y="2053"/>
                          </a:lnTo>
                          <a:lnTo>
                            <a:pt x="2713" y="2051"/>
                          </a:lnTo>
                          <a:lnTo>
                            <a:pt x="2706" y="2048"/>
                          </a:lnTo>
                          <a:lnTo>
                            <a:pt x="2701" y="2045"/>
                          </a:lnTo>
                          <a:lnTo>
                            <a:pt x="2695" y="2041"/>
                          </a:lnTo>
                          <a:lnTo>
                            <a:pt x="2690" y="2036"/>
                          </a:lnTo>
                          <a:lnTo>
                            <a:pt x="2687" y="2030"/>
                          </a:lnTo>
                          <a:lnTo>
                            <a:pt x="2679" y="2019"/>
                          </a:lnTo>
                          <a:lnTo>
                            <a:pt x="2676" y="2006"/>
                          </a:lnTo>
                          <a:lnTo>
                            <a:pt x="2672" y="1993"/>
                          </a:lnTo>
                          <a:lnTo>
                            <a:pt x="2672" y="1980"/>
                          </a:lnTo>
                          <a:lnTo>
                            <a:pt x="2672" y="1861"/>
                          </a:lnTo>
                          <a:lnTo>
                            <a:pt x="2634" y="1861"/>
                          </a:lnTo>
                          <a:lnTo>
                            <a:pt x="2634" y="1805"/>
                          </a:lnTo>
                          <a:lnTo>
                            <a:pt x="2672" y="1805"/>
                          </a:lnTo>
                          <a:lnTo>
                            <a:pt x="2672" y="1742"/>
                          </a:lnTo>
                          <a:lnTo>
                            <a:pt x="2733" y="1711"/>
                          </a:lnTo>
                          <a:lnTo>
                            <a:pt x="2733" y="1805"/>
                          </a:lnTo>
                          <a:lnTo>
                            <a:pt x="2784" y="1805"/>
                          </a:lnTo>
                          <a:lnTo>
                            <a:pt x="2784" y="1861"/>
                          </a:lnTo>
                          <a:lnTo>
                            <a:pt x="2733" y="1861"/>
                          </a:lnTo>
                          <a:lnTo>
                            <a:pt x="2733" y="1964"/>
                          </a:lnTo>
                          <a:lnTo>
                            <a:pt x="2733" y="1964"/>
                          </a:lnTo>
                          <a:lnTo>
                            <a:pt x="2733" y="1973"/>
                          </a:lnTo>
                          <a:lnTo>
                            <a:pt x="2734" y="1979"/>
                          </a:lnTo>
                          <a:lnTo>
                            <a:pt x="2737" y="1985"/>
                          </a:lnTo>
                          <a:lnTo>
                            <a:pt x="2739" y="1990"/>
                          </a:lnTo>
                          <a:lnTo>
                            <a:pt x="2743" y="1993"/>
                          </a:lnTo>
                          <a:lnTo>
                            <a:pt x="2747" y="1996"/>
                          </a:lnTo>
                          <a:lnTo>
                            <a:pt x="2752" y="1997"/>
                          </a:lnTo>
                          <a:lnTo>
                            <a:pt x="2758" y="1997"/>
                          </a:lnTo>
                          <a:lnTo>
                            <a:pt x="2758" y="1997"/>
                          </a:lnTo>
                          <a:lnTo>
                            <a:pt x="2768" y="1997"/>
                          </a:lnTo>
                          <a:lnTo>
                            <a:pt x="2778" y="1995"/>
                          </a:lnTo>
                          <a:lnTo>
                            <a:pt x="2786" y="1991"/>
                          </a:lnTo>
                          <a:lnTo>
                            <a:pt x="2795" y="1986"/>
                          </a:lnTo>
                          <a:lnTo>
                            <a:pt x="2788" y="2043"/>
                          </a:lnTo>
                          <a:close/>
                          <a:moveTo>
                            <a:pt x="3384" y="1873"/>
                          </a:moveTo>
                          <a:lnTo>
                            <a:pt x="3384" y="1873"/>
                          </a:lnTo>
                          <a:lnTo>
                            <a:pt x="3376" y="1867"/>
                          </a:lnTo>
                          <a:lnTo>
                            <a:pt x="3366" y="1863"/>
                          </a:lnTo>
                          <a:lnTo>
                            <a:pt x="3355" y="1861"/>
                          </a:lnTo>
                          <a:lnTo>
                            <a:pt x="3344" y="1860"/>
                          </a:lnTo>
                          <a:lnTo>
                            <a:pt x="3344" y="1860"/>
                          </a:lnTo>
                          <a:lnTo>
                            <a:pt x="3334" y="1861"/>
                          </a:lnTo>
                          <a:lnTo>
                            <a:pt x="3325" y="1863"/>
                          </a:lnTo>
                          <a:lnTo>
                            <a:pt x="3317" y="1868"/>
                          </a:lnTo>
                          <a:lnTo>
                            <a:pt x="3311" y="1874"/>
                          </a:lnTo>
                          <a:lnTo>
                            <a:pt x="3306" y="1882"/>
                          </a:lnTo>
                          <a:lnTo>
                            <a:pt x="3304" y="1891"/>
                          </a:lnTo>
                          <a:lnTo>
                            <a:pt x="3302" y="1904"/>
                          </a:lnTo>
                          <a:lnTo>
                            <a:pt x="3300" y="1917"/>
                          </a:lnTo>
                          <a:lnTo>
                            <a:pt x="3300" y="2049"/>
                          </a:lnTo>
                          <a:lnTo>
                            <a:pt x="3241" y="2049"/>
                          </a:lnTo>
                          <a:lnTo>
                            <a:pt x="3241" y="1805"/>
                          </a:lnTo>
                          <a:lnTo>
                            <a:pt x="3300" y="1805"/>
                          </a:lnTo>
                          <a:lnTo>
                            <a:pt x="3300" y="1826"/>
                          </a:lnTo>
                          <a:lnTo>
                            <a:pt x="3300" y="1826"/>
                          </a:lnTo>
                          <a:lnTo>
                            <a:pt x="3306" y="1820"/>
                          </a:lnTo>
                          <a:lnTo>
                            <a:pt x="3313" y="1814"/>
                          </a:lnTo>
                          <a:lnTo>
                            <a:pt x="3319" y="1810"/>
                          </a:lnTo>
                          <a:lnTo>
                            <a:pt x="3326" y="1806"/>
                          </a:lnTo>
                          <a:lnTo>
                            <a:pt x="3332" y="1803"/>
                          </a:lnTo>
                          <a:lnTo>
                            <a:pt x="3339" y="1801"/>
                          </a:lnTo>
                          <a:lnTo>
                            <a:pt x="3347" y="1800"/>
                          </a:lnTo>
                          <a:lnTo>
                            <a:pt x="3355" y="1799"/>
                          </a:lnTo>
                          <a:lnTo>
                            <a:pt x="3355" y="1799"/>
                          </a:lnTo>
                          <a:lnTo>
                            <a:pt x="3367" y="1800"/>
                          </a:lnTo>
                          <a:lnTo>
                            <a:pt x="3379" y="1804"/>
                          </a:lnTo>
                          <a:lnTo>
                            <a:pt x="3390" y="1807"/>
                          </a:lnTo>
                          <a:lnTo>
                            <a:pt x="3400" y="1814"/>
                          </a:lnTo>
                          <a:lnTo>
                            <a:pt x="3384" y="1873"/>
                          </a:lnTo>
                          <a:close/>
                          <a:moveTo>
                            <a:pt x="653" y="1747"/>
                          </a:moveTo>
                          <a:lnTo>
                            <a:pt x="653" y="1770"/>
                          </a:lnTo>
                          <a:lnTo>
                            <a:pt x="592" y="1770"/>
                          </a:lnTo>
                          <a:lnTo>
                            <a:pt x="592" y="1709"/>
                          </a:lnTo>
                          <a:lnTo>
                            <a:pt x="653" y="1709"/>
                          </a:lnTo>
                          <a:lnTo>
                            <a:pt x="653" y="1747"/>
                          </a:lnTo>
                          <a:close/>
                          <a:moveTo>
                            <a:pt x="1073" y="1805"/>
                          </a:moveTo>
                          <a:lnTo>
                            <a:pt x="1134" y="1805"/>
                          </a:lnTo>
                          <a:lnTo>
                            <a:pt x="1134" y="1930"/>
                          </a:lnTo>
                          <a:lnTo>
                            <a:pt x="1134" y="2049"/>
                          </a:lnTo>
                          <a:lnTo>
                            <a:pt x="1073" y="2049"/>
                          </a:lnTo>
                          <a:lnTo>
                            <a:pt x="1073" y="1805"/>
                          </a:lnTo>
                          <a:close/>
                          <a:moveTo>
                            <a:pt x="1134" y="1739"/>
                          </a:moveTo>
                          <a:lnTo>
                            <a:pt x="1134" y="1770"/>
                          </a:lnTo>
                          <a:lnTo>
                            <a:pt x="1073" y="1770"/>
                          </a:lnTo>
                          <a:lnTo>
                            <a:pt x="1073" y="1709"/>
                          </a:lnTo>
                          <a:lnTo>
                            <a:pt x="1134" y="1709"/>
                          </a:lnTo>
                          <a:lnTo>
                            <a:pt x="1134" y="1739"/>
                          </a:lnTo>
                          <a:close/>
                          <a:moveTo>
                            <a:pt x="2796" y="2250"/>
                          </a:moveTo>
                          <a:lnTo>
                            <a:pt x="2796" y="2250"/>
                          </a:lnTo>
                          <a:lnTo>
                            <a:pt x="2790" y="2245"/>
                          </a:lnTo>
                          <a:lnTo>
                            <a:pt x="2784" y="2240"/>
                          </a:lnTo>
                          <a:lnTo>
                            <a:pt x="2778" y="2237"/>
                          </a:lnTo>
                          <a:lnTo>
                            <a:pt x="2771" y="2233"/>
                          </a:lnTo>
                          <a:lnTo>
                            <a:pt x="2764" y="2231"/>
                          </a:lnTo>
                          <a:lnTo>
                            <a:pt x="2757" y="2229"/>
                          </a:lnTo>
                          <a:lnTo>
                            <a:pt x="2741" y="2227"/>
                          </a:lnTo>
                          <a:lnTo>
                            <a:pt x="2741" y="2227"/>
                          </a:lnTo>
                          <a:lnTo>
                            <a:pt x="2730" y="2228"/>
                          </a:lnTo>
                          <a:lnTo>
                            <a:pt x="2721" y="2229"/>
                          </a:lnTo>
                          <a:lnTo>
                            <a:pt x="2711" y="2233"/>
                          </a:lnTo>
                          <a:lnTo>
                            <a:pt x="2701" y="2237"/>
                          </a:lnTo>
                          <a:lnTo>
                            <a:pt x="2693" y="2241"/>
                          </a:lnTo>
                          <a:lnTo>
                            <a:pt x="2685" y="2246"/>
                          </a:lnTo>
                          <a:lnTo>
                            <a:pt x="2678" y="2254"/>
                          </a:lnTo>
                          <a:lnTo>
                            <a:pt x="2671" y="2261"/>
                          </a:lnTo>
                          <a:lnTo>
                            <a:pt x="2666" y="2269"/>
                          </a:lnTo>
                          <a:lnTo>
                            <a:pt x="2660" y="2279"/>
                          </a:lnTo>
                          <a:lnTo>
                            <a:pt x="2656" y="2289"/>
                          </a:lnTo>
                          <a:lnTo>
                            <a:pt x="2653" y="2301"/>
                          </a:lnTo>
                          <a:lnTo>
                            <a:pt x="2649" y="2312"/>
                          </a:lnTo>
                          <a:lnTo>
                            <a:pt x="2648" y="2325"/>
                          </a:lnTo>
                          <a:lnTo>
                            <a:pt x="2647" y="2339"/>
                          </a:lnTo>
                          <a:lnTo>
                            <a:pt x="2645" y="2353"/>
                          </a:lnTo>
                          <a:lnTo>
                            <a:pt x="2645" y="2353"/>
                          </a:lnTo>
                          <a:lnTo>
                            <a:pt x="2647" y="2368"/>
                          </a:lnTo>
                          <a:lnTo>
                            <a:pt x="2648" y="2381"/>
                          </a:lnTo>
                          <a:lnTo>
                            <a:pt x="2649" y="2395"/>
                          </a:lnTo>
                          <a:lnTo>
                            <a:pt x="2653" y="2408"/>
                          </a:lnTo>
                          <a:lnTo>
                            <a:pt x="2655" y="2419"/>
                          </a:lnTo>
                          <a:lnTo>
                            <a:pt x="2660" y="2430"/>
                          </a:lnTo>
                          <a:lnTo>
                            <a:pt x="2665" y="2440"/>
                          </a:lnTo>
                          <a:lnTo>
                            <a:pt x="2671" y="2448"/>
                          </a:lnTo>
                          <a:lnTo>
                            <a:pt x="2677" y="2457"/>
                          </a:lnTo>
                          <a:lnTo>
                            <a:pt x="2684" y="2463"/>
                          </a:lnTo>
                          <a:lnTo>
                            <a:pt x="2692" y="2469"/>
                          </a:lnTo>
                          <a:lnTo>
                            <a:pt x="2700" y="2474"/>
                          </a:lnTo>
                          <a:lnTo>
                            <a:pt x="2710" y="2479"/>
                          </a:lnTo>
                          <a:lnTo>
                            <a:pt x="2720" y="2481"/>
                          </a:lnTo>
                          <a:lnTo>
                            <a:pt x="2729" y="2482"/>
                          </a:lnTo>
                          <a:lnTo>
                            <a:pt x="2740" y="2483"/>
                          </a:lnTo>
                          <a:lnTo>
                            <a:pt x="2740" y="2483"/>
                          </a:lnTo>
                          <a:lnTo>
                            <a:pt x="2747" y="2482"/>
                          </a:lnTo>
                          <a:lnTo>
                            <a:pt x="2756" y="2481"/>
                          </a:lnTo>
                          <a:lnTo>
                            <a:pt x="2763" y="2480"/>
                          </a:lnTo>
                          <a:lnTo>
                            <a:pt x="2769" y="2477"/>
                          </a:lnTo>
                          <a:lnTo>
                            <a:pt x="2777" y="2474"/>
                          </a:lnTo>
                          <a:lnTo>
                            <a:pt x="2784" y="2470"/>
                          </a:lnTo>
                          <a:lnTo>
                            <a:pt x="2790" y="2465"/>
                          </a:lnTo>
                          <a:lnTo>
                            <a:pt x="2796" y="2459"/>
                          </a:lnTo>
                          <a:lnTo>
                            <a:pt x="2796" y="2477"/>
                          </a:lnTo>
                          <a:lnTo>
                            <a:pt x="2857" y="2477"/>
                          </a:lnTo>
                          <a:lnTo>
                            <a:pt x="2857" y="2131"/>
                          </a:lnTo>
                          <a:lnTo>
                            <a:pt x="2796" y="2161"/>
                          </a:lnTo>
                          <a:lnTo>
                            <a:pt x="2796" y="2250"/>
                          </a:lnTo>
                          <a:close/>
                          <a:moveTo>
                            <a:pt x="2754" y="2427"/>
                          </a:moveTo>
                          <a:lnTo>
                            <a:pt x="2754" y="2427"/>
                          </a:lnTo>
                          <a:lnTo>
                            <a:pt x="2745" y="2426"/>
                          </a:lnTo>
                          <a:lnTo>
                            <a:pt x="2738" y="2424"/>
                          </a:lnTo>
                          <a:lnTo>
                            <a:pt x="2729" y="2420"/>
                          </a:lnTo>
                          <a:lnTo>
                            <a:pt x="2722" y="2413"/>
                          </a:lnTo>
                          <a:lnTo>
                            <a:pt x="2716" y="2403"/>
                          </a:lnTo>
                          <a:lnTo>
                            <a:pt x="2711" y="2390"/>
                          </a:lnTo>
                          <a:lnTo>
                            <a:pt x="2709" y="2373"/>
                          </a:lnTo>
                          <a:lnTo>
                            <a:pt x="2707" y="2351"/>
                          </a:lnTo>
                          <a:lnTo>
                            <a:pt x="2707" y="2351"/>
                          </a:lnTo>
                          <a:lnTo>
                            <a:pt x="2709" y="2333"/>
                          </a:lnTo>
                          <a:lnTo>
                            <a:pt x="2711" y="2317"/>
                          </a:lnTo>
                          <a:lnTo>
                            <a:pt x="2716" y="2305"/>
                          </a:lnTo>
                          <a:lnTo>
                            <a:pt x="2722" y="2296"/>
                          </a:lnTo>
                          <a:lnTo>
                            <a:pt x="2729" y="2290"/>
                          </a:lnTo>
                          <a:lnTo>
                            <a:pt x="2737" y="2285"/>
                          </a:lnTo>
                          <a:lnTo>
                            <a:pt x="2745" y="2284"/>
                          </a:lnTo>
                          <a:lnTo>
                            <a:pt x="2752" y="2283"/>
                          </a:lnTo>
                          <a:lnTo>
                            <a:pt x="2752" y="2283"/>
                          </a:lnTo>
                          <a:lnTo>
                            <a:pt x="2761" y="2284"/>
                          </a:lnTo>
                          <a:lnTo>
                            <a:pt x="2768" y="2285"/>
                          </a:lnTo>
                          <a:lnTo>
                            <a:pt x="2774" y="2288"/>
                          </a:lnTo>
                          <a:lnTo>
                            <a:pt x="2780" y="2291"/>
                          </a:lnTo>
                          <a:lnTo>
                            <a:pt x="2785" y="2295"/>
                          </a:lnTo>
                          <a:lnTo>
                            <a:pt x="2790" y="2299"/>
                          </a:lnTo>
                          <a:lnTo>
                            <a:pt x="2796" y="2307"/>
                          </a:lnTo>
                          <a:lnTo>
                            <a:pt x="2796" y="2403"/>
                          </a:lnTo>
                          <a:lnTo>
                            <a:pt x="2796" y="2403"/>
                          </a:lnTo>
                          <a:lnTo>
                            <a:pt x="2789" y="2412"/>
                          </a:lnTo>
                          <a:lnTo>
                            <a:pt x="2780" y="2419"/>
                          </a:lnTo>
                          <a:lnTo>
                            <a:pt x="2774" y="2423"/>
                          </a:lnTo>
                          <a:lnTo>
                            <a:pt x="2768" y="2425"/>
                          </a:lnTo>
                          <a:lnTo>
                            <a:pt x="2761" y="2426"/>
                          </a:lnTo>
                          <a:lnTo>
                            <a:pt x="2754" y="2427"/>
                          </a:lnTo>
                          <a:lnTo>
                            <a:pt x="2754" y="2427"/>
                          </a:lnTo>
                          <a:close/>
                          <a:moveTo>
                            <a:pt x="740" y="2301"/>
                          </a:moveTo>
                          <a:lnTo>
                            <a:pt x="740" y="2301"/>
                          </a:lnTo>
                          <a:lnTo>
                            <a:pt x="732" y="2296"/>
                          </a:lnTo>
                          <a:lnTo>
                            <a:pt x="722" y="2291"/>
                          </a:lnTo>
                          <a:lnTo>
                            <a:pt x="711" y="2289"/>
                          </a:lnTo>
                          <a:lnTo>
                            <a:pt x="700" y="2288"/>
                          </a:lnTo>
                          <a:lnTo>
                            <a:pt x="700" y="2288"/>
                          </a:lnTo>
                          <a:lnTo>
                            <a:pt x="690" y="2289"/>
                          </a:lnTo>
                          <a:lnTo>
                            <a:pt x="680" y="2291"/>
                          </a:lnTo>
                          <a:lnTo>
                            <a:pt x="673" y="2296"/>
                          </a:lnTo>
                          <a:lnTo>
                            <a:pt x="667" y="2302"/>
                          </a:lnTo>
                          <a:lnTo>
                            <a:pt x="662" y="2310"/>
                          </a:lnTo>
                          <a:lnTo>
                            <a:pt x="660" y="2319"/>
                          </a:lnTo>
                          <a:lnTo>
                            <a:pt x="657" y="2331"/>
                          </a:lnTo>
                          <a:lnTo>
                            <a:pt x="656" y="2345"/>
                          </a:lnTo>
                          <a:lnTo>
                            <a:pt x="656" y="2477"/>
                          </a:lnTo>
                          <a:lnTo>
                            <a:pt x="597" y="2477"/>
                          </a:lnTo>
                          <a:lnTo>
                            <a:pt x="597" y="2233"/>
                          </a:lnTo>
                          <a:lnTo>
                            <a:pt x="656" y="2233"/>
                          </a:lnTo>
                          <a:lnTo>
                            <a:pt x="656" y="2254"/>
                          </a:lnTo>
                          <a:lnTo>
                            <a:pt x="656" y="2254"/>
                          </a:lnTo>
                          <a:lnTo>
                            <a:pt x="662" y="2248"/>
                          </a:lnTo>
                          <a:lnTo>
                            <a:pt x="668" y="2241"/>
                          </a:lnTo>
                          <a:lnTo>
                            <a:pt x="674" y="2238"/>
                          </a:lnTo>
                          <a:lnTo>
                            <a:pt x="682" y="2234"/>
                          </a:lnTo>
                          <a:lnTo>
                            <a:pt x="688" y="2231"/>
                          </a:lnTo>
                          <a:lnTo>
                            <a:pt x="695" y="2229"/>
                          </a:lnTo>
                          <a:lnTo>
                            <a:pt x="704" y="2228"/>
                          </a:lnTo>
                          <a:lnTo>
                            <a:pt x="711" y="2227"/>
                          </a:lnTo>
                          <a:lnTo>
                            <a:pt x="711" y="2227"/>
                          </a:lnTo>
                          <a:lnTo>
                            <a:pt x="723" y="2228"/>
                          </a:lnTo>
                          <a:lnTo>
                            <a:pt x="735" y="2232"/>
                          </a:lnTo>
                          <a:lnTo>
                            <a:pt x="747" y="2237"/>
                          </a:lnTo>
                          <a:lnTo>
                            <a:pt x="757" y="2243"/>
                          </a:lnTo>
                          <a:lnTo>
                            <a:pt x="740" y="2301"/>
                          </a:lnTo>
                          <a:close/>
                          <a:moveTo>
                            <a:pt x="265" y="2233"/>
                          </a:moveTo>
                          <a:lnTo>
                            <a:pt x="324" y="2233"/>
                          </a:lnTo>
                          <a:lnTo>
                            <a:pt x="255" y="2477"/>
                          </a:lnTo>
                          <a:lnTo>
                            <a:pt x="203" y="2477"/>
                          </a:lnTo>
                          <a:lnTo>
                            <a:pt x="176" y="2376"/>
                          </a:lnTo>
                          <a:lnTo>
                            <a:pt x="176" y="2376"/>
                          </a:lnTo>
                          <a:lnTo>
                            <a:pt x="163" y="2323"/>
                          </a:lnTo>
                          <a:lnTo>
                            <a:pt x="163" y="2323"/>
                          </a:lnTo>
                          <a:lnTo>
                            <a:pt x="157" y="2348"/>
                          </a:lnTo>
                          <a:lnTo>
                            <a:pt x="149" y="2378"/>
                          </a:lnTo>
                          <a:lnTo>
                            <a:pt x="122" y="2477"/>
                          </a:lnTo>
                          <a:lnTo>
                            <a:pt x="69" y="2477"/>
                          </a:lnTo>
                          <a:lnTo>
                            <a:pt x="69" y="2476"/>
                          </a:lnTo>
                          <a:lnTo>
                            <a:pt x="0" y="2233"/>
                          </a:lnTo>
                          <a:lnTo>
                            <a:pt x="63" y="2233"/>
                          </a:lnTo>
                          <a:lnTo>
                            <a:pt x="85" y="2324"/>
                          </a:lnTo>
                          <a:lnTo>
                            <a:pt x="85" y="2324"/>
                          </a:lnTo>
                          <a:lnTo>
                            <a:pt x="91" y="2353"/>
                          </a:lnTo>
                          <a:lnTo>
                            <a:pt x="97" y="2384"/>
                          </a:lnTo>
                          <a:lnTo>
                            <a:pt x="97" y="2384"/>
                          </a:lnTo>
                          <a:lnTo>
                            <a:pt x="105" y="2353"/>
                          </a:lnTo>
                          <a:lnTo>
                            <a:pt x="112" y="2323"/>
                          </a:lnTo>
                          <a:lnTo>
                            <a:pt x="137" y="2233"/>
                          </a:lnTo>
                          <a:lnTo>
                            <a:pt x="190" y="2233"/>
                          </a:lnTo>
                          <a:lnTo>
                            <a:pt x="215" y="2323"/>
                          </a:lnTo>
                          <a:lnTo>
                            <a:pt x="215" y="2323"/>
                          </a:lnTo>
                          <a:lnTo>
                            <a:pt x="222" y="2352"/>
                          </a:lnTo>
                          <a:lnTo>
                            <a:pt x="230" y="2385"/>
                          </a:lnTo>
                          <a:lnTo>
                            <a:pt x="230" y="2385"/>
                          </a:lnTo>
                          <a:lnTo>
                            <a:pt x="235" y="2357"/>
                          </a:lnTo>
                          <a:lnTo>
                            <a:pt x="242" y="2323"/>
                          </a:lnTo>
                          <a:lnTo>
                            <a:pt x="265" y="2233"/>
                          </a:lnTo>
                          <a:close/>
                          <a:moveTo>
                            <a:pt x="447" y="2227"/>
                          </a:moveTo>
                          <a:lnTo>
                            <a:pt x="447" y="2227"/>
                          </a:lnTo>
                          <a:lnTo>
                            <a:pt x="436" y="2228"/>
                          </a:lnTo>
                          <a:lnTo>
                            <a:pt x="424" y="2229"/>
                          </a:lnTo>
                          <a:lnTo>
                            <a:pt x="413" y="2233"/>
                          </a:lnTo>
                          <a:lnTo>
                            <a:pt x="403" y="2237"/>
                          </a:lnTo>
                          <a:lnTo>
                            <a:pt x="394" y="2241"/>
                          </a:lnTo>
                          <a:lnTo>
                            <a:pt x="384" y="2248"/>
                          </a:lnTo>
                          <a:lnTo>
                            <a:pt x="375" y="2255"/>
                          </a:lnTo>
                          <a:lnTo>
                            <a:pt x="368" y="2263"/>
                          </a:lnTo>
                          <a:lnTo>
                            <a:pt x="361" y="2272"/>
                          </a:lnTo>
                          <a:lnTo>
                            <a:pt x="355" y="2282"/>
                          </a:lnTo>
                          <a:lnTo>
                            <a:pt x="349" y="2293"/>
                          </a:lnTo>
                          <a:lnTo>
                            <a:pt x="345" y="2303"/>
                          </a:lnTo>
                          <a:lnTo>
                            <a:pt x="341" y="2316"/>
                          </a:lnTo>
                          <a:lnTo>
                            <a:pt x="339" y="2328"/>
                          </a:lnTo>
                          <a:lnTo>
                            <a:pt x="337" y="2341"/>
                          </a:lnTo>
                          <a:lnTo>
                            <a:pt x="337" y="2356"/>
                          </a:lnTo>
                          <a:lnTo>
                            <a:pt x="337" y="2356"/>
                          </a:lnTo>
                          <a:lnTo>
                            <a:pt x="337" y="2369"/>
                          </a:lnTo>
                          <a:lnTo>
                            <a:pt x="339" y="2382"/>
                          </a:lnTo>
                          <a:lnTo>
                            <a:pt x="341" y="2395"/>
                          </a:lnTo>
                          <a:lnTo>
                            <a:pt x="345" y="2407"/>
                          </a:lnTo>
                          <a:lnTo>
                            <a:pt x="349" y="2418"/>
                          </a:lnTo>
                          <a:lnTo>
                            <a:pt x="355" y="2429"/>
                          </a:lnTo>
                          <a:lnTo>
                            <a:pt x="361" y="2438"/>
                          </a:lnTo>
                          <a:lnTo>
                            <a:pt x="368" y="2447"/>
                          </a:lnTo>
                          <a:lnTo>
                            <a:pt x="375" y="2455"/>
                          </a:lnTo>
                          <a:lnTo>
                            <a:pt x="384" y="2463"/>
                          </a:lnTo>
                          <a:lnTo>
                            <a:pt x="394" y="2469"/>
                          </a:lnTo>
                          <a:lnTo>
                            <a:pt x="403" y="2474"/>
                          </a:lnTo>
                          <a:lnTo>
                            <a:pt x="413" y="2477"/>
                          </a:lnTo>
                          <a:lnTo>
                            <a:pt x="424" y="2481"/>
                          </a:lnTo>
                          <a:lnTo>
                            <a:pt x="436" y="2482"/>
                          </a:lnTo>
                          <a:lnTo>
                            <a:pt x="447" y="2483"/>
                          </a:lnTo>
                          <a:lnTo>
                            <a:pt x="447" y="2483"/>
                          </a:lnTo>
                          <a:lnTo>
                            <a:pt x="459" y="2482"/>
                          </a:lnTo>
                          <a:lnTo>
                            <a:pt x="471" y="2481"/>
                          </a:lnTo>
                          <a:lnTo>
                            <a:pt x="482" y="2477"/>
                          </a:lnTo>
                          <a:lnTo>
                            <a:pt x="492" y="2474"/>
                          </a:lnTo>
                          <a:lnTo>
                            <a:pt x="502" y="2469"/>
                          </a:lnTo>
                          <a:lnTo>
                            <a:pt x="512" y="2463"/>
                          </a:lnTo>
                          <a:lnTo>
                            <a:pt x="520" y="2455"/>
                          </a:lnTo>
                          <a:lnTo>
                            <a:pt x="527" y="2447"/>
                          </a:lnTo>
                          <a:lnTo>
                            <a:pt x="535" y="2438"/>
                          </a:lnTo>
                          <a:lnTo>
                            <a:pt x="541" y="2429"/>
                          </a:lnTo>
                          <a:lnTo>
                            <a:pt x="546" y="2418"/>
                          </a:lnTo>
                          <a:lnTo>
                            <a:pt x="550" y="2407"/>
                          </a:lnTo>
                          <a:lnTo>
                            <a:pt x="554" y="2395"/>
                          </a:lnTo>
                          <a:lnTo>
                            <a:pt x="557" y="2382"/>
                          </a:lnTo>
                          <a:lnTo>
                            <a:pt x="559" y="2369"/>
                          </a:lnTo>
                          <a:lnTo>
                            <a:pt x="559" y="2356"/>
                          </a:lnTo>
                          <a:lnTo>
                            <a:pt x="559" y="2356"/>
                          </a:lnTo>
                          <a:lnTo>
                            <a:pt x="559" y="2341"/>
                          </a:lnTo>
                          <a:lnTo>
                            <a:pt x="557" y="2328"/>
                          </a:lnTo>
                          <a:lnTo>
                            <a:pt x="554" y="2316"/>
                          </a:lnTo>
                          <a:lnTo>
                            <a:pt x="550" y="2303"/>
                          </a:lnTo>
                          <a:lnTo>
                            <a:pt x="546" y="2293"/>
                          </a:lnTo>
                          <a:lnTo>
                            <a:pt x="541" y="2282"/>
                          </a:lnTo>
                          <a:lnTo>
                            <a:pt x="535" y="2272"/>
                          </a:lnTo>
                          <a:lnTo>
                            <a:pt x="527" y="2263"/>
                          </a:lnTo>
                          <a:lnTo>
                            <a:pt x="520" y="2255"/>
                          </a:lnTo>
                          <a:lnTo>
                            <a:pt x="512" y="2248"/>
                          </a:lnTo>
                          <a:lnTo>
                            <a:pt x="502" y="2241"/>
                          </a:lnTo>
                          <a:lnTo>
                            <a:pt x="492" y="2237"/>
                          </a:lnTo>
                          <a:lnTo>
                            <a:pt x="482" y="2233"/>
                          </a:lnTo>
                          <a:lnTo>
                            <a:pt x="471" y="2229"/>
                          </a:lnTo>
                          <a:lnTo>
                            <a:pt x="459" y="2228"/>
                          </a:lnTo>
                          <a:lnTo>
                            <a:pt x="447" y="2227"/>
                          </a:lnTo>
                          <a:lnTo>
                            <a:pt x="447" y="2227"/>
                          </a:lnTo>
                          <a:close/>
                          <a:moveTo>
                            <a:pt x="447" y="2426"/>
                          </a:moveTo>
                          <a:lnTo>
                            <a:pt x="447" y="2426"/>
                          </a:lnTo>
                          <a:lnTo>
                            <a:pt x="436" y="2425"/>
                          </a:lnTo>
                          <a:lnTo>
                            <a:pt x="427" y="2421"/>
                          </a:lnTo>
                          <a:lnTo>
                            <a:pt x="419" y="2415"/>
                          </a:lnTo>
                          <a:lnTo>
                            <a:pt x="412" y="2407"/>
                          </a:lnTo>
                          <a:lnTo>
                            <a:pt x="406" y="2397"/>
                          </a:lnTo>
                          <a:lnTo>
                            <a:pt x="401" y="2385"/>
                          </a:lnTo>
                          <a:lnTo>
                            <a:pt x="399" y="2370"/>
                          </a:lnTo>
                          <a:lnTo>
                            <a:pt x="399" y="2356"/>
                          </a:lnTo>
                          <a:lnTo>
                            <a:pt x="399" y="2356"/>
                          </a:lnTo>
                          <a:lnTo>
                            <a:pt x="399" y="2340"/>
                          </a:lnTo>
                          <a:lnTo>
                            <a:pt x="401" y="2325"/>
                          </a:lnTo>
                          <a:lnTo>
                            <a:pt x="406" y="2314"/>
                          </a:lnTo>
                          <a:lnTo>
                            <a:pt x="412" y="2303"/>
                          </a:lnTo>
                          <a:lnTo>
                            <a:pt x="419" y="2295"/>
                          </a:lnTo>
                          <a:lnTo>
                            <a:pt x="427" y="2289"/>
                          </a:lnTo>
                          <a:lnTo>
                            <a:pt x="436" y="2285"/>
                          </a:lnTo>
                          <a:lnTo>
                            <a:pt x="447" y="2284"/>
                          </a:lnTo>
                          <a:lnTo>
                            <a:pt x="447" y="2284"/>
                          </a:lnTo>
                          <a:lnTo>
                            <a:pt x="458" y="2285"/>
                          </a:lnTo>
                          <a:lnTo>
                            <a:pt x="468" y="2289"/>
                          </a:lnTo>
                          <a:lnTo>
                            <a:pt x="476" y="2295"/>
                          </a:lnTo>
                          <a:lnTo>
                            <a:pt x="484" y="2303"/>
                          </a:lnTo>
                          <a:lnTo>
                            <a:pt x="490" y="2314"/>
                          </a:lnTo>
                          <a:lnTo>
                            <a:pt x="493" y="2325"/>
                          </a:lnTo>
                          <a:lnTo>
                            <a:pt x="496" y="2340"/>
                          </a:lnTo>
                          <a:lnTo>
                            <a:pt x="497" y="2356"/>
                          </a:lnTo>
                          <a:lnTo>
                            <a:pt x="497" y="2356"/>
                          </a:lnTo>
                          <a:lnTo>
                            <a:pt x="496" y="2370"/>
                          </a:lnTo>
                          <a:lnTo>
                            <a:pt x="493" y="2385"/>
                          </a:lnTo>
                          <a:lnTo>
                            <a:pt x="490" y="2397"/>
                          </a:lnTo>
                          <a:lnTo>
                            <a:pt x="484" y="2407"/>
                          </a:lnTo>
                          <a:lnTo>
                            <a:pt x="476" y="2415"/>
                          </a:lnTo>
                          <a:lnTo>
                            <a:pt x="468" y="2421"/>
                          </a:lnTo>
                          <a:lnTo>
                            <a:pt x="458" y="2425"/>
                          </a:lnTo>
                          <a:lnTo>
                            <a:pt x="447" y="2426"/>
                          </a:lnTo>
                          <a:lnTo>
                            <a:pt x="447" y="2426"/>
                          </a:lnTo>
                          <a:close/>
                          <a:moveTo>
                            <a:pt x="2498" y="2301"/>
                          </a:moveTo>
                          <a:lnTo>
                            <a:pt x="2498" y="2301"/>
                          </a:lnTo>
                          <a:lnTo>
                            <a:pt x="2489" y="2296"/>
                          </a:lnTo>
                          <a:lnTo>
                            <a:pt x="2479" y="2291"/>
                          </a:lnTo>
                          <a:lnTo>
                            <a:pt x="2468" y="2289"/>
                          </a:lnTo>
                          <a:lnTo>
                            <a:pt x="2458" y="2288"/>
                          </a:lnTo>
                          <a:lnTo>
                            <a:pt x="2458" y="2288"/>
                          </a:lnTo>
                          <a:lnTo>
                            <a:pt x="2447" y="2289"/>
                          </a:lnTo>
                          <a:lnTo>
                            <a:pt x="2439" y="2291"/>
                          </a:lnTo>
                          <a:lnTo>
                            <a:pt x="2432" y="2296"/>
                          </a:lnTo>
                          <a:lnTo>
                            <a:pt x="2425" y="2302"/>
                          </a:lnTo>
                          <a:lnTo>
                            <a:pt x="2421" y="2310"/>
                          </a:lnTo>
                          <a:lnTo>
                            <a:pt x="2417" y="2319"/>
                          </a:lnTo>
                          <a:lnTo>
                            <a:pt x="2415" y="2331"/>
                          </a:lnTo>
                          <a:lnTo>
                            <a:pt x="2415" y="2345"/>
                          </a:lnTo>
                          <a:lnTo>
                            <a:pt x="2415" y="2477"/>
                          </a:lnTo>
                          <a:lnTo>
                            <a:pt x="2354" y="2477"/>
                          </a:lnTo>
                          <a:lnTo>
                            <a:pt x="2354" y="2233"/>
                          </a:lnTo>
                          <a:lnTo>
                            <a:pt x="2415" y="2233"/>
                          </a:lnTo>
                          <a:lnTo>
                            <a:pt x="2415" y="2254"/>
                          </a:lnTo>
                          <a:lnTo>
                            <a:pt x="2415" y="2254"/>
                          </a:lnTo>
                          <a:lnTo>
                            <a:pt x="2419" y="2248"/>
                          </a:lnTo>
                          <a:lnTo>
                            <a:pt x="2425" y="2241"/>
                          </a:lnTo>
                          <a:lnTo>
                            <a:pt x="2432" y="2238"/>
                          </a:lnTo>
                          <a:lnTo>
                            <a:pt x="2439" y="2234"/>
                          </a:lnTo>
                          <a:lnTo>
                            <a:pt x="2446" y="2231"/>
                          </a:lnTo>
                          <a:lnTo>
                            <a:pt x="2453" y="2229"/>
                          </a:lnTo>
                          <a:lnTo>
                            <a:pt x="2461" y="2228"/>
                          </a:lnTo>
                          <a:lnTo>
                            <a:pt x="2468" y="2227"/>
                          </a:lnTo>
                          <a:lnTo>
                            <a:pt x="2468" y="2227"/>
                          </a:lnTo>
                          <a:lnTo>
                            <a:pt x="2480" y="2228"/>
                          </a:lnTo>
                          <a:lnTo>
                            <a:pt x="2492" y="2232"/>
                          </a:lnTo>
                          <a:lnTo>
                            <a:pt x="2504" y="2237"/>
                          </a:lnTo>
                          <a:lnTo>
                            <a:pt x="2514" y="2243"/>
                          </a:lnTo>
                          <a:lnTo>
                            <a:pt x="2498" y="2301"/>
                          </a:lnTo>
                          <a:close/>
                          <a:moveTo>
                            <a:pt x="2022" y="2233"/>
                          </a:moveTo>
                          <a:lnTo>
                            <a:pt x="2082" y="2233"/>
                          </a:lnTo>
                          <a:lnTo>
                            <a:pt x="2012" y="2477"/>
                          </a:lnTo>
                          <a:lnTo>
                            <a:pt x="1960" y="2477"/>
                          </a:lnTo>
                          <a:lnTo>
                            <a:pt x="1933" y="2376"/>
                          </a:lnTo>
                          <a:lnTo>
                            <a:pt x="1933" y="2376"/>
                          </a:lnTo>
                          <a:lnTo>
                            <a:pt x="1920" y="2323"/>
                          </a:lnTo>
                          <a:lnTo>
                            <a:pt x="1920" y="2323"/>
                          </a:lnTo>
                          <a:lnTo>
                            <a:pt x="1914" y="2348"/>
                          </a:lnTo>
                          <a:lnTo>
                            <a:pt x="1907" y="2378"/>
                          </a:lnTo>
                          <a:lnTo>
                            <a:pt x="1880" y="2477"/>
                          </a:lnTo>
                          <a:lnTo>
                            <a:pt x="1828" y="2477"/>
                          </a:lnTo>
                          <a:lnTo>
                            <a:pt x="1826" y="2476"/>
                          </a:lnTo>
                          <a:lnTo>
                            <a:pt x="1758" y="2233"/>
                          </a:lnTo>
                          <a:lnTo>
                            <a:pt x="1820" y="2233"/>
                          </a:lnTo>
                          <a:lnTo>
                            <a:pt x="1843" y="2324"/>
                          </a:lnTo>
                          <a:lnTo>
                            <a:pt x="1843" y="2324"/>
                          </a:lnTo>
                          <a:lnTo>
                            <a:pt x="1849" y="2353"/>
                          </a:lnTo>
                          <a:lnTo>
                            <a:pt x="1856" y="2384"/>
                          </a:lnTo>
                          <a:lnTo>
                            <a:pt x="1856" y="2384"/>
                          </a:lnTo>
                          <a:lnTo>
                            <a:pt x="1862" y="2353"/>
                          </a:lnTo>
                          <a:lnTo>
                            <a:pt x="1870" y="2323"/>
                          </a:lnTo>
                          <a:lnTo>
                            <a:pt x="1896" y="2233"/>
                          </a:lnTo>
                          <a:lnTo>
                            <a:pt x="1947" y="2233"/>
                          </a:lnTo>
                          <a:lnTo>
                            <a:pt x="1972" y="2323"/>
                          </a:lnTo>
                          <a:lnTo>
                            <a:pt x="1972" y="2323"/>
                          </a:lnTo>
                          <a:lnTo>
                            <a:pt x="1979" y="2352"/>
                          </a:lnTo>
                          <a:lnTo>
                            <a:pt x="1987" y="2385"/>
                          </a:lnTo>
                          <a:lnTo>
                            <a:pt x="1987" y="2385"/>
                          </a:lnTo>
                          <a:lnTo>
                            <a:pt x="1993" y="2357"/>
                          </a:lnTo>
                          <a:lnTo>
                            <a:pt x="2000" y="2323"/>
                          </a:lnTo>
                          <a:lnTo>
                            <a:pt x="2022" y="2233"/>
                          </a:lnTo>
                          <a:close/>
                          <a:moveTo>
                            <a:pt x="2204" y="2227"/>
                          </a:moveTo>
                          <a:lnTo>
                            <a:pt x="2204" y="2227"/>
                          </a:lnTo>
                          <a:lnTo>
                            <a:pt x="2193" y="2228"/>
                          </a:lnTo>
                          <a:lnTo>
                            <a:pt x="2181" y="2229"/>
                          </a:lnTo>
                          <a:lnTo>
                            <a:pt x="2170" y="2233"/>
                          </a:lnTo>
                          <a:lnTo>
                            <a:pt x="2161" y="2237"/>
                          </a:lnTo>
                          <a:lnTo>
                            <a:pt x="2151" y="2241"/>
                          </a:lnTo>
                          <a:lnTo>
                            <a:pt x="2141" y="2249"/>
                          </a:lnTo>
                          <a:lnTo>
                            <a:pt x="2133" y="2255"/>
                          </a:lnTo>
                          <a:lnTo>
                            <a:pt x="2125" y="2263"/>
                          </a:lnTo>
                          <a:lnTo>
                            <a:pt x="2118" y="2272"/>
                          </a:lnTo>
                          <a:lnTo>
                            <a:pt x="2112" y="2282"/>
                          </a:lnTo>
                          <a:lnTo>
                            <a:pt x="2106" y="2293"/>
                          </a:lnTo>
                          <a:lnTo>
                            <a:pt x="2102" y="2303"/>
                          </a:lnTo>
                          <a:lnTo>
                            <a:pt x="2099" y="2316"/>
                          </a:lnTo>
                          <a:lnTo>
                            <a:pt x="2095" y="2329"/>
                          </a:lnTo>
                          <a:lnTo>
                            <a:pt x="2094" y="2341"/>
                          </a:lnTo>
                          <a:lnTo>
                            <a:pt x="2094" y="2356"/>
                          </a:lnTo>
                          <a:lnTo>
                            <a:pt x="2094" y="2356"/>
                          </a:lnTo>
                          <a:lnTo>
                            <a:pt x="2094" y="2369"/>
                          </a:lnTo>
                          <a:lnTo>
                            <a:pt x="2095" y="2382"/>
                          </a:lnTo>
                          <a:lnTo>
                            <a:pt x="2099" y="2395"/>
                          </a:lnTo>
                          <a:lnTo>
                            <a:pt x="2102" y="2407"/>
                          </a:lnTo>
                          <a:lnTo>
                            <a:pt x="2106" y="2418"/>
                          </a:lnTo>
                          <a:lnTo>
                            <a:pt x="2112" y="2429"/>
                          </a:lnTo>
                          <a:lnTo>
                            <a:pt x="2118" y="2438"/>
                          </a:lnTo>
                          <a:lnTo>
                            <a:pt x="2125" y="2447"/>
                          </a:lnTo>
                          <a:lnTo>
                            <a:pt x="2133" y="2455"/>
                          </a:lnTo>
                          <a:lnTo>
                            <a:pt x="2141" y="2463"/>
                          </a:lnTo>
                          <a:lnTo>
                            <a:pt x="2151" y="2469"/>
                          </a:lnTo>
                          <a:lnTo>
                            <a:pt x="2161" y="2474"/>
                          </a:lnTo>
                          <a:lnTo>
                            <a:pt x="2170" y="2477"/>
                          </a:lnTo>
                          <a:lnTo>
                            <a:pt x="2181" y="2481"/>
                          </a:lnTo>
                          <a:lnTo>
                            <a:pt x="2193" y="2482"/>
                          </a:lnTo>
                          <a:lnTo>
                            <a:pt x="2204" y="2483"/>
                          </a:lnTo>
                          <a:lnTo>
                            <a:pt x="2204" y="2483"/>
                          </a:lnTo>
                          <a:lnTo>
                            <a:pt x="2216" y="2482"/>
                          </a:lnTo>
                          <a:lnTo>
                            <a:pt x="2229" y="2481"/>
                          </a:lnTo>
                          <a:lnTo>
                            <a:pt x="2240" y="2477"/>
                          </a:lnTo>
                          <a:lnTo>
                            <a:pt x="2249" y="2474"/>
                          </a:lnTo>
                          <a:lnTo>
                            <a:pt x="2259" y="2469"/>
                          </a:lnTo>
                          <a:lnTo>
                            <a:pt x="2269" y="2463"/>
                          </a:lnTo>
                          <a:lnTo>
                            <a:pt x="2277" y="2455"/>
                          </a:lnTo>
                          <a:lnTo>
                            <a:pt x="2284" y="2447"/>
                          </a:lnTo>
                          <a:lnTo>
                            <a:pt x="2292" y="2438"/>
                          </a:lnTo>
                          <a:lnTo>
                            <a:pt x="2298" y="2429"/>
                          </a:lnTo>
                          <a:lnTo>
                            <a:pt x="2303" y="2418"/>
                          </a:lnTo>
                          <a:lnTo>
                            <a:pt x="2308" y="2407"/>
                          </a:lnTo>
                          <a:lnTo>
                            <a:pt x="2311" y="2395"/>
                          </a:lnTo>
                          <a:lnTo>
                            <a:pt x="2314" y="2382"/>
                          </a:lnTo>
                          <a:lnTo>
                            <a:pt x="2316" y="2369"/>
                          </a:lnTo>
                          <a:lnTo>
                            <a:pt x="2316" y="2356"/>
                          </a:lnTo>
                          <a:lnTo>
                            <a:pt x="2316" y="2356"/>
                          </a:lnTo>
                          <a:lnTo>
                            <a:pt x="2316" y="2341"/>
                          </a:lnTo>
                          <a:lnTo>
                            <a:pt x="2314" y="2329"/>
                          </a:lnTo>
                          <a:lnTo>
                            <a:pt x="2311" y="2316"/>
                          </a:lnTo>
                          <a:lnTo>
                            <a:pt x="2308" y="2303"/>
                          </a:lnTo>
                          <a:lnTo>
                            <a:pt x="2303" y="2293"/>
                          </a:lnTo>
                          <a:lnTo>
                            <a:pt x="2298" y="2282"/>
                          </a:lnTo>
                          <a:lnTo>
                            <a:pt x="2292" y="2272"/>
                          </a:lnTo>
                          <a:lnTo>
                            <a:pt x="2284" y="2263"/>
                          </a:lnTo>
                          <a:lnTo>
                            <a:pt x="2277" y="2255"/>
                          </a:lnTo>
                          <a:lnTo>
                            <a:pt x="2269" y="2249"/>
                          </a:lnTo>
                          <a:lnTo>
                            <a:pt x="2259" y="2241"/>
                          </a:lnTo>
                          <a:lnTo>
                            <a:pt x="2249" y="2237"/>
                          </a:lnTo>
                          <a:lnTo>
                            <a:pt x="2240" y="2233"/>
                          </a:lnTo>
                          <a:lnTo>
                            <a:pt x="2229" y="2229"/>
                          </a:lnTo>
                          <a:lnTo>
                            <a:pt x="2216" y="2228"/>
                          </a:lnTo>
                          <a:lnTo>
                            <a:pt x="2204" y="2227"/>
                          </a:lnTo>
                          <a:lnTo>
                            <a:pt x="2204" y="2227"/>
                          </a:lnTo>
                          <a:close/>
                          <a:moveTo>
                            <a:pt x="2204" y="2426"/>
                          </a:moveTo>
                          <a:lnTo>
                            <a:pt x="2204" y="2426"/>
                          </a:lnTo>
                          <a:lnTo>
                            <a:pt x="2193" y="2425"/>
                          </a:lnTo>
                          <a:lnTo>
                            <a:pt x="2185" y="2421"/>
                          </a:lnTo>
                          <a:lnTo>
                            <a:pt x="2176" y="2415"/>
                          </a:lnTo>
                          <a:lnTo>
                            <a:pt x="2169" y="2407"/>
                          </a:lnTo>
                          <a:lnTo>
                            <a:pt x="2163" y="2397"/>
                          </a:lnTo>
                          <a:lnTo>
                            <a:pt x="2158" y="2385"/>
                          </a:lnTo>
                          <a:lnTo>
                            <a:pt x="2156" y="2370"/>
                          </a:lnTo>
                          <a:lnTo>
                            <a:pt x="2156" y="2356"/>
                          </a:lnTo>
                          <a:lnTo>
                            <a:pt x="2156" y="2356"/>
                          </a:lnTo>
                          <a:lnTo>
                            <a:pt x="2156" y="2340"/>
                          </a:lnTo>
                          <a:lnTo>
                            <a:pt x="2158" y="2327"/>
                          </a:lnTo>
                          <a:lnTo>
                            <a:pt x="2163" y="2314"/>
                          </a:lnTo>
                          <a:lnTo>
                            <a:pt x="2169" y="2303"/>
                          </a:lnTo>
                          <a:lnTo>
                            <a:pt x="2176" y="2295"/>
                          </a:lnTo>
                          <a:lnTo>
                            <a:pt x="2185" y="2289"/>
                          </a:lnTo>
                          <a:lnTo>
                            <a:pt x="2193" y="2285"/>
                          </a:lnTo>
                          <a:lnTo>
                            <a:pt x="2204" y="2284"/>
                          </a:lnTo>
                          <a:lnTo>
                            <a:pt x="2204" y="2284"/>
                          </a:lnTo>
                          <a:lnTo>
                            <a:pt x="2215" y="2285"/>
                          </a:lnTo>
                          <a:lnTo>
                            <a:pt x="2225" y="2289"/>
                          </a:lnTo>
                          <a:lnTo>
                            <a:pt x="2233" y="2295"/>
                          </a:lnTo>
                          <a:lnTo>
                            <a:pt x="2241" y="2303"/>
                          </a:lnTo>
                          <a:lnTo>
                            <a:pt x="2247" y="2314"/>
                          </a:lnTo>
                          <a:lnTo>
                            <a:pt x="2250" y="2327"/>
                          </a:lnTo>
                          <a:lnTo>
                            <a:pt x="2253" y="2340"/>
                          </a:lnTo>
                          <a:lnTo>
                            <a:pt x="2254" y="2356"/>
                          </a:lnTo>
                          <a:lnTo>
                            <a:pt x="2254" y="2356"/>
                          </a:lnTo>
                          <a:lnTo>
                            <a:pt x="2253" y="2370"/>
                          </a:lnTo>
                          <a:lnTo>
                            <a:pt x="2250" y="2385"/>
                          </a:lnTo>
                          <a:lnTo>
                            <a:pt x="2247" y="2397"/>
                          </a:lnTo>
                          <a:lnTo>
                            <a:pt x="2241" y="2407"/>
                          </a:lnTo>
                          <a:lnTo>
                            <a:pt x="2233" y="2415"/>
                          </a:lnTo>
                          <a:lnTo>
                            <a:pt x="2225" y="2421"/>
                          </a:lnTo>
                          <a:lnTo>
                            <a:pt x="2215" y="2425"/>
                          </a:lnTo>
                          <a:lnTo>
                            <a:pt x="2204" y="2426"/>
                          </a:lnTo>
                          <a:lnTo>
                            <a:pt x="2204" y="2426"/>
                          </a:lnTo>
                          <a:close/>
                          <a:moveTo>
                            <a:pt x="921" y="2313"/>
                          </a:moveTo>
                          <a:lnTo>
                            <a:pt x="995" y="2477"/>
                          </a:lnTo>
                          <a:lnTo>
                            <a:pt x="928" y="2477"/>
                          </a:lnTo>
                          <a:lnTo>
                            <a:pt x="877" y="2364"/>
                          </a:lnTo>
                          <a:lnTo>
                            <a:pt x="845" y="2404"/>
                          </a:lnTo>
                          <a:lnTo>
                            <a:pt x="845" y="2477"/>
                          </a:lnTo>
                          <a:lnTo>
                            <a:pt x="785" y="2477"/>
                          </a:lnTo>
                          <a:lnTo>
                            <a:pt x="785" y="2161"/>
                          </a:lnTo>
                          <a:lnTo>
                            <a:pt x="845" y="2131"/>
                          </a:lnTo>
                          <a:lnTo>
                            <a:pt x="845" y="2327"/>
                          </a:lnTo>
                          <a:lnTo>
                            <a:pt x="845" y="2327"/>
                          </a:lnTo>
                          <a:lnTo>
                            <a:pt x="868" y="2295"/>
                          </a:lnTo>
                          <a:lnTo>
                            <a:pt x="916" y="2233"/>
                          </a:lnTo>
                          <a:lnTo>
                            <a:pt x="987" y="2233"/>
                          </a:lnTo>
                          <a:lnTo>
                            <a:pt x="921" y="2313"/>
                          </a:lnTo>
                          <a:close/>
                          <a:moveTo>
                            <a:pt x="1208" y="2477"/>
                          </a:moveTo>
                          <a:lnTo>
                            <a:pt x="1147" y="2477"/>
                          </a:lnTo>
                          <a:lnTo>
                            <a:pt x="1147" y="2233"/>
                          </a:lnTo>
                          <a:lnTo>
                            <a:pt x="1208" y="2233"/>
                          </a:lnTo>
                          <a:lnTo>
                            <a:pt x="1208" y="2254"/>
                          </a:lnTo>
                          <a:lnTo>
                            <a:pt x="1208" y="2254"/>
                          </a:lnTo>
                          <a:lnTo>
                            <a:pt x="1214" y="2248"/>
                          </a:lnTo>
                          <a:lnTo>
                            <a:pt x="1220" y="2243"/>
                          </a:lnTo>
                          <a:lnTo>
                            <a:pt x="1227" y="2238"/>
                          </a:lnTo>
                          <a:lnTo>
                            <a:pt x="1235" y="2234"/>
                          </a:lnTo>
                          <a:lnTo>
                            <a:pt x="1243" y="2232"/>
                          </a:lnTo>
                          <a:lnTo>
                            <a:pt x="1252" y="2229"/>
                          </a:lnTo>
                          <a:lnTo>
                            <a:pt x="1260" y="2228"/>
                          </a:lnTo>
                          <a:lnTo>
                            <a:pt x="1270" y="2227"/>
                          </a:lnTo>
                          <a:lnTo>
                            <a:pt x="1270" y="2227"/>
                          </a:lnTo>
                          <a:lnTo>
                            <a:pt x="1281" y="2228"/>
                          </a:lnTo>
                          <a:lnTo>
                            <a:pt x="1290" y="2229"/>
                          </a:lnTo>
                          <a:lnTo>
                            <a:pt x="1299" y="2232"/>
                          </a:lnTo>
                          <a:lnTo>
                            <a:pt x="1309" y="2234"/>
                          </a:lnTo>
                          <a:lnTo>
                            <a:pt x="1316" y="2239"/>
                          </a:lnTo>
                          <a:lnTo>
                            <a:pt x="1323" y="2244"/>
                          </a:lnTo>
                          <a:lnTo>
                            <a:pt x="1331" y="2249"/>
                          </a:lnTo>
                          <a:lnTo>
                            <a:pt x="1337" y="2256"/>
                          </a:lnTo>
                          <a:lnTo>
                            <a:pt x="1342" y="2263"/>
                          </a:lnTo>
                          <a:lnTo>
                            <a:pt x="1346" y="2272"/>
                          </a:lnTo>
                          <a:lnTo>
                            <a:pt x="1350" y="2280"/>
                          </a:lnTo>
                          <a:lnTo>
                            <a:pt x="1354" y="2291"/>
                          </a:lnTo>
                          <a:lnTo>
                            <a:pt x="1356" y="2302"/>
                          </a:lnTo>
                          <a:lnTo>
                            <a:pt x="1357" y="2313"/>
                          </a:lnTo>
                          <a:lnTo>
                            <a:pt x="1359" y="2325"/>
                          </a:lnTo>
                          <a:lnTo>
                            <a:pt x="1360" y="2339"/>
                          </a:lnTo>
                          <a:lnTo>
                            <a:pt x="1360" y="2477"/>
                          </a:lnTo>
                          <a:lnTo>
                            <a:pt x="1299" y="2477"/>
                          </a:lnTo>
                          <a:lnTo>
                            <a:pt x="1299" y="2342"/>
                          </a:lnTo>
                          <a:lnTo>
                            <a:pt x="1299" y="2342"/>
                          </a:lnTo>
                          <a:lnTo>
                            <a:pt x="1298" y="2329"/>
                          </a:lnTo>
                          <a:lnTo>
                            <a:pt x="1297" y="2316"/>
                          </a:lnTo>
                          <a:lnTo>
                            <a:pt x="1293" y="2306"/>
                          </a:lnTo>
                          <a:lnTo>
                            <a:pt x="1288" y="2297"/>
                          </a:lnTo>
                          <a:lnTo>
                            <a:pt x="1282" y="2291"/>
                          </a:lnTo>
                          <a:lnTo>
                            <a:pt x="1275" y="2286"/>
                          </a:lnTo>
                          <a:lnTo>
                            <a:pt x="1265" y="2284"/>
                          </a:lnTo>
                          <a:lnTo>
                            <a:pt x="1254" y="2283"/>
                          </a:lnTo>
                          <a:lnTo>
                            <a:pt x="1254" y="2283"/>
                          </a:lnTo>
                          <a:lnTo>
                            <a:pt x="1244" y="2284"/>
                          </a:lnTo>
                          <a:lnTo>
                            <a:pt x="1235" y="2286"/>
                          </a:lnTo>
                          <a:lnTo>
                            <a:pt x="1226" y="2291"/>
                          </a:lnTo>
                          <a:lnTo>
                            <a:pt x="1220" y="2299"/>
                          </a:lnTo>
                          <a:lnTo>
                            <a:pt x="1215" y="2306"/>
                          </a:lnTo>
                          <a:lnTo>
                            <a:pt x="1212" y="2317"/>
                          </a:lnTo>
                          <a:lnTo>
                            <a:pt x="1209" y="2329"/>
                          </a:lnTo>
                          <a:lnTo>
                            <a:pt x="1208" y="2342"/>
                          </a:lnTo>
                          <a:lnTo>
                            <a:pt x="1208" y="2477"/>
                          </a:lnTo>
                          <a:close/>
                          <a:moveTo>
                            <a:pt x="1551" y="2250"/>
                          </a:moveTo>
                          <a:lnTo>
                            <a:pt x="1551" y="2250"/>
                          </a:lnTo>
                          <a:lnTo>
                            <a:pt x="1544" y="2245"/>
                          </a:lnTo>
                          <a:lnTo>
                            <a:pt x="1538" y="2240"/>
                          </a:lnTo>
                          <a:lnTo>
                            <a:pt x="1532" y="2237"/>
                          </a:lnTo>
                          <a:lnTo>
                            <a:pt x="1525" y="2233"/>
                          </a:lnTo>
                          <a:lnTo>
                            <a:pt x="1518" y="2231"/>
                          </a:lnTo>
                          <a:lnTo>
                            <a:pt x="1510" y="2229"/>
                          </a:lnTo>
                          <a:lnTo>
                            <a:pt x="1503" y="2228"/>
                          </a:lnTo>
                          <a:lnTo>
                            <a:pt x="1496" y="2227"/>
                          </a:lnTo>
                          <a:lnTo>
                            <a:pt x="1496" y="2227"/>
                          </a:lnTo>
                          <a:lnTo>
                            <a:pt x="1485" y="2228"/>
                          </a:lnTo>
                          <a:lnTo>
                            <a:pt x="1475" y="2229"/>
                          </a:lnTo>
                          <a:lnTo>
                            <a:pt x="1465" y="2232"/>
                          </a:lnTo>
                          <a:lnTo>
                            <a:pt x="1456" y="2237"/>
                          </a:lnTo>
                          <a:lnTo>
                            <a:pt x="1447" y="2240"/>
                          </a:lnTo>
                          <a:lnTo>
                            <a:pt x="1440" y="2246"/>
                          </a:lnTo>
                          <a:lnTo>
                            <a:pt x="1433" y="2254"/>
                          </a:lnTo>
                          <a:lnTo>
                            <a:pt x="1425" y="2261"/>
                          </a:lnTo>
                          <a:lnTo>
                            <a:pt x="1419" y="2269"/>
                          </a:lnTo>
                          <a:lnTo>
                            <a:pt x="1414" y="2279"/>
                          </a:lnTo>
                          <a:lnTo>
                            <a:pt x="1410" y="2289"/>
                          </a:lnTo>
                          <a:lnTo>
                            <a:pt x="1406" y="2301"/>
                          </a:lnTo>
                          <a:lnTo>
                            <a:pt x="1404" y="2312"/>
                          </a:lnTo>
                          <a:lnTo>
                            <a:pt x="1401" y="2325"/>
                          </a:lnTo>
                          <a:lnTo>
                            <a:pt x="1400" y="2339"/>
                          </a:lnTo>
                          <a:lnTo>
                            <a:pt x="1400" y="2352"/>
                          </a:lnTo>
                          <a:lnTo>
                            <a:pt x="1400" y="2352"/>
                          </a:lnTo>
                          <a:lnTo>
                            <a:pt x="1400" y="2368"/>
                          </a:lnTo>
                          <a:lnTo>
                            <a:pt x="1401" y="2381"/>
                          </a:lnTo>
                          <a:lnTo>
                            <a:pt x="1404" y="2395"/>
                          </a:lnTo>
                          <a:lnTo>
                            <a:pt x="1406" y="2408"/>
                          </a:lnTo>
                          <a:lnTo>
                            <a:pt x="1410" y="2419"/>
                          </a:lnTo>
                          <a:lnTo>
                            <a:pt x="1414" y="2430"/>
                          </a:lnTo>
                          <a:lnTo>
                            <a:pt x="1419" y="2440"/>
                          </a:lnTo>
                          <a:lnTo>
                            <a:pt x="1425" y="2448"/>
                          </a:lnTo>
                          <a:lnTo>
                            <a:pt x="1431" y="2457"/>
                          </a:lnTo>
                          <a:lnTo>
                            <a:pt x="1439" y="2463"/>
                          </a:lnTo>
                          <a:lnTo>
                            <a:pt x="1446" y="2469"/>
                          </a:lnTo>
                          <a:lnTo>
                            <a:pt x="1455" y="2474"/>
                          </a:lnTo>
                          <a:lnTo>
                            <a:pt x="1464" y="2477"/>
                          </a:lnTo>
                          <a:lnTo>
                            <a:pt x="1474" y="2481"/>
                          </a:lnTo>
                          <a:lnTo>
                            <a:pt x="1484" y="2482"/>
                          </a:lnTo>
                          <a:lnTo>
                            <a:pt x="1495" y="2483"/>
                          </a:lnTo>
                          <a:lnTo>
                            <a:pt x="1495" y="2483"/>
                          </a:lnTo>
                          <a:lnTo>
                            <a:pt x="1502" y="2482"/>
                          </a:lnTo>
                          <a:lnTo>
                            <a:pt x="1510" y="2481"/>
                          </a:lnTo>
                          <a:lnTo>
                            <a:pt x="1518" y="2480"/>
                          </a:lnTo>
                          <a:lnTo>
                            <a:pt x="1525" y="2477"/>
                          </a:lnTo>
                          <a:lnTo>
                            <a:pt x="1531" y="2474"/>
                          </a:lnTo>
                          <a:lnTo>
                            <a:pt x="1538" y="2470"/>
                          </a:lnTo>
                          <a:lnTo>
                            <a:pt x="1544" y="2465"/>
                          </a:lnTo>
                          <a:lnTo>
                            <a:pt x="1551" y="2459"/>
                          </a:lnTo>
                          <a:lnTo>
                            <a:pt x="1551" y="2465"/>
                          </a:lnTo>
                          <a:lnTo>
                            <a:pt x="1551" y="2465"/>
                          </a:lnTo>
                          <a:lnTo>
                            <a:pt x="1551" y="2475"/>
                          </a:lnTo>
                          <a:lnTo>
                            <a:pt x="1549" y="2486"/>
                          </a:lnTo>
                          <a:lnTo>
                            <a:pt x="1546" y="2497"/>
                          </a:lnTo>
                          <a:lnTo>
                            <a:pt x="1543" y="2502"/>
                          </a:lnTo>
                          <a:lnTo>
                            <a:pt x="1541" y="2506"/>
                          </a:lnTo>
                          <a:lnTo>
                            <a:pt x="1536" y="2511"/>
                          </a:lnTo>
                          <a:lnTo>
                            <a:pt x="1531" y="2516"/>
                          </a:lnTo>
                          <a:lnTo>
                            <a:pt x="1525" y="2520"/>
                          </a:lnTo>
                          <a:lnTo>
                            <a:pt x="1518" y="2524"/>
                          </a:lnTo>
                          <a:lnTo>
                            <a:pt x="1508" y="2526"/>
                          </a:lnTo>
                          <a:lnTo>
                            <a:pt x="1498" y="2528"/>
                          </a:lnTo>
                          <a:lnTo>
                            <a:pt x="1486" y="2530"/>
                          </a:lnTo>
                          <a:lnTo>
                            <a:pt x="1472" y="2530"/>
                          </a:lnTo>
                          <a:lnTo>
                            <a:pt x="1469" y="2530"/>
                          </a:lnTo>
                          <a:lnTo>
                            <a:pt x="1491" y="2577"/>
                          </a:lnTo>
                          <a:lnTo>
                            <a:pt x="1492" y="2577"/>
                          </a:lnTo>
                          <a:lnTo>
                            <a:pt x="1492" y="2577"/>
                          </a:lnTo>
                          <a:lnTo>
                            <a:pt x="1507" y="2577"/>
                          </a:lnTo>
                          <a:lnTo>
                            <a:pt x="1520" y="2576"/>
                          </a:lnTo>
                          <a:lnTo>
                            <a:pt x="1532" y="2572"/>
                          </a:lnTo>
                          <a:lnTo>
                            <a:pt x="1544" y="2570"/>
                          </a:lnTo>
                          <a:lnTo>
                            <a:pt x="1555" y="2565"/>
                          </a:lnTo>
                          <a:lnTo>
                            <a:pt x="1565" y="2560"/>
                          </a:lnTo>
                          <a:lnTo>
                            <a:pt x="1574" y="2554"/>
                          </a:lnTo>
                          <a:lnTo>
                            <a:pt x="1581" y="2547"/>
                          </a:lnTo>
                          <a:lnTo>
                            <a:pt x="1588" y="2538"/>
                          </a:lnTo>
                          <a:lnTo>
                            <a:pt x="1594" y="2530"/>
                          </a:lnTo>
                          <a:lnTo>
                            <a:pt x="1599" y="2519"/>
                          </a:lnTo>
                          <a:lnTo>
                            <a:pt x="1603" y="2508"/>
                          </a:lnTo>
                          <a:lnTo>
                            <a:pt x="1606" y="2497"/>
                          </a:lnTo>
                          <a:lnTo>
                            <a:pt x="1609" y="2483"/>
                          </a:lnTo>
                          <a:lnTo>
                            <a:pt x="1610" y="2470"/>
                          </a:lnTo>
                          <a:lnTo>
                            <a:pt x="1610" y="2455"/>
                          </a:lnTo>
                          <a:lnTo>
                            <a:pt x="1610" y="2233"/>
                          </a:lnTo>
                          <a:lnTo>
                            <a:pt x="1551" y="2233"/>
                          </a:lnTo>
                          <a:lnTo>
                            <a:pt x="1551" y="2250"/>
                          </a:lnTo>
                          <a:close/>
                          <a:moveTo>
                            <a:pt x="1551" y="2307"/>
                          </a:moveTo>
                          <a:lnTo>
                            <a:pt x="1551" y="2403"/>
                          </a:lnTo>
                          <a:lnTo>
                            <a:pt x="1551" y="2403"/>
                          </a:lnTo>
                          <a:lnTo>
                            <a:pt x="1542" y="2412"/>
                          </a:lnTo>
                          <a:lnTo>
                            <a:pt x="1534" y="2420"/>
                          </a:lnTo>
                          <a:lnTo>
                            <a:pt x="1527" y="2423"/>
                          </a:lnTo>
                          <a:lnTo>
                            <a:pt x="1521" y="2425"/>
                          </a:lnTo>
                          <a:lnTo>
                            <a:pt x="1515" y="2426"/>
                          </a:lnTo>
                          <a:lnTo>
                            <a:pt x="1507" y="2427"/>
                          </a:lnTo>
                          <a:lnTo>
                            <a:pt x="1507" y="2427"/>
                          </a:lnTo>
                          <a:lnTo>
                            <a:pt x="1499" y="2426"/>
                          </a:lnTo>
                          <a:lnTo>
                            <a:pt x="1491" y="2424"/>
                          </a:lnTo>
                          <a:lnTo>
                            <a:pt x="1484" y="2420"/>
                          </a:lnTo>
                          <a:lnTo>
                            <a:pt x="1476" y="2413"/>
                          </a:lnTo>
                          <a:lnTo>
                            <a:pt x="1470" y="2403"/>
                          </a:lnTo>
                          <a:lnTo>
                            <a:pt x="1465" y="2390"/>
                          </a:lnTo>
                          <a:lnTo>
                            <a:pt x="1463" y="2373"/>
                          </a:lnTo>
                          <a:lnTo>
                            <a:pt x="1462" y="2351"/>
                          </a:lnTo>
                          <a:lnTo>
                            <a:pt x="1462" y="2351"/>
                          </a:lnTo>
                          <a:lnTo>
                            <a:pt x="1463" y="2333"/>
                          </a:lnTo>
                          <a:lnTo>
                            <a:pt x="1465" y="2317"/>
                          </a:lnTo>
                          <a:lnTo>
                            <a:pt x="1470" y="2305"/>
                          </a:lnTo>
                          <a:lnTo>
                            <a:pt x="1476" y="2296"/>
                          </a:lnTo>
                          <a:lnTo>
                            <a:pt x="1484" y="2290"/>
                          </a:lnTo>
                          <a:lnTo>
                            <a:pt x="1491" y="2285"/>
                          </a:lnTo>
                          <a:lnTo>
                            <a:pt x="1499" y="2284"/>
                          </a:lnTo>
                          <a:lnTo>
                            <a:pt x="1507" y="2283"/>
                          </a:lnTo>
                          <a:lnTo>
                            <a:pt x="1507" y="2283"/>
                          </a:lnTo>
                          <a:lnTo>
                            <a:pt x="1515" y="2284"/>
                          </a:lnTo>
                          <a:lnTo>
                            <a:pt x="1523" y="2285"/>
                          </a:lnTo>
                          <a:lnTo>
                            <a:pt x="1529" y="2288"/>
                          </a:lnTo>
                          <a:lnTo>
                            <a:pt x="1535" y="2291"/>
                          </a:lnTo>
                          <a:lnTo>
                            <a:pt x="1540" y="2295"/>
                          </a:lnTo>
                          <a:lnTo>
                            <a:pt x="1543" y="2299"/>
                          </a:lnTo>
                          <a:lnTo>
                            <a:pt x="1551" y="2307"/>
                          </a:lnTo>
                          <a:lnTo>
                            <a:pt x="1551" y="2307"/>
                          </a:lnTo>
                          <a:close/>
                          <a:moveTo>
                            <a:pt x="1033" y="2233"/>
                          </a:moveTo>
                          <a:lnTo>
                            <a:pt x="1094" y="2233"/>
                          </a:lnTo>
                          <a:lnTo>
                            <a:pt x="1094" y="2341"/>
                          </a:lnTo>
                          <a:lnTo>
                            <a:pt x="1094" y="2477"/>
                          </a:lnTo>
                          <a:lnTo>
                            <a:pt x="1033" y="2477"/>
                          </a:lnTo>
                          <a:lnTo>
                            <a:pt x="1033" y="2233"/>
                          </a:lnTo>
                          <a:close/>
                          <a:moveTo>
                            <a:pt x="1094" y="2167"/>
                          </a:moveTo>
                          <a:lnTo>
                            <a:pt x="1094" y="2198"/>
                          </a:lnTo>
                          <a:lnTo>
                            <a:pt x="1033" y="2198"/>
                          </a:lnTo>
                          <a:lnTo>
                            <a:pt x="1033" y="2137"/>
                          </a:lnTo>
                          <a:lnTo>
                            <a:pt x="1094" y="2137"/>
                          </a:lnTo>
                          <a:lnTo>
                            <a:pt x="1094" y="2167"/>
                          </a:lnTo>
                          <a:close/>
                          <a:moveTo>
                            <a:pt x="2542" y="2161"/>
                          </a:moveTo>
                          <a:lnTo>
                            <a:pt x="2603" y="2131"/>
                          </a:lnTo>
                          <a:lnTo>
                            <a:pt x="2603" y="2352"/>
                          </a:lnTo>
                          <a:lnTo>
                            <a:pt x="2603" y="2477"/>
                          </a:lnTo>
                          <a:lnTo>
                            <a:pt x="2542" y="2477"/>
                          </a:lnTo>
                          <a:lnTo>
                            <a:pt x="2542" y="2161"/>
                          </a:lnTo>
                          <a:close/>
                          <a:moveTo>
                            <a:pt x="437" y="834"/>
                          </a:moveTo>
                          <a:lnTo>
                            <a:pt x="936" y="834"/>
                          </a:lnTo>
                          <a:lnTo>
                            <a:pt x="936" y="544"/>
                          </a:lnTo>
                          <a:lnTo>
                            <a:pt x="437" y="544"/>
                          </a:lnTo>
                          <a:lnTo>
                            <a:pt x="437" y="317"/>
                          </a:lnTo>
                          <a:lnTo>
                            <a:pt x="989" y="317"/>
                          </a:lnTo>
                          <a:lnTo>
                            <a:pt x="806" y="0"/>
                          </a:lnTo>
                          <a:lnTo>
                            <a:pt x="24" y="0"/>
                          </a:lnTo>
                          <a:lnTo>
                            <a:pt x="24" y="1378"/>
                          </a:lnTo>
                          <a:lnTo>
                            <a:pt x="1126" y="1378"/>
                          </a:lnTo>
                          <a:lnTo>
                            <a:pt x="1126" y="1061"/>
                          </a:lnTo>
                          <a:lnTo>
                            <a:pt x="437" y="1061"/>
                          </a:lnTo>
                          <a:lnTo>
                            <a:pt x="437" y="834"/>
                          </a:lnTo>
                          <a:close/>
                          <a:moveTo>
                            <a:pt x="1860" y="0"/>
                          </a:moveTo>
                          <a:lnTo>
                            <a:pt x="1626" y="450"/>
                          </a:lnTo>
                          <a:lnTo>
                            <a:pt x="1393" y="0"/>
                          </a:lnTo>
                          <a:lnTo>
                            <a:pt x="936" y="0"/>
                          </a:lnTo>
                          <a:lnTo>
                            <a:pt x="1417" y="834"/>
                          </a:lnTo>
                          <a:lnTo>
                            <a:pt x="1417" y="1378"/>
                          </a:lnTo>
                          <a:lnTo>
                            <a:pt x="1829" y="1378"/>
                          </a:lnTo>
                          <a:lnTo>
                            <a:pt x="1829" y="834"/>
                          </a:lnTo>
                          <a:lnTo>
                            <a:pt x="2311" y="0"/>
                          </a:lnTo>
                          <a:lnTo>
                            <a:pt x="186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</p:grpSp>
              <p:sp>
                <p:nvSpPr>
                  <p:cNvPr id="57" name="Content Placeholder 5">
                    <a:extLst>
                      <a:ext uri="{FF2B5EF4-FFF2-40B4-BE49-F238E27FC236}">
                        <a16:creationId xmlns:a16="http://schemas.microsoft.com/office/drawing/2014/main" id="{200BD33D-4E5C-469A-AC4C-36A77E4751EE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4368" y="75105"/>
                    <a:ext cx="1458345" cy="152383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b="1" kern="0">
                        <a:solidFill>
                          <a:srgbClr val="FFE600"/>
                        </a:solidFill>
                        <a:latin typeface="EYInterstate Bold" panose="02000803030000020004" pitchFamily="2" charset="0"/>
                        <a:ea typeface="+mn-ea"/>
                        <a:cs typeface="+mn-cs"/>
                      </a:rPr>
                      <a:t>Context, Scope and Objectives</a:t>
                    </a:r>
                  </a:p>
                </p:txBody>
              </p:sp>
              <p:sp>
                <p:nvSpPr>
                  <p:cNvPr id="58" name="Content Placeholder 5">
                    <a:extLst>
                      <a:ext uri="{FF2B5EF4-FFF2-40B4-BE49-F238E27FC236}">
                        <a16:creationId xmlns:a16="http://schemas.microsoft.com/office/drawing/2014/main" id="{2BF594B8-8C86-4D90-8B4C-30DEBBD27204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11986" y="51130"/>
                    <a:ext cx="1206296" cy="200331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+mj-lt"/>
                      <a:buNone/>
                      <a:tabLst>
                        <a:tab pos="4876815" algn="r"/>
                      </a:tabLst>
                    </a:pPr>
                    <a:r>
                      <a:rPr lang="en-US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Key Success Factors &amp; Challenges </a:t>
                    </a:r>
                  </a:p>
                </p:txBody>
              </p:sp>
              <p:sp>
                <p:nvSpPr>
                  <p:cNvPr id="59" name="Content Placeholder 5">
                    <a:extLst>
                      <a:ext uri="{FF2B5EF4-FFF2-40B4-BE49-F238E27FC236}">
                        <a16:creationId xmlns:a16="http://schemas.microsoft.com/office/drawing/2014/main" id="{456952E0-5AA8-4410-A3BF-AAB830A918CA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11169709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Appendices</a:t>
                    </a:r>
                  </a:p>
                </p:txBody>
              </p:sp>
              <p:sp>
                <p:nvSpPr>
                  <p:cNvPr id="60" name="Content Placeholder 5">
                    <a:extLst>
                      <a:ext uri="{FF2B5EF4-FFF2-40B4-BE49-F238E27FC236}">
                        <a16:creationId xmlns:a16="http://schemas.microsoft.com/office/drawing/2014/main" id="{31DE0E0B-9318-4F6E-9D7A-010CB81C6C73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5947426" y="83518"/>
                    <a:ext cx="1023162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Proposed</a:t>
                    </a: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 Approach</a:t>
                    </a:r>
                  </a:p>
                </p:txBody>
              </p:sp>
              <p:sp>
                <p:nvSpPr>
                  <p:cNvPr id="61" name="Content Placeholder 5">
                    <a:extLst>
                      <a:ext uri="{FF2B5EF4-FFF2-40B4-BE49-F238E27FC236}">
                        <a16:creationId xmlns:a16="http://schemas.microsoft.com/office/drawing/2014/main" id="{9685CF30-57D7-4834-86E6-AC7E2BFDE291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7262461" y="75105"/>
                    <a:ext cx="1138227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Team &amp; </a:t>
                    </a: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Goverance</a:t>
                    </a:r>
                    <a:endParaRPr lang="fr-FR" sz="800" kern="0">
                      <a:solidFill>
                        <a:schemeClr val="bg2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Content Placeholder 5">
                    <a:extLst>
                      <a:ext uri="{FF2B5EF4-FFF2-40B4-BE49-F238E27FC236}">
                        <a16:creationId xmlns:a16="http://schemas.microsoft.com/office/drawing/2014/main" id="{77C1EBD2-FA3B-4799-A75B-43FB91F6C486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4484077" y="75105"/>
                    <a:ext cx="1097554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Scope &amp; Assumptions</a:t>
                    </a:r>
                  </a:p>
                </p:txBody>
              </p:sp>
              <p:sp>
                <p:nvSpPr>
                  <p:cNvPr id="63" name="Content Placeholder 5">
                    <a:extLst>
                      <a:ext uri="{FF2B5EF4-FFF2-40B4-BE49-F238E27FC236}">
                        <a16:creationId xmlns:a16="http://schemas.microsoft.com/office/drawing/2014/main" id="{B8E15FFD-4F09-4EA0-9BF8-36BA4DEBE6DA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8757114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Teams Profiles</a:t>
                    </a:r>
                  </a:p>
                </p:txBody>
              </p:sp>
              <p:sp>
                <p:nvSpPr>
                  <p:cNvPr id="64" name="Content Placeholder 5">
                    <a:extLst>
                      <a:ext uri="{FF2B5EF4-FFF2-40B4-BE49-F238E27FC236}">
                        <a16:creationId xmlns:a16="http://schemas.microsoft.com/office/drawing/2014/main" id="{1FEB8E88-8060-45D0-8923-9258206D89F9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9963409" y="75105"/>
                    <a:ext cx="866515" cy="176356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Key Credentials</a:t>
                    </a:r>
                  </a:p>
                </p:txBody>
              </p:sp>
            </p:grpSp>
          </p:grpSp>
          <p:sp>
            <p:nvSpPr>
              <p:cNvPr id="53" name="Content Placeholder 5">
                <a:extLst>
                  <a:ext uri="{FF2B5EF4-FFF2-40B4-BE49-F238E27FC236}">
                    <a16:creationId xmlns:a16="http://schemas.microsoft.com/office/drawing/2014/main" id="{6993B854-B553-4BEB-8875-E3613B731253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1608265" y="75105"/>
                <a:ext cx="1097554" cy="135989"/>
              </a:xfrm>
              <a:prstGeom prst="rect">
                <a:avLst/>
              </a:prstGeom>
            </p:spPr>
            <p:txBody>
              <a:bodyPr anchor="ctr"/>
              <a:lstStyle>
                <a:lvl1pPr algn="l" defTabSz="995363" rtl="0" fontAlgn="base">
                  <a:lnSpc>
                    <a:spcPts val="2100"/>
                  </a:lnSpc>
                  <a:spcBef>
                    <a:spcPct val="0"/>
                  </a:spcBef>
                  <a:spcAft>
                    <a:spcPct val="40000"/>
                  </a:spcAft>
                  <a:defRPr sz="1400" b="0">
                    <a:solidFill>
                      <a:srgbClr val="646464"/>
                    </a:solidFill>
                    <a:latin typeface="+mj-lt"/>
                    <a:ea typeface="+mn-ea"/>
                    <a:cs typeface="+mn-cs"/>
                  </a:defRPr>
                </a:lvl1pPr>
                <a:lvl2pPr marL="1588" algn="l" defTabSz="995363" rtl="0"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lang="en-US" sz="1200" b="1" dirty="0" smtClean="0">
                    <a:solidFill>
                      <a:srgbClr val="646464"/>
                    </a:solidFill>
                    <a:latin typeface="+mn-lt"/>
                  </a:defRPr>
                </a:lvl2pPr>
                <a:lvl3pPr marL="3175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sz="1000">
                    <a:solidFill>
                      <a:srgbClr val="000000"/>
                    </a:solidFill>
                    <a:latin typeface="+mn-lt"/>
                  </a:defRPr>
                </a:lvl3pPr>
                <a:lvl4pPr marL="152400" indent="-147638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FFD200"/>
                  </a:buClr>
                  <a:buSzPct val="75000"/>
                  <a:buFont typeface="Arial" charset="0"/>
                  <a:buChar char="►"/>
                  <a:defRPr sz="1000">
                    <a:solidFill>
                      <a:srgbClr val="000000"/>
                    </a:solidFill>
                    <a:latin typeface="+mn-lt"/>
                  </a:defRPr>
                </a:lvl4pPr>
                <a:lvl5pPr marL="2968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5pPr>
                <a:lvl6pPr marL="7540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6pPr>
                <a:lvl7pPr marL="12112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7pPr>
                <a:lvl8pPr marL="16684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8pPr>
                <a:lvl9pPr marL="21256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lvl="2" indent="0" algn="ctr" defTabSz="8293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140000"/>
                  <a:buFont typeface="Arial" charset="0"/>
                  <a:buNone/>
                  <a:tabLst>
                    <a:tab pos="4876815" algn="r"/>
                  </a:tabLst>
                </a:pPr>
                <a:r>
                  <a:rPr lang="fr-FR" sz="800" kern="0">
                    <a:solidFill>
                      <a:schemeClr val="bg2"/>
                    </a:solidFill>
                    <a:latin typeface="EYInterstate Light" panose="02000506000000020004" pitchFamily="2" charset="0"/>
                    <a:ea typeface="+mn-ea"/>
                    <a:cs typeface="+mn-cs"/>
                  </a:rPr>
                  <a:t>Scope &amp; Assumptions</a:t>
                </a:r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2718E6C-E96E-48BC-A22A-A193708106E6}"/>
                </a:ext>
              </a:extLst>
            </p:cNvPr>
            <p:cNvSpPr/>
            <p:nvPr userDrawn="1"/>
          </p:nvSpPr>
          <p:spPr>
            <a:xfrm>
              <a:off x="0" y="0"/>
              <a:ext cx="12192000" cy="350540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>
                <a:solidFill>
                  <a:schemeClr val="tx1"/>
                </a:solidFill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EE39618D-E3F4-4D57-BD37-134FFE75F5D0}"/>
                </a:ext>
              </a:extLst>
            </p:cNvPr>
            <p:cNvGrpSpPr/>
            <p:nvPr userDrawn="1"/>
          </p:nvGrpSpPr>
          <p:grpSpPr>
            <a:xfrm>
              <a:off x="81557" y="51129"/>
              <a:ext cx="167539" cy="200331"/>
              <a:chOff x="784680" y="68072"/>
              <a:chExt cx="167539" cy="200331"/>
            </a:xfrm>
          </p:grpSpPr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E3C426CD-FDEA-4CB6-8E72-C15891BF0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680" y="68072"/>
                <a:ext cx="134278" cy="50020"/>
              </a:xfrm>
              <a:custGeom>
                <a:avLst/>
                <a:gdLst>
                  <a:gd name="T0" fmla="*/ 2723 w 2723"/>
                  <a:gd name="T1" fmla="*/ 0 h 994"/>
                  <a:gd name="T2" fmla="*/ 0 w 2723"/>
                  <a:gd name="T3" fmla="*/ 994 h 994"/>
                  <a:gd name="T4" fmla="*/ 2723 w 2723"/>
                  <a:gd name="T5" fmla="*/ 513 h 994"/>
                  <a:gd name="T6" fmla="*/ 2723 w 2723"/>
                  <a:gd name="T7" fmla="*/ 0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23" h="994">
                    <a:moveTo>
                      <a:pt x="2723" y="0"/>
                    </a:moveTo>
                    <a:lnTo>
                      <a:pt x="0" y="994"/>
                    </a:lnTo>
                    <a:lnTo>
                      <a:pt x="2723" y="513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rgbClr val="F7D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AA4BC912-9E1B-46ED-A02A-826309AD7D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680" y="138954"/>
                <a:ext cx="167539" cy="129449"/>
              </a:xfrm>
              <a:custGeom>
                <a:avLst/>
                <a:gdLst>
                  <a:gd name="T0" fmla="*/ 256 w 3400"/>
                  <a:gd name="T1" fmla="*/ 1749 h 2577"/>
                  <a:gd name="T2" fmla="*/ 278 w 3400"/>
                  <a:gd name="T3" fmla="*/ 1978 h 2577"/>
                  <a:gd name="T4" fmla="*/ 166 w 3400"/>
                  <a:gd name="T5" fmla="*/ 1993 h 2577"/>
                  <a:gd name="T6" fmla="*/ 386 w 3400"/>
                  <a:gd name="T7" fmla="*/ 1940 h 2577"/>
                  <a:gd name="T8" fmla="*/ 458 w 3400"/>
                  <a:gd name="T9" fmla="*/ 2046 h 2577"/>
                  <a:gd name="T10" fmla="*/ 1255 w 3400"/>
                  <a:gd name="T11" fmla="*/ 1820 h 2577"/>
                  <a:gd name="T12" fmla="*/ 1339 w 3400"/>
                  <a:gd name="T13" fmla="*/ 1914 h 2577"/>
                  <a:gd name="T14" fmla="*/ 767 w 3400"/>
                  <a:gd name="T15" fmla="*/ 1703 h 2577"/>
                  <a:gd name="T16" fmla="*/ 813 w 3400"/>
                  <a:gd name="T17" fmla="*/ 1884 h 2577"/>
                  <a:gd name="T18" fmla="*/ 947 w 3400"/>
                  <a:gd name="T19" fmla="*/ 2042 h 2577"/>
                  <a:gd name="T20" fmla="*/ 916 w 3400"/>
                  <a:gd name="T21" fmla="*/ 1855 h 2577"/>
                  <a:gd name="T22" fmla="*/ 2225 w 3400"/>
                  <a:gd name="T23" fmla="*/ 2049 h 2577"/>
                  <a:gd name="T24" fmla="*/ 2376 w 3400"/>
                  <a:gd name="T25" fmla="*/ 1924 h 2577"/>
                  <a:gd name="T26" fmla="*/ 2312 w 3400"/>
                  <a:gd name="T27" fmla="*/ 1906 h 2577"/>
                  <a:gd name="T28" fmla="*/ 2267 w 3400"/>
                  <a:gd name="T29" fmla="*/ 1855 h 2577"/>
                  <a:gd name="T30" fmla="*/ 1441 w 3400"/>
                  <a:gd name="T31" fmla="*/ 1911 h 2577"/>
                  <a:gd name="T32" fmla="*/ 1591 w 3400"/>
                  <a:gd name="T33" fmla="*/ 2031 h 2577"/>
                  <a:gd name="T34" fmla="*/ 1622 w 3400"/>
                  <a:gd name="T35" fmla="*/ 2119 h 2577"/>
                  <a:gd name="T36" fmla="*/ 1507 w 3400"/>
                  <a:gd name="T37" fmla="*/ 1962 h 2577"/>
                  <a:gd name="T38" fmla="*/ 1902 w 3400"/>
                  <a:gd name="T39" fmla="*/ 1848 h 2577"/>
                  <a:gd name="T40" fmla="*/ 1797 w 3400"/>
                  <a:gd name="T41" fmla="*/ 1958 h 2577"/>
                  <a:gd name="T42" fmla="*/ 2006 w 3400"/>
                  <a:gd name="T43" fmla="*/ 1884 h 2577"/>
                  <a:gd name="T44" fmla="*/ 1857 w 3400"/>
                  <a:gd name="T45" fmla="*/ 1968 h 2577"/>
                  <a:gd name="T46" fmla="*/ 1881 w 3400"/>
                  <a:gd name="T47" fmla="*/ 2002 h 2577"/>
                  <a:gd name="T48" fmla="*/ 2467 w 3400"/>
                  <a:gd name="T49" fmla="*/ 1946 h 2577"/>
                  <a:gd name="T50" fmla="*/ 2452 w 3400"/>
                  <a:gd name="T51" fmla="*/ 1821 h 2577"/>
                  <a:gd name="T52" fmla="*/ 2521 w 3400"/>
                  <a:gd name="T53" fmla="*/ 2055 h 2577"/>
                  <a:gd name="T54" fmla="*/ 2555 w 3400"/>
                  <a:gd name="T55" fmla="*/ 1883 h 2577"/>
                  <a:gd name="T56" fmla="*/ 3202 w 3400"/>
                  <a:gd name="T57" fmla="*/ 1928 h 2577"/>
                  <a:gd name="T58" fmla="*/ 3006 w 3400"/>
                  <a:gd name="T59" fmla="*/ 1854 h 2577"/>
                  <a:gd name="T60" fmla="*/ 3140 w 3400"/>
                  <a:gd name="T61" fmla="*/ 2049 h 2577"/>
                  <a:gd name="T62" fmla="*/ 2905 w 3400"/>
                  <a:gd name="T63" fmla="*/ 1964 h 2577"/>
                  <a:gd name="T64" fmla="*/ 2868 w 3400"/>
                  <a:gd name="T65" fmla="*/ 2041 h 2577"/>
                  <a:gd name="T66" fmla="*/ 2713 w 3400"/>
                  <a:gd name="T67" fmla="*/ 2051 h 2577"/>
                  <a:gd name="T68" fmla="*/ 2747 w 3400"/>
                  <a:gd name="T69" fmla="*/ 1996 h 2577"/>
                  <a:gd name="T70" fmla="*/ 3300 w 3400"/>
                  <a:gd name="T71" fmla="*/ 1805 h 2577"/>
                  <a:gd name="T72" fmla="*/ 1073 w 3400"/>
                  <a:gd name="T73" fmla="*/ 2049 h 2577"/>
                  <a:gd name="T74" fmla="*/ 2660 w 3400"/>
                  <a:gd name="T75" fmla="*/ 2279 h 2577"/>
                  <a:gd name="T76" fmla="*/ 2763 w 3400"/>
                  <a:gd name="T77" fmla="*/ 2480 h 2577"/>
                  <a:gd name="T78" fmla="*/ 2737 w 3400"/>
                  <a:gd name="T79" fmla="*/ 2285 h 2577"/>
                  <a:gd name="T80" fmla="*/ 690 w 3400"/>
                  <a:gd name="T81" fmla="*/ 2289 h 2577"/>
                  <a:gd name="T82" fmla="*/ 740 w 3400"/>
                  <a:gd name="T83" fmla="*/ 2301 h 2577"/>
                  <a:gd name="T84" fmla="*/ 222 w 3400"/>
                  <a:gd name="T85" fmla="*/ 2352 h 2577"/>
                  <a:gd name="T86" fmla="*/ 341 w 3400"/>
                  <a:gd name="T87" fmla="*/ 2395 h 2577"/>
                  <a:gd name="T88" fmla="*/ 554 w 3400"/>
                  <a:gd name="T89" fmla="*/ 2395 h 2577"/>
                  <a:gd name="T90" fmla="*/ 412 w 3400"/>
                  <a:gd name="T91" fmla="*/ 2407 h 2577"/>
                  <a:gd name="T92" fmla="*/ 484 w 3400"/>
                  <a:gd name="T93" fmla="*/ 2407 h 2577"/>
                  <a:gd name="T94" fmla="*/ 2419 w 3400"/>
                  <a:gd name="T95" fmla="*/ 2248 h 2577"/>
                  <a:gd name="T96" fmla="*/ 1758 w 3400"/>
                  <a:gd name="T97" fmla="*/ 2233 h 2577"/>
                  <a:gd name="T98" fmla="*/ 2133 w 3400"/>
                  <a:gd name="T99" fmla="*/ 2255 h 2577"/>
                  <a:gd name="T100" fmla="*/ 2204 w 3400"/>
                  <a:gd name="T101" fmla="*/ 2483 h 2577"/>
                  <a:gd name="T102" fmla="*/ 2269 w 3400"/>
                  <a:gd name="T103" fmla="*/ 2249 h 2577"/>
                  <a:gd name="T104" fmla="*/ 2204 w 3400"/>
                  <a:gd name="T105" fmla="*/ 2284 h 2577"/>
                  <a:gd name="T106" fmla="*/ 845 w 3400"/>
                  <a:gd name="T107" fmla="*/ 2131 h 2577"/>
                  <a:gd name="T108" fmla="*/ 1323 w 3400"/>
                  <a:gd name="T109" fmla="*/ 2244 h 2577"/>
                  <a:gd name="T110" fmla="*/ 1220 w 3400"/>
                  <a:gd name="T111" fmla="*/ 2299 h 2577"/>
                  <a:gd name="T112" fmla="*/ 1410 w 3400"/>
                  <a:gd name="T113" fmla="*/ 2289 h 2577"/>
                  <a:gd name="T114" fmla="*/ 1525 w 3400"/>
                  <a:gd name="T115" fmla="*/ 2477 h 2577"/>
                  <a:gd name="T116" fmla="*/ 1544 w 3400"/>
                  <a:gd name="T117" fmla="*/ 2570 h 2577"/>
                  <a:gd name="T118" fmla="*/ 1491 w 3400"/>
                  <a:gd name="T119" fmla="*/ 2424 h 2577"/>
                  <a:gd name="T120" fmla="*/ 1094 w 3400"/>
                  <a:gd name="T121" fmla="*/ 2341 h 2577"/>
                  <a:gd name="T122" fmla="*/ 437 w 3400"/>
                  <a:gd name="T123" fmla="*/ 1061 h 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00" h="2577">
                    <a:moveTo>
                      <a:pt x="283" y="1942"/>
                    </a:moveTo>
                    <a:lnTo>
                      <a:pt x="283" y="1942"/>
                    </a:lnTo>
                    <a:lnTo>
                      <a:pt x="283" y="1934"/>
                    </a:lnTo>
                    <a:lnTo>
                      <a:pt x="282" y="1927"/>
                    </a:lnTo>
                    <a:lnTo>
                      <a:pt x="278" y="1912"/>
                    </a:lnTo>
                    <a:lnTo>
                      <a:pt x="272" y="1900"/>
                    </a:lnTo>
                    <a:lnTo>
                      <a:pt x="265" y="1890"/>
                    </a:lnTo>
                    <a:lnTo>
                      <a:pt x="256" y="1883"/>
                    </a:lnTo>
                    <a:lnTo>
                      <a:pt x="248" y="1877"/>
                    </a:lnTo>
                    <a:lnTo>
                      <a:pt x="241" y="1872"/>
                    </a:lnTo>
                    <a:lnTo>
                      <a:pt x="233" y="1868"/>
                    </a:lnTo>
                    <a:lnTo>
                      <a:pt x="233" y="1868"/>
                    </a:lnTo>
                    <a:lnTo>
                      <a:pt x="242" y="1862"/>
                    </a:lnTo>
                    <a:lnTo>
                      <a:pt x="249" y="1856"/>
                    </a:lnTo>
                    <a:lnTo>
                      <a:pt x="255" y="1849"/>
                    </a:lnTo>
                    <a:lnTo>
                      <a:pt x="261" y="1840"/>
                    </a:lnTo>
                    <a:lnTo>
                      <a:pt x="266" y="1832"/>
                    </a:lnTo>
                    <a:lnTo>
                      <a:pt x="269" y="1822"/>
                    </a:lnTo>
                    <a:lnTo>
                      <a:pt x="271" y="1812"/>
                    </a:lnTo>
                    <a:lnTo>
                      <a:pt x="271" y="1801"/>
                    </a:lnTo>
                    <a:lnTo>
                      <a:pt x="271" y="1801"/>
                    </a:lnTo>
                    <a:lnTo>
                      <a:pt x="271" y="1792"/>
                    </a:lnTo>
                    <a:lnTo>
                      <a:pt x="270" y="1782"/>
                    </a:lnTo>
                    <a:lnTo>
                      <a:pt x="267" y="1773"/>
                    </a:lnTo>
                    <a:lnTo>
                      <a:pt x="265" y="1765"/>
                    </a:lnTo>
                    <a:lnTo>
                      <a:pt x="261" y="1756"/>
                    </a:lnTo>
                    <a:lnTo>
                      <a:pt x="256" y="1749"/>
                    </a:lnTo>
                    <a:lnTo>
                      <a:pt x="250" y="1743"/>
                    </a:lnTo>
                    <a:lnTo>
                      <a:pt x="244" y="1737"/>
                    </a:lnTo>
                    <a:lnTo>
                      <a:pt x="237" y="1732"/>
                    </a:lnTo>
                    <a:lnTo>
                      <a:pt x="230" y="1727"/>
                    </a:lnTo>
                    <a:lnTo>
                      <a:pt x="221" y="1724"/>
                    </a:lnTo>
                    <a:lnTo>
                      <a:pt x="211" y="1720"/>
                    </a:lnTo>
                    <a:lnTo>
                      <a:pt x="202" y="1718"/>
                    </a:lnTo>
                    <a:lnTo>
                      <a:pt x="191" y="1715"/>
                    </a:lnTo>
                    <a:lnTo>
                      <a:pt x="180" y="1715"/>
                    </a:lnTo>
                    <a:lnTo>
                      <a:pt x="168" y="1714"/>
                    </a:lnTo>
                    <a:lnTo>
                      <a:pt x="24" y="1714"/>
                    </a:lnTo>
                    <a:lnTo>
                      <a:pt x="24" y="2049"/>
                    </a:lnTo>
                    <a:lnTo>
                      <a:pt x="166" y="2049"/>
                    </a:lnTo>
                    <a:lnTo>
                      <a:pt x="166" y="2049"/>
                    </a:lnTo>
                    <a:lnTo>
                      <a:pt x="180" y="2049"/>
                    </a:lnTo>
                    <a:lnTo>
                      <a:pt x="192" y="2048"/>
                    </a:lnTo>
                    <a:lnTo>
                      <a:pt x="204" y="2046"/>
                    </a:lnTo>
                    <a:lnTo>
                      <a:pt x="215" y="2042"/>
                    </a:lnTo>
                    <a:lnTo>
                      <a:pt x="226" y="2038"/>
                    </a:lnTo>
                    <a:lnTo>
                      <a:pt x="236" y="2034"/>
                    </a:lnTo>
                    <a:lnTo>
                      <a:pt x="244" y="2028"/>
                    </a:lnTo>
                    <a:lnTo>
                      <a:pt x="252" y="2021"/>
                    </a:lnTo>
                    <a:lnTo>
                      <a:pt x="259" y="2014"/>
                    </a:lnTo>
                    <a:lnTo>
                      <a:pt x="265" y="2006"/>
                    </a:lnTo>
                    <a:lnTo>
                      <a:pt x="271" y="1997"/>
                    </a:lnTo>
                    <a:lnTo>
                      <a:pt x="275" y="1987"/>
                    </a:lnTo>
                    <a:lnTo>
                      <a:pt x="278" y="1978"/>
                    </a:lnTo>
                    <a:lnTo>
                      <a:pt x="281" y="1967"/>
                    </a:lnTo>
                    <a:lnTo>
                      <a:pt x="282" y="1955"/>
                    </a:lnTo>
                    <a:lnTo>
                      <a:pt x="283" y="1942"/>
                    </a:lnTo>
                    <a:lnTo>
                      <a:pt x="283" y="1942"/>
                    </a:lnTo>
                    <a:close/>
                    <a:moveTo>
                      <a:pt x="166" y="1993"/>
                    </a:moveTo>
                    <a:lnTo>
                      <a:pt x="86" y="1993"/>
                    </a:lnTo>
                    <a:lnTo>
                      <a:pt x="86" y="1897"/>
                    </a:lnTo>
                    <a:lnTo>
                      <a:pt x="166" y="1897"/>
                    </a:lnTo>
                    <a:lnTo>
                      <a:pt x="166" y="1897"/>
                    </a:lnTo>
                    <a:lnTo>
                      <a:pt x="179" y="1899"/>
                    </a:lnTo>
                    <a:lnTo>
                      <a:pt x="188" y="1900"/>
                    </a:lnTo>
                    <a:lnTo>
                      <a:pt x="197" y="1904"/>
                    </a:lnTo>
                    <a:lnTo>
                      <a:pt x="204" y="1910"/>
                    </a:lnTo>
                    <a:lnTo>
                      <a:pt x="210" y="1916"/>
                    </a:lnTo>
                    <a:lnTo>
                      <a:pt x="214" y="1924"/>
                    </a:lnTo>
                    <a:lnTo>
                      <a:pt x="216" y="1934"/>
                    </a:lnTo>
                    <a:lnTo>
                      <a:pt x="218" y="1945"/>
                    </a:lnTo>
                    <a:lnTo>
                      <a:pt x="218" y="1945"/>
                    </a:lnTo>
                    <a:lnTo>
                      <a:pt x="216" y="1956"/>
                    </a:lnTo>
                    <a:lnTo>
                      <a:pt x="214" y="1966"/>
                    </a:lnTo>
                    <a:lnTo>
                      <a:pt x="209" y="1974"/>
                    </a:lnTo>
                    <a:lnTo>
                      <a:pt x="204" y="1980"/>
                    </a:lnTo>
                    <a:lnTo>
                      <a:pt x="197" y="1986"/>
                    </a:lnTo>
                    <a:lnTo>
                      <a:pt x="188" y="1990"/>
                    </a:lnTo>
                    <a:lnTo>
                      <a:pt x="177" y="1992"/>
                    </a:lnTo>
                    <a:lnTo>
                      <a:pt x="166" y="1993"/>
                    </a:lnTo>
                    <a:lnTo>
                      <a:pt x="166" y="1993"/>
                    </a:lnTo>
                    <a:close/>
                    <a:moveTo>
                      <a:pt x="165" y="1843"/>
                    </a:moveTo>
                    <a:lnTo>
                      <a:pt x="86" y="1843"/>
                    </a:lnTo>
                    <a:lnTo>
                      <a:pt x="86" y="1771"/>
                    </a:lnTo>
                    <a:lnTo>
                      <a:pt x="163" y="1771"/>
                    </a:lnTo>
                    <a:lnTo>
                      <a:pt x="163" y="1771"/>
                    </a:lnTo>
                    <a:lnTo>
                      <a:pt x="173" y="1772"/>
                    </a:lnTo>
                    <a:lnTo>
                      <a:pt x="182" y="1773"/>
                    </a:lnTo>
                    <a:lnTo>
                      <a:pt x="190" y="1776"/>
                    </a:lnTo>
                    <a:lnTo>
                      <a:pt x="196" y="1780"/>
                    </a:lnTo>
                    <a:lnTo>
                      <a:pt x="201" y="1786"/>
                    </a:lnTo>
                    <a:lnTo>
                      <a:pt x="204" y="1792"/>
                    </a:lnTo>
                    <a:lnTo>
                      <a:pt x="205" y="1799"/>
                    </a:lnTo>
                    <a:lnTo>
                      <a:pt x="207" y="1807"/>
                    </a:lnTo>
                    <a:lnTo>
                      <a:pt x="207" y="1807"/>
                    </a:lnTo>
                    <a:lnTo>
                      <a:pt x="207" y="1814"/>
                    </a:lnTo>
                    <a:lnTo>
                      <a:pt x="205" y="1820"/>
                    </a:lnTo>
                    <a:lnTo>
                      <a:pt x="203" y="1826"/>
                    </a:lnTo>
                    <a:lnTo>
                      <a:pt x="199" y="1831"/>
                    </a:lnTo>
                    <a:lnTo>
                      <a:pt x="193" y="1835"/>
                    </a:lnTo>
                    <a:lnTo>
                      <a:pt x="186" y="1839"/>
                    </a:lnTo>
                    <a:lnTo>
                      <a:pt x="177" y="1842"/>
                    </a:lnTo>
                    <a:lnTo>
                      <a:pt x="165" y="1843"/>
                    </a:lnTo>
                    <a:lnTo>
                      <a:pt x="165" y="1843"/>
                    </a:lnTo>
                    <a:close/>
                    <a:moveTo>
                      <a:pt x="326" y="1944"/>
                    </a:moveTo>
                    <a:lnTo>
                      <a:pt x="326" y="1805"/>
                    </a:lnTo>
                    <a:lnTo>
                      <a:pt x="386" y="1805"/>
                    </a:lnTo>
                    <a:lnTo>
                      <a:pt x="386" y="1940"/>
                    </a:lnTo>
                    <a:lnTo>
                      <a:pt x="386" y="1940"/>
                    </a:lnTo>
                    <a:lnTo>
                      <a:pt x="386" y="1953"/>
                    </a:lnTo>
                    <a:lnTo>
                      <a:pt x="389" y="1967"/>
                    </a:lnTo>
                    <a:lnTo>
                      <a:pt x="392" y="1976"/>
                    </a:lnTo>
                    <a:lnTo>
                      <a:pt x="397" y="1985"/>
                    </a:lnTo>
                    <a:lnTo>
                      <a:pt x="403" y="1991"/>
                    </a:lnTo>
                    <a:lnTo>
                      <a:pt x="411" y="1996"/>
                    </a:lnTo>
                    <a:lnTo>
                      <a:pt x="420" y="1998"/>
                    </a:lnTo>
                    <a:lnTo>
                      <a:pt x="431" y="2000"/>
                    </a:lnTo>
                    <a:lnTo>
                      <a:pt x="431" y="2000"/>
                    </a:lnTo>
                    <a:lnTo>
                      <a:pt x="442" y="1998"/>
                    </a:lnTo>
                    <a:lnTo>
                      <a:pt x="451" y="1996"/>
                    </a:lnTo>
                    <a:lnTo>
                      <a:pt x="459" y="1991"/>
                    </a:lnTo>
                    <a:lnTo>
                      <a:pt x="465" y="1985"/>
                    </a:lnTo>
                    <a:lnTo>
                      <a:pt x="470" y="1976"/>
                    </a:lnTo>
                    <a:lnTo>
                      <a:pt x="474" y="1966"/>
                    </a:lnTo>
                    <a:lnTo>
                      <a:pt x="476" y="1953"/>
                    </a:lnTo>
                    <a:lnTo>
                      <a:pt x="476" y="1940"/>
                    </a:lnTo>
                    <a:lnTo>
                      <a:pt x="476" y="1805"/>
                    </a:lnTo>
                    <a:lnTo>
                      <a:pt x="537" y="1805"/>
                    </a:lnTo>
                    <a:lnTo>
                      <a:pt x="537" y="2049"/>
                    </a:lnTo>
                    <a:lnTo>
                      <a:pt x="476" y="2049"/>
                    </a:lnTo>
                    <a:lnTo>
                      <a:pt x="476" y="2030"/>
                    </a:lnTo>
                    <a:lnTo>
                      <a:pt x="476" y="2030"/>
                    </a:lnTo>
                    <a:lnTo>
                      <a:pt x="471" y="2036"/>
                    </a:lnTo>
                    <a:lnTo>
                      <a:pt x="464" y="2041"/>
                    </a:lnTo>
                    <a:lnTo>
                      <a:pt x="458" y="2046"/>
                    </a:lnTo>
                    <a:lnTo>
                      <a:pt x="451" y="2048"/>
                    </a:lnTo>
                    <a:lnTo>
                      <a:pt x="444" y="2052"/>
                    </a:lnTo>
                    <a:lnTo>
                      <a:pt x="435" y="2053"/>
                    </a:lnTo>
                    <a:lnTo>
                      <a:pt x="427" y="2054"/>
                    </a:lnTo>
                    <a:lnTo>
                      <a:pt x="418" y="2055"/>
                    </a:lnTo>
                    <a:lnTo>
                      <a:pt x="418" y="2055"/>
                    </a:lnTo>
                    <a:lnTo>
                      <a:pt x="403" y="2054"/>
                    </a:lnTo>
                    <a:lnTo>
                      <a:pt x="391" y="2052"/>
                    </a:lnTo>
                    <a:lnTo>
                      <a:pt x="380" y="2048"/>
                    </a:lnTo>
                    <a:lnTo>
                      <a:pt x="369" y="2043"/>
                    </a:lnTo>
                    <a:lnTo>
                      <a:pt x="361" y="2037"/>
                    </a:lnTo>
                    <a:lnTo>
                      <a:pt x="354" y="2031"/>
                    </a:lnTo>
                    <a:lnTo>
                      <a:pt x="348" y="2023"/>
                    </a:lnTo>
                    <a:lnTo>
                      <a:pt x="341" y="2014"/>
                    </a:lnTo>
                    <a:lnTo>
                      <a:pt x="338" y="2006"/>
                    </a:lnTo>
                    <a:lnTo>
                      <a:pt x="334" y="1997"/>
                    </a:lnTo>
                    <a:lnTo>
                      <a:pt x="329" y="1978"/>
                    </a:lnTo>
                    <a:lnTo>
                      <a:pt x="327" y="1959"/>
                    </a:lnTo>
                    <a:lnTo>
                      <a:pt x="326" y="1944"/>
                    </a:lnTo>
                    <a:lnTo>
                      <a:pt x="326" y="1944"/>
                    </a:lnTo>
                    <a:close/>
                    <a:moveTo>
                      <a:pt x="1249" y="2049"/>
                    </a:moveTo>
                    <a:lnTo>
                      <a:pt x="1188" y="2049"/>
                    </a:lnTo>
                    <a:lnTo>
                      <a:pt x="1188" y="1805"/>
                    </a:lnTo>
                    <a:lnTo>
                      <a:pt x="1249" y="1805"/>
                    </a:lnTo>
                    <a:lnTo>
                      <a:pt x="1249" y="1826"/>
                    </a:lnTo>
                    <a:lnTo>
                      <a:pt x="1249" y="1826"/>
                    </a:lnTo>
                    <a:lnTo>
                      <a:pt x="1255" y="1820"/>
                    </a:lnTo>
                    <a:lnTo>
                      <a:pt x="1261" y="1814"/>
                    </a:lnTo>
                    <a:lnTo>
                      <a:pt x="1269" y="1810"/>
                    </a:lnTo>
                    <a:lnTo>
                      <a:pt x="1276" y="1806"/>
                    </a:lnTo>
                    <a:lnTo>
                      <a:pt x="1284" y="1803"/>
                    </a:lnTo>
                    <a:lnTo>
                      <a:pt x="1292" y="1801"/>
                    </a:lnTo>
                    <a:lnTo>
                      <a:pt x="1301" y="1800"/>
                    </a:lnTo>
                    <a:lnTo>
                      <a:pt x="1310" y="1799"/>
                    </a:lnTo>
                    <a:lnTo>
                      <a:pt x="1310" y="1799"/>
                    </a:lnTo>
                    <a:lnTo>
                      <a:pt x="1321" y="1800"/>
                    </a:lnTo>
                    <a:lnTo>
                      <a:pt x="1331" y="1801"/>
                    </a:lnTo>
                    <a:lnTo>
                      <a:pt x="1340" y="1804"/>
                    </a:lnTo>
                    <a:lnTo>
                      <a:pt x="1349" y="1806"/>
                    </a:lnTo>
                    <a:lnTo>
                      <a:pt x="1357" y="1810"/>
                    </a:lnTo>
                    <a:lnTo>
                      <a:pt x="1365" y="1816"/>
                    </a:lnTo>
                    <a:lnTo>
                      <a:pt x="1371" y="1821"/>
                    </a:lnTo>
                    <a:lnTo>
                      <a:pt x="1377" y="1828"/>
                    </a:lnTo>
                    <a:lnTo>
                      <a:pt x="1383" y="1835"/>
                    </a:lnTo>
                    <a:lnTo>
                      <a:pt x="1386" y="1844"/>
                    </a:lnTo>
                    <a:lnTo>
                      <a:pt x="1391" y="1852"/>
                    </a:lnTo>
                    <a:lnTo>
                      <a:pt x="1394" y="1862"/>
                    </a:lnTo>
                    <a:lnTo>
                      <a:pt x="1396" y="1873"/>
                    </a:lnTo>
                    <a:lnTo>
                      <a:pt x="1399" y="1885"/>
                    </a:lnTo>
                    <a:lnTo>
                      <a:pt x="1400" y="1897"/>
                    </a:lnTo>
                    <a:lnTo>
                      <a:pt x="1400" y="1911"/>
                    </a:lnTo>
                    <a:lnTo>
                      <a:pt x="1400" y="2049"/>
                    </a:lnTo>
                    <a:lnTo>
                      <a:pt x="1339" y="2049"/>
                    </a:lnTo>
                    <a:lnTo>
                      <a:pt x="1339" y="1914"/>
                    </a:lnTo>
                    <a:lnTo>
                      <a:pt x="1339" y="1914"/>
                    </a:lnTo>
                    <a:lnTo>
                      <a:pt x="1339" y="1900"/>
                    </a:lnTo>
                    <a:lnTo>
                      <a:pt x="1337" y="1888"/>
                    </a:lnTo>
                    <a:lnTo>
                      <a:pt x="1333" y="1878"/>
                    </a:lnTo>
                    <a:lnTo>
                      <a:pt x="1328" y="1869"/>
                    </a:lnTo>
                    <a:lnTo>
                      <a:pt x="1322" y="1863"/>
                    </a:lnTo>
                    <a:lnTo>
                      <a:pt x="1315" y="1859"/>
                    </a:lnTo>
                    <a:lnTo>
                      <a:pt x="1306" y="1856"/>
                    </a:lnTo>
                    <a:lnTo>
                      <a:pt x="1295" y="1855"/>
                    </a:lnTo>
                    <a:lnTo>
                      <a:pt x="1295" y="1855"/>
                    </a:lnTo>
                    <a:lnTo>
                      <a:pt x="1284" y="1856"/>
                    </a:lnTo>
                    <a:lnTo>
                      <a:pt x="1275" y="1859"/>
                    </a:lnTo>
                    <a:lnTo>
                      <a:pt x="1267" y="1863"/>
                    </a:lnTo>
                    <a:lnTo>
                      <a:pt x="1261" y="1869"/>
                    </a:lnTo>
                    <a:lnTo>
                      <a:pt x="1255" y="1878"/>
                    </a:lnTo>
                    <a:lnTo>
                      <a:pt x="1252" y="1889"/>
                    </a:lnTo>
                    <a:lnTo>
                      <a:pt x="1249" y="1901"/>
                    </a:lnTo>
                    <a:lnTo>
                      <a:pt x="1249" y="1914"/>
                    </a:lnTo>
                    <a:lnTo>
                      <a:pt x="1249" y="2049"/>
                    </a:lnTo>
                    <a:close/>
                    <a:moveTo>
                      <a:pt x="653" y="1927"/>
                    </a:moveTo>
                    <a:lnTo>
                      <a:pt x="653" y="2049"/>
                    </a:lnTo>
                    <a:lnTo>
                      <a:pt x="592" y="2049"/>
                    </a:lnTo>
                    <a:lnTo>
                      <a:pt x="592" y="1805"/>
                    </a:lnTo>
                    <a:lnTo>
                      <a:pt x="653" y="1805"/>
                    </a:lnTo>
                    <a:lnTo>
                      <a:pt x="653" y="1927"/>
                    </a:lnTo>
                    <a:close/>
                    <a:moveTo>
                      <a:pt x="706" y="1733"/>
                    </a:moveTo>
                    <a:lnTo>
                      <a:pt x="767" y="1703"/>
                    </a:lnTo>
                    <a:lnTo>
                      <a:pt x="767" y="1924"/>
                    </a:lnTo>
                    <a:lnTo>
                      <a:pt x="767" y="2049"/>
                    </a:lnTo>
                    <a:lnTo>
                      <a:pt x="706" y="2049"/>
                    </a:lnTo>
                    <a:lnTo>
                      <a:pt x="706" y="1733"/>
                    </a:lnTo>
                    <a:close/>
                    <a:moveTo>
                      <a:pt x="959" y="1822"/>
                    </a:moveTo>
                    <a:lnTo>
                      <a:pt x="959" y="1822"/>
                    </a:lnTo>
                    <a:lnTo>
                      <a:pt x="954" y="1816"/>
                    </a:lnTo>
                    <a:lnTo>
                      <a:pt x="948" y="1812"/>
                    </a:lnTo>
                    <a:lnTo>
                      <a:pt x="941" y="1807"/>
                    </a:lnTo>
                    <a:lnTo>
                      <a:pt x="934" y="1805"/>
                    </a:lnTo>
                    <a:lnTo>
                      <a:pt x="927" y="1803"/>
                    </a:lnTo>
                    <a:lnTo>
                      <a:pt x="920" y="1800"/>
                    </a:lnTo>
                    <a:lnTo>
                      <a:pt x="905" y="1799"/>
                    </a:lnTo>
                    <a:lnTo>
                      <a:pt x="905" y="1799"/>
                    </a:lnTo>
                    <a:lnTo>
                      <a:pt x="894" y="1800"/>
                    </a:lnTo>
                    <a:lnTo>
                      <a:pt x="883" y="1801"/>
                    </a:lnTo>
                    <a:lnTo>
                      <a:pt x="874" y="1804"/>
                    </a:lnTo>
                    <a:lnTo>
                      <a:pt x="865" y="1807"/>
                    </a:lnTo>
                    <a:lnTo>
                      <a:pt x="857" y="1812"/>
                    </a:lnTo>
                    <a:lnTo>
                      <a:pt x="848" y="1818"/>
                    </a:lnTo>
                    <a:lnTo>
                      <a:pt x="841" y="1826"/>
                    </a:lnTo>
                    <a:lnTo>
                      <a:pt x="835" y="1833"/>
                    </a:lnTo>
                    <a:lnTo>
                      <a:pt x="829" y="1842"/>
                    </a:lnTo>
                    <a:lnTo>
                      <a:pt x="824" y="1851"/>
                    </a:lnTo>
                    <a:lnTo>
                      <a:pt x="819" y="1861"/>
                    </a:lnTo>
                    <a:lnTo>
                      <a:pt x="815" y="1872"/>
                    </a:lnTo>
                    <a:lnTo>
                      <a:pt x="813" y="1884"/>
                    </a:lnTo>
                    <a:lnTo>
                      <a:pt x="811" y="1897"/>
                    </a:lnTo>
                    <a:lnTo>
                      <a:pt x="809" y="1911"/>
                    </a:lnTo>
                    <a:lnTo>
                      <a:pt x="809" y="1924"/>
                    </a:lnTo>
                    <a:lnTo>
                      <a:pt x="809" y="1924"/>
                    </a:lnTo>
                    <a:lnTo>
                      <a:pt x="809" y="1940"/>
                    </a:lnTo>
                    <a:lnTo>
                      <a:pt x="811" y="1953"/>
                    </a:lnTo>
                    <a:lnTo>
                      <a:pt x="813" y="1967"/>
                    </a:lnTo>
                    <a:lnTo>
                      <a:pt x="815" y="1979"/>
                    </a:lnTo>
                    <a:lnTo>
                      <a:pt x="819" y="1991"/>
                    </a:lnTo>
                    <a:lnTo>
                      <a:pt x="823" y="2002"/>
                    </a:lnTo>
                    <a:lnTo>
                      <a:pt x="828" y="2012"/>
                    </a:lnTo>
                    <a:lnTo>
                      <a:pt x="834" y="2020"/>
                    </a:lnTo>
                    <a:lnTo>
                      <a:pt x="841" y="2029"/>
                    </a:lnTo>
                    <a:lnTo>
                      <a:pt x="847" y="2035"/>
                    </a:lnTo>
                    <a:lnTo>
                      <a:pt x="855" y="2041"/>
                    </a:lnTo>
                    <a:lnTo>
                      <a:pt x="864" y="2046"/>
                    </a:lnTo>
                    <a:lnTo>
                      <a:pt x="872" y="2049"/>
                    </a:lnTo>
                    <a:lnTo>
                      <a:pt x="882" y="2053"/>
                    </a:lnTo>
                    <a:lnTo>
                      <a:pt x="893" y="2054"/>
                    </a:lnTo>
                    <a:lnTo>
                      <a:pt x="904" y="2055"/>
                    </a:lnTo>
                    <a:lnTo>
                      <a:pt x="904" y="2055"/>
                    </a:lnTo>
                    <a:lnTo>
                      <a:pt x="911" y="2054"/>
                    </a:lnTo>
                    <a:lnTo>
                      <a:pt x="919" y="2053"/>
                    </a:lnTo>
                    <a:lnTo>
                      <a:pt x="926" y="2052"/>
                    </a:lnTo>
                    <a:lnTo>
                      <a:pt x="933" y="2049"/>
                    </a:lnTo>
                    <a:lnTo>
                      <a:pt x="939" y="2046"/>
                    </a:lnTo>
                    <a:lnTo>
                      <a:pt x="947" y="2042"/>
                    </a:lnTo>
                    <a:lnTo>
                      <a:pt x="953" y="2037"/>
                    </a:lnTo>
                    <a:lnTo>
                      <a:pt x="959" y="2031"/>
                    </a:lnTo>
                    <a:lnTo>
                      <a:pt x="959" y="2049"/>
                    </a:lnTo>
                    <a:lnTo>
                      <a:pt x="1020" y="2049"/>
                    </a:lnTo>
                    <a:lnTo>
                      <a:pt x="1020" y="1703"/>
                    </a:lnTo>
                    <a:lnTo>
                      <a:pt x="959" y="1733"/>
                    </a:lnTo>
                    <a:lnTo>
                      <a:pt x="959" y="1822"/>
                    </a:lnTo>
                    <a:close/>
                    <a:moveTo>
                      <a:pt x="916" y="2000"/>
                    </a:moveTo>
                    <a:lnTo>
                      <a:pt x="916" y="2000"/>
                    </a:lnTo>
                    <a:lnTo>
                      <a:pt x="909" y="1998"/>
                    </a:lnTo>
                    <a:lnTo>
                      <a:pt x="900" y="1996"/>
                    </a:lnTo>
                    <a:lnTo>
                      <a:pt x="893" y="1992"/>
                    </a:lnTo>
                    <a:lnTo>
                      <a:pt x="886" y="1985"/>
                    </a:lnTo>
                    <a:lnTo>
                      <a:pt x="880" y="1975"/>
                    </a:lnTo>
                    <a:lnTo>
                      <a:pt x="875" y="1962"/>
                    </a:lnTo>
                    <a:lnTo>
                      <a:pt x="871" y="1945"/>
                    </a:lnTo>
                    <a:lnTo>
                      <a:pt x="870" y="1923"/>
                    </a:lnTo>
                    <a:lnTo>
                      <a:pt x="870" y="1923"/>
                    </a:lnTo>
                    <a:lnTo>
                      <a:pt x="871" y="1904"/>
                    </a:lnTo>
                    <a:lnTo>
                      <a:pt x="875" y="1889"/>
                    </a:lnTo>
                    <a:lnTo>
                      <a:pt x="880" y="1877"/>
                    </a:lnTo>
                    <a:lnTo>
                      <a:pt x="886" y="1868"/>
                    </a:lnTo>
                    <a:lnTo>
                      <a:pt x="892" y="1861"/>
                    </a:lnTo>
                    <a:lnTo>
                      <a:pt x="900" y="1857"/>
                    </a:lnTo>
                    <a:lnTo>
                      <a:pt x="908" y="1855"/>
                    </a:lnTo>
                    <a:lnTo>
                      <a:pt x="916" y="1855"/>
                    </a:lnTo>
                    <a:lnTo>
                      <a:pt x="916" y="1855"/>
                    </a:lnTo>
                    <a:lnTo>
                      <a:pt x="924" y="1855"/>
                    </a:lnTo>
                    <a:lnTo>
                      <a:pt x="931" y="1857"/>
                    </a:lnTo>
                    <a:lnTo>
                      <a:pt x="938" y="1860"/>
                    </a:lnTo>
                    <a:lnTo>
                      <a:pt x="943" y="1863"/>
                    </a:lnTo>
                    <a:lnTo>
                      <a:pt x="948" y="1867"/>
                    </a:lnTo>
                    <a:lnTo>
                      <a:pt x="953" y="1871"/>
                    </a:lnTo>
                    <a:lnTo>
                      <a:pt x="959" y="1879"/>
                    </a:lnTo>
                    <a:lnTo>
                      <a:pt x="959" y="1975"/>
                    </a:lnTo>
                    <a:lnTo>
                      <a:pt x="959" y="1975"/>
                    </a:lnTo>
                    <a:lnTo>
                      <a:pt x="951" y="1984"/>
                    </a:lnTo>
                    <a:lnTo>
                      <a:pt x="943" y="1991"/>
                    </a:lnTo>
                    <a:lnTo>
                      <a:pt x="938" y="1995"/>
                    </a:lnTo>
                    <a:lnTo>
                      <a:pt x="931" y="1997"/>
                    </a:lnTo>
                    <a:lnTo>
                      <a:pt x="925" y="1998"/>
                    </a:lnTo>
                    <a:lnTo>
                      <a:pt x="916" y="2000"/>
                    </a:lnTo>
                    <a:lnTo>
                      <a:pt x="916" y="2000"/>
                    </a:lnTo>
                    <a:close/>
                    <a:moveTo>
                      <a:pt x="2278" y="1799"/>
                    </a:moveTo>
                    <a:lnTo>
                      <a:pt x="2278" y="1799"/>
                    </a:lnTo>
                    <a:lnTo>
                      <a:pt x="2272" y="1800"/>
                    </a:lnTo>
                    <a:lnTo>
                      <a:pt x="2265" y="1801"/>
                    </a:lnTo>
                    <a:lnTo>
                      <a:pt x="2250" y="1805"/>
                    </a:lnTo>
                    <a:lnTo>
                      <a:pt x="2237" y="1812"/>
                    </a:lnTo>
                    <a:lnTo>
                      <a:pt x="2225" y="1822"/>
                    </a:lnTo>
                    <a:lnTo>
                      <a:pt x="2225" y="1709"/>
                    </a:lnTo>
                    <a:lnTo>
                      <a:pt x="2164" y="1739"/>
                    </a:lnTo>
                    <a:lnTo>
                      <a:pt x="2164" y="2049"/>
                    </a:lnTo>
                    <a:lnTo>
                      <a:pt x="2225" y="2049"/>
                    </a:lnTo>
                    <a:lnTo>
                      <a:pt x="2225" y="2031"/>
                    </a:lnTo>
                    <a:lnTo>
                      <a:pt x="2225" y="2031"/>
                    </a:lnTo>
                    <a:lnTo>
                      <a:pt x="2230" y="2037"/>
                    </a:lnTo>
                    <a:lnTo>
                      <a:pt x="2237" y="2042"/>
                    </a:lnTo>
                    <a:lnTo>
                      <a:pt x="2243" y="2046"/>
                    </a:lnTo>
                    <a:lnTo>
                      <a:pt x="2250" y="2049"/>
                    </a:lnTo>
                    <a:lnTo>
                      <a:pt x="2257" y="2052"/>
                    </a:lnTo>
                    <a:lnTo>
                      <a:pt x="2265" y="2053"/>
                    </a:lnTo>
                    <a:lnTo>
                      <a:pt x="2272" y="2054"/>
                    </a:lnTo>
                    <a:lnTo>
                      <a:pt x="2280" y="2055"/>
                    </a:lnTo>
                    <a:lnTo>
                      <a:pt x="2280" y="2055"/>
                    </a:lnTo>
                    <a:lnTo>
                      <a:pt x="2291" y="2054"/>
                    </a:lnTo>
                    <a:lnTo>
                      <a:pt x="2302" y="2053"/>
                    </a:lnTo>
                    <a:lnTo>
                      <a:pt x="2311" y="2051"/>
                    </a:lnTo>
                    <a:lnTo>
                      <a:pt x="2321" y="2046"/>
                    </a:lnTo>
                    <a:lnTo>
                      <a:pt x="2329" y="2041"/>
                    </a:lnTo>
                    <a:lnTo>
                      <a:pt x="2337" y="2036"/>
                    </a:lnTo>
                    <a:lnTo>
                      <a:pt x="2344" y="2029"/>
                    </a:lnTo>
                    <a:lnTo>
                      <a:pt x="2350" y="2021"/>
                    </a:lnTo>
                    <a:lnTo>
                      <a:pt x="2356" y="2012"/>
                    </a:lnTo>
                    <a:lnTo>
                      <a:pt x="2361" y="2002"/>
                    </a:lnTo>
                    <a:lnTo>
                      <a:pt x="2365" y="1991"/>
                    </a:lnTo>
                    <a:lnTo>
                      <a:pt x="2368" y="1980"/>
                    </a:lnTo>
                    <a:lnTo>
                      <a:pt x="2372" y="1968"/>
                    </a:lnTo>
                    <a:lnTo>
                      <a:pt x="2373" y="1955"/>
                    </a:lnTo>
                    <a:lnTo>
                      <a:pt x="2374" y="1940"/>
                    </a:lnTo>
                    <a:lnTo>
                      <a:pt x="2376" y="1924"/>
                    </a:lnTo>
                    <a:lnTo>
                      <a:pt x="2376" y="1924"/>
                    </a:lnTo>
                    <a:lnTo>
                      <a:pt x="2374" y="1911"/>
                    </a:lnTo>
                    <a:lnTo>
                      <a:pt x="2373" y="1897"/>
                    </a:lnTo>
                    <a:lnTo>
                      <a:pt x="2371" y="1884"/>
                    </a:lnTo>
                    <a:lnTo>
                      <a:pt x="2368" y="1872"/>
                    </a:lnTo>
                    <a:lnTo>
                      <a:pt x="2365" y="1861"/>
                    </a:lnTo>
                    <a:lnTo>
                      <a:pt x="2360" y="1851"/>
                    </a:lnTo>
                    <a:lnTo>
                      <a:pt x="2355" y="1842"/>
                    </a:lnTo>
                    <a:lnTo>
                      <a:pt x="2349" y="1833"/>
                    </a:lnTo>
                    <a:lnTo>
                      <a:pt x="2343" y="1826"/>
                    </a:lnTo>
                    <a:lnTo>
                      <a:pt x="2336" y="1818"/>
                    </a:lnTo>
                    <a:lnTo>
                      <a:pt x="2327" y="1812"/>
                    </a:lnTo>
                    <a:lnTo>
                      <a:pt x="2319" y="1807"/>
                    </a:lnTo>
                    <a:lnTo>
                      <a:pt x="2310" y="1804"/>
                    </a:lnTo>
                    <a:lnTo>
                      <a:pt x="2300" y="1801"/>
                    </a:lnTo>
                    <a:lnTo>
                      <a:pt x="2289" y="1800"/>
                    </a:lnTo>
                    <a:lnTo>
                      <a:pt x="2278" y="1799"/>
                    </a:lnTo>
                    <a:lnTo>
                      <a:pt x="2278" y="1799"/>
                    </a:lnTo>
                    <a:close/>
                    <a:moveTo>
                      <a:pt x="2267" y="1855"/>
                    </a:moveTo>
                    <a:lnTo>
                      <a:pt x="2267" y="1855"/>
                    </a:lnTo>
                    <a:lnTo>
                      <a:pt x="2276" y="1856"/>
                    </a:lnTo>
                    <a:lnTo>
                      <a:pt x="2284" y="1859"/>
                    </a:lnTo>
                    <a:lnTo>
                      <a:pt x="2292" y="1863"/>
                    </a:lnTo>
                    <a:lnTo>
                      <a:pt x="2299" y="1871"/>
                    </a:lnTo>
                    <a:lnTo>
                      <a:pt x="2305" y="1879"/>
                    </a:lnTo>
                    <a:lnTo>
                      <a:pt x="2309" y="1891"/>
                    </a:lnTo>
                    <a:lnTo>
                      <a:pt x="2312" y="1906"/>
                    </a:lnTo>
                    <a:lnTo>
                      <a:pt x="2314" y="1923"/>
                    </a:lnTo>
                    <a:lnTo>
                      <a:pt x="2314" y="1923"/>
                    </a:lnTo>
                    <a:lnTo>
                      <a:pt x="2312" y="1941"/>
                    </a:lnTo>
                    <a:lnTo>
                      <a:pt x="2310" y="1957"/>
                    </a:lnTo>
                    <a:lnTo>
                      <a:pt x="2308" y="1969"/>
                    </a:lnTo>
                    <a:lnTo>
                      <a:pt x="2303" y="1980"/>
                    </a:lnTo>
                    <a:lnTo>
                      <a:pt x="2295" y="1989"/>
                    </a:lnTo>
                    <a:lnTo>
                      <a:pt x="2288" y="1995"/>
                    </a:lnTo>
                    <a:lnTo>
                      <a:pt x="2280" y="1998"/>
                    </a:lnTo>
                    <a:lnTo>
                      <a:pt x="2269" y="2000"/>
                    </a:lnTo>
                    <a:lnTo>
                      <a:pt x="2269" y="2000"/>
                    </a:lnTo>
                    <a:lnTo>
                      <a:pt x="2260" y="1998"/>
                    </a:lnTo>
                    <a:lnTo>
                      <a:pt x="2253" y="1997"/>
                    </a:lnTo>
                    <a:lnTo>
                      <a:pt x="2247" y="1993"/>
                    </a:lnTo>
                    <a:lnTo>
                      <a:pt x="2241" y="1991"/>
                    </a:lnTo>
                    <a:lnTo>
                      <a:pt x="2231" y="1983"/>
                    </a:lnTo>
                    <a:lnTo>
                      <a:pt x="2225" y="1976"/>
                    </a:lnTo>
                    <a:lnTo>
                      <a:pt x="2225" y="1879"/>
                    </a:lnTo>
                    <a:lnTo>
                      <a:pt x="2225" y="1879"/>
                    </a:lnTo>
                    <a:lnTo>
                      <a:pt x="2229" y="1874"/>
                    </a:lnTo>
                    <a:lnTo>
                      <a:pt x="2233" y="1869"/>
                    </a:lnTo>
                    <a:lnTo>
                      <a:pt x="2238" y="1865"/>
                    </a:lnTo>
                    <a:lnTo>
                      <a:pt x="2243" y="1861"/>
                    </a:lnTo>
                    <a:lnTo>
                      <a:pt x="2249" y="1859"/>
                    </a:lnTo>
                    <a:lnTo>
                      <a:pt x="2255" y="1856"/>
                    </a:lnTo>
                    <a:lnTo>
                      <a:pt x="2261" y="1855"/>
                    </a:lnTo>
                    <a:lnTo>
                      <a:pt x="2267" y="1855"/>
                    </a:lnTo>
                    <a:lnTo>
                      <a:pt x="2267" y="1855"/>
                    </a:lnTo>
                    <a:close/>
                    <a:moveTo>
                      <a:pt x="1591" y="1822"/>
                    </a:moveTo>
                    <a:lnTo>
                      <a:pt x="1591" y="1822"/>
                    </a:lnTo>
                    <a:lnTo>
                      <a:pt x="1586" y="1817"/>
                    </a:lnTo>
                    <a:lnTo>
                      <a:pt x="1580" y="1812"/>
                    </a:lnTo>
                    <a:lnTo>
                      <a:pt x="1572" y="1809"/>
                    </a:lnTo>
                    <a:lnTo>
                      <a:pt x="1566" y="1805"/>
                    </a:lnTo>
                    <a:lnTo>
                      <a:pt x="1559" y="1803"/>
                    </a:lnTo>
                    <a:lnTo>
                      <a:pt x="1552" y="1800"/>
                    </a:lnTo>
                    <a:lnTo>
                      <a:pt x="1544" y="1800"/>
                    </a:lnTo>
                    <a:lnTo>
                      <a:pt x="1537" y="1799"/>
                    </a:lnTo>
                    <a:lnTo>
                      <a:pt x="1537" y="1799"/>
                    </a:lnTo>
                    <a:lnTo>
                      <a:pt x="1526" y="1800"/>
                    </a:lnTo>
                    <a:lnTo>
                      <a:pt x="1515" y="1801"/>
                    </a:lnTo>
                    <a:lnTo>
                      <a:pt x="1506" y="1804"/>
                    </a:lnTo>
                    <a:lnTo>
                      <a:pt x="1497" y="1807"/>
                    </a:lnTo>
                    <a:lnTo>
                      <a:pt x="1489" y="1812"/>
                    </a:lnTo>
                    <a:lnTo>
                      <a:pt x="1480" y="1818"/>
                    </a:lnTo>
                    <a:lnTo>
                      <a:pt x="1473" y="1826"/>
                    </a:lnTo>
                    <a:lnTo>
                      <a:pt x="1467" y="1833"/>
                    </a:lnTo>
                    <a:lnTo>
                      <a:pt x="1461" y="1842"/>
                    </a:lnTo>
                    <a:lnTo>
                      <a:pt x="1456" y="1851"/>
                    </a:lnTo>
                    <a:lnTo>
                      <a:pt x="1451" y="1861"/>
                    </a:lnTo>
                    <a:lnTo>
                      <a:pt x="1447" y="1872"/>
                    </a:lnTo>
                    <a:lnTo>
                      <a:pt x="1445" y="1884"/>
                    </a:lnTo>
                    <a:lnTo>
                      <a:pt x="1442" y="1897"/>
                    </a:lnTo>
                    <a:lnTo>
                      <a:pt x="1441" y="1911"/>
                    </a:lnTo>
                    <a:lnTo>
                      <a:pt x="1441" y="1924"/>
                    </a:lnTo>
                    <a:lnTo>
                      <a:pt x="1441" y="1924"/>
                    </a:lnTo>
                    <a:lnTo>
                      <a:pt x="1441" y="1940"/>
                    </a:lnTo>
                    <a:lnTo>
                      <a:pt x="1442" y="1953"/>
                    </a:lnTo>
                    <a:lnTo>
                      <a:pt x="1445" y="1967"/>
                    </a:lnTo>
                    <a:lnTo>
                      <a:pt x="1447" y="1979"/>
                    </a:lnTo>
                    <a:lnTo>
                      <a:pt x="1451" y="1991"/>
                    </a:lnTo>
                    <a:lnTo>
                      <a:pt x="1455" y="2002"/>
                    </a:lnTo>
                    <a:lnTo>
                      <a:pt x="1461" y="2012"/>
                    </a:lnTo>
                    <a:lnTo>
                      <a:pt x="1465" y="2020"/>
                    </a:lnTo>
                    <a:lnTo>
                      <a:pt x="1473" y="2029"/>
                    </a:lnTo>
                    <a:lnTo>
                      <a:pt x="1479" y="2035"/>
                    </a:lnTo>
                    <a:lnTo>
                      <a:pt x="1487" y="2041"/>
                    </a:lnTo>
                    <a:lnTo>
                      <a:pt x="1496" y="2046"/>
                    </a:lnTo>
                    <a:lnTo>
                      <a:pt x="1504" y="2049"/>
                    </a:lnTo>
                    <a:lnTo>
                      <a:pt x="1514" y="2053"/>
                    </a:lnTo>
                    <a:lnTo>
                      <a:pt x="1525" y="2054"/>
                    </a:lnTo>
                    <a:lnTo>
                      <a:pt x="1536" y="2054"/>
                    </a:lnTo>
                    <a:lnTo>
                      <a:pt x="1536" y="2054"/>
                    </a:lnTo>
                    <a:lnTo>
                      <a:pt x="1543" y="2054"/>
                    </a:lnTo>
                    <a:lnTo>
                      <a:pt x="1551" y="2053"/>
                    </a:lnTo>
                    <a:lnTo>
                      <a:pt x="1558" y="2052"/>
                    </a:lnTo>
                    <a:lnTo>
                      <a:pt x="1565" y="2049"/>
                    </a:lnTo>
                    <a:lnTo>
                      <a:pt x="1572" y="2046"/>
                    </a:lnTo>
                    <a:lnTo>
                      <a:pt x="1578" y="2041"/>
                    </a:lnTo>
                    <a:lnTo>
                      <a:pt x="1585" y="2037"/>
                    </a:lnTo>
                    <a:lnTo>
                      <a:pt x="1591" y="2031"/>
                    </a:lnTo>
                    <a:lnTo>
                      <a:pt x="1591" y="2037"/>
                    </a:lnTo>
                    <a:lnTo>
                      <a:pt x="1591" y="2037"/>
                    </a:lnTo>
                    <a:lnTo>
                      <a:pt x="1591" y="2047"/>
                    </a:lnTo>
                    <a:lnTo>
                      <a:pt x="1589" y="2058"/>
                    </a:lnTo>
                    <a:lnTo>
                      <a:pt x="1587" y="2069"/>
                    </a:lnTo>
                    <a:lnTo>
                      <a:pt x="1585" y="2074"/>
                    </a:lnTo>
                    <a:lnTo>
                      <a:pt x="1581" y="2079"/>
                    </a:lnTo>
                    <a:lnTo>
                      <a:pt x="1577" y="2083"/>
                    </a:lnTo>
                    <a:lnTo>
                      <a:pt x="1572" y="2088"/>
                    </a:lnTo>
                    <a:lnTo>
                      <a:pt x="1565" y="2092"/>
                    </a:lnTo>
                    <a:lnTo>
                      <a:pt x="1558" y="2094"/>
                    </a:lnTo>
                    <a:lnTo>
                      <a:pt x="1549" y="2098"/>
                    </a:lnTo>
                    <a:lnTo>
                      <a:pt x="1538" y="2099"/>
                    </a:lnTo>
                    <a:lnTo>
                      <a:pt x="1526" y="2102"/>
                    </a:lnTo>
                    <a:lnTo>
                      <a:pt x="1513" y="2102"/>
                    </a:lnTo>
                    <a:lnTo>
                      <a:pt x="1510" y="2102"/>
                    </a:lnTo>
                    <a:lnTo>
                      <a:pt x="1531" y="2149"/>
                    </a:lnTo>
                    <a:lnTo>
                      <a:pt x="1532" y="2149"/>
                    </a:lnTo>
                    <a:lnTo>
                      <a:pt x="1532" y="2149"/>
                    </a:lnTo>
                    <a:lnTo>
                      <a:pt x="1547" y="2149"/>
                    </a:lnTo>
                    <a:lnTo>
                      <a:pt x="1560" y="2147"/>
                    </a:lnTo>
                    <a:lnTo>
                      <a:pt x="1574" y="2144"/>
                    </a:lnTo>
                    <a:lnTo>
                      <a:pt x="1585" y="2141"/>
                    </a:lnTo>
                    <a:lnTo>
                      <a:pt x="1595" y="2137"/>
                    </a:lnTo>
                    <a:lnTo>
                      <a:pt x="1605" y="2132"/>
                    </a:lnTo>
                    <a:lnTo>
                      <a:pt x="1614" y="2125"/>
                    </a:lnTo>
                    <a:lnTo>
                      <a:pt x="1622" y="2119"/>
                    </a:lnTo>
                    <a:lnTo>
                      <a:pt x="1630" y="2110"/>
                    </a:lnTo>
                    <a:lnTo>
                      <a:pt x="1634" y="2100"/>
                    </a:lnTo>
                    <a:lnTo>
                      <a:pt x="1640" y="2091"/>
                    </a:lnTo>
                    <a:lnTo>
                      <a:pt x="1644" y="2080"/>
                    </a:lnTo>
                    <a:lnTo>
                      <a:pt x="1648" y="2068"/>
                    </a:lnTo>
                    <a:lnTo>
                      <a:pt x="1650" y="2055"/>
                    </a:lnTo>
                    <a:lnTo>
                      <a:pt x="1651" y="2042"/>
                    </a:lnTo>
                    <a:lnTo>
                      <a:pt x="1651" y="2026"/>
                    </a:lnTo>
                    <a:lnTo>
                      <a:pt x="1651" y="1805"/>
                    </a:lnTo>
                    <a:lnTo>
                      <a:pt x="1591" y="1805"/>
                    </a:lnTo>
                    <a:lnTo>
                      <a:pt x="1591" y="1822"/>
                    </a:lnTo>
                    <a:close/>
                    <a:moveTo>
                      <a:pt x="1591" y="1879"/>
                    </a:moveTo>
                    <a:lnTo>
                      <a:pt x="1591" y="1975"/>
                    </a:lnTo>
                    <a:lnTo>
                      <a:pt x="1591" y="1975"/>
                    </a:lnTo>
                    <a:lnTo>
                      <a:pt x="1583" y="1984"/>
                    </a:lnTo>
                    <a:lnTo>
                      <a:pt x="1574" y="1992"/>
                    </a:lnTo>
                    <a:lnTo>
                      <a:pt x="1569" y="1995"/>
                    </a:lnTo>
                    <a:lnTo>
                      <a:pt x="1563" y="1997"/>
                    </a:lnTo>
                    <a:lnTo>
                      <a:pt x="1555" y="1998"/>
                    </a:lnTo>
                    <a:lnTo>
                      <a:pt x="1548" y="2000"/>
                    </a:lnTo>
                    <a:lnTo>
                      <a:pt x="1548" y="2000"/>
                    </a:lnTo>
                    <a:lnTo>
                      <a:pt x="1540" y="1998"/>
                    </a:lnTo>
                    <a:lnTo>
                      <a:pt x="1532" y="1996"/>
                    </a:lnTo>
                    <a:lnTo>
                      <a:pt x="1524" y="1991"/>
                    </a:lnTo>
                    <a:lnTo>
                      <a:pt x="1518" y="1985"/>
                    </a:lnTo>
                    <a:lnTo>
                      <a:pt x="1512" y="1975"/>
                    </a:lnTo>
                    <a:lnTo>
                      <a:pt x="1507" y="1962"/>
                    </a:lnTo>
                    <a:lnTo>
                      <a:pt x="1503" y="1945"/>
                    </a:lnTo>
                    <a:lnTo>
                      <a:pt x="1502" y="1923"/>
                    </a:lnTo>
                    <a:lnTo>
                      <a:pt x="1502" y="1923"/>
                    </a:lnTo>
                    <a:lnTo>
                      <a:pt x="1503" y="1904"/>
                    </a:lnTo>
                    <a:lnTo>
                      <a:pt x="1507" y="1889"/>
                    </a:lnTo>
                    <a:lnTo>
                      <a:pt x="1512" y="1877"/>
                    </a:lnTo>
                    <a:lnTo>
                      <a:pt x="1518" y="1868"/>
                    </a:lnTo>
                    <a:lnTo>
                      <a:pt x="1524" y="1861"/>
                    </a:lnTo>
                    <a:lnTo>
                      <a:pt x="1532" y="1857"/>
                    </a:lnTo>
                    <a:lnTo>
                      <a:pt x="1540" y="1855"/>
                    </a:lnTo>
                    <a:lnTo>
                      <a:pt x="1548" y="1855"/>
                    </a:lnTo>
                    <a:lnTo>
                      <a:pt x="1548" y="1855"/>
                    </a:lnTo>
                    <a:lnTo>
                      <a:pt x="1555" y="1855"/>
                    </a:lnTo>
                    <a:lnTo>
                      <a:pt x="1563" y="1857"/>
                    </a:lnTo>
                    <a:lnTo>
                      <a:pt x="1570" y="1860"/>
                    </a:lnTo>
                    <a:lnTo>
                      <a:pt x="1575" y="1862"/>
                    </a:lnTo>
                    <a:lnTo>
                      <a:pt x="1580" y="1867"/>
                    </a:lnTo>
                    <a:lnTo>
                      <a:pt x="1585" y="1871"/>
                    </a:lnTo>
                    <a:lnTo>
                      <a:pt x="1591" y="1879"/>
                    </a:lnTo>
                    <a:lnTo>
                      <a:pt x="1591" y="1879"/>
                    </a:lnTo>
                    <a:close/>
                    <a:moveTo>
                      <a:pt x="1840" y="1865"/>
                    </a:moveTo>
                    <a:lnTo>
                      <a:pt x="1840" y="1865"/>
                    </a:lnTo>
                    <a:lnTo>
                      <a:pt x="1854" y="1857"/>
                    </a:lnTo>
                    <a:lnTo>
                      <a:pt x="1869" y="1852"/>
                    </a:lnTo>
                    <a:lnTo>
                      <a:pt x="1885" y="1849"/>
                    </a:lnTo>
                    <a:lnTo>
                      <a:pt x="1902" y="1848"/>
                    </a:lnTo>
                    <a:lnTo>
                      <a:pt x="1902" y="1848"/>
                    </a:lnTo>
                    <a:lnTo>
                      <a:pt x="1913" y="1849"/>
                    </a:lnTo>
                    <a:lnTo>
                      <a:pt x="1921" y="1850"/>
                    </a:lnTo>
                    <a:lnTo>
                      <a:pt x="1928" y="1852"/>
                    </a:lnTo>
                    <a:lnTo>
                      <a:pt x="1935" y="1857"/>
                    </a:lnTo>
                    <a:lnTo>
                      <a:pt x="1939" y="1862"/>
                    </a:lnTo>
                    <a:lnTo>
                      <a:pt x="1943" y="1868"/>
                    </a:lnTo>
                    <a:lnTo>
                      <a:pt x="1945" y="1874"/>
                    </a:lnTo>
                    <a:lnTo>
                      <a:pt x="1945" y="1883"/>
                    </a:lnTo>
                    <a:lnTo>
                      <a:pt x="1945" y="1900"/>
                    </a:lnTo>
                    <a:lnTo>
                      <a:pt x="1945" y="1900"/>
                    </a:lnTo>
                    <a:lnTo>
                      <a:pt x="1935" y="1895"/>
                    </a:lnTo>
                    <a:lnTo>
                      <a:pt x="1921" y="1891"/>
                    </a:lnTo>
                    <a:lnTo>
                      <a:pt x="1908" y="1889"/>
                    </a:lnTo>
                    <a:lnTo>
                      <a:pt x="1893" y="1888"/>
                    </a:lnTo>
                    <a:lnTo>
                      <a:pt x="1893" y="1888"/>
                    </a:lnTo>
                    <a:lnTo>
                      <a:pt x="1876" y="1889"/>
                    </a:lnTo>
                    <a:lnTo>
                      <a:pt x="1859" y="1893"/>
                    </a:lnTo>
                    <a:lnTo>
                      <a:pt x="1843" y="1897"/>
                    </a:lnTo>
                    <a:lnTo>
                      <a:pt x="1835" y="1901"/>
                    </a:lnTo>
                    <a:lnTo>
                      <a:pt x="1828" y="1906"/>
                    </a:lnTo>
                    <a:lnTo>
                      <a:pt x="1822" y="1911"/>
                    </a:lnTo>
                    <a:lnTo>
                      <a:pt x="1815" y="1917"/>
                    </a:lnTo>
                    <a:lnTo>
                      <a:pt x="1809" y="1923"/>
                    </a:lnTo>
                    <a:lnTo>
                      <a:pt x="1805" y="1930"/>
                    </a:lnTo>
                    <a:lnTo>
                      <a:pt x="1801" y="1939"/>
                    </a:lnTo>
                    <a:lnTo>
                      <a:pt x="1798" y="1948"/>
                    </a:lnTo>
                    <a:lnTo>
                      <a:pt x="1797" y="1958"/>
                    </a:lnTo>
                    <a:lnTo>
                      <a:pt x="1796" y="1968"/>
                    </a:lnTo>
                    <a:lnTo>
                      <a:pt x="1796" y="1968"/>
                    </a:lnTo>
                    <a:lnTo>
                      <a:pt x="1797" y="1980"/>
                    </a:lnTo>
                    <a:lnTo>
                      <a:pt x="1798" y="1991"/>
                    </a:lnTo>
                    <a:lnTo>
                      <a:pt x="1801" y="2000"/>
                    </a:lnTo>
                    <a:lnTo>
                      <a:pt x="1805" y="2009"/>
                    </a:lnTo>
                    <a:lnTo>
                      <a:pt x="1808" y="2017"/>
                    </a:lnTo>
                    <a:lnTo>
                      <a:pt x="1814" y="2024"/>
                    </a:lnTo>
                    <a:lnTo>
                      <a:pt x="1819" y="2030"/>
                    </a:lnTo>
                    <a:lnTo>
                      <a:pt x="1826" y="2036"/>
                    </a:lnTo>
                    <a:lnTo>
                      <a:pt x="1832" y="2041"/>
                    </a:lnTo>
                    <a:lnTo>
                      <a:pt x="1840" y="2045"/>
                    </a:lnTo>
                    <a:lnTo>
                      <a:pt x="1856" y="2051"/>
                    </a:lnTo>
                    <a:lnTo>
                      <a:pt x="1871" y="2054"/>
                    </a:lnTo>
                    <a:lnTo>
                      <a:pt x="1887" y="2055"/>
                    </a:lnTo>
                    <a:lnTo>
                      <a:pt x="1887" y="2055"/>
                    </a:lnTo>
                    <a:lnTo>
                      <a:pt x="1901" y="2053"/>
                    </a:lnTo>
                    <a:lnTo>
                      <a:pt x="1909" y="2052"/>
                    </a:lnTo>
                    <a:lnTo>
                      <a:pt x="1916" y="2049"/>
                    </a:lnTo>
                    <a:lnTo>
                      <a:pt x="1925" y="2046"/>
                    </a:lnTo>
                    <a:lnTo>
                      <a:pt x="1932" y="2041"/>
                    </a:lnTo>
                    <a:lnTo>
                      <a:pt x="1939" y="2036"/>
                    </a:lnTo>
                    <a:lnTo>
                      <a:pt x="1945" y="2030"/>
                    </a:lnTo>
                    <a:lnTo>
                      <a:pt x="1945" y="2049"/>
                    </a:lnTo>
                    <a:lnTo>
                      <a:pt x="2006" y="2049"/>
                    </a:lnTo>
                    <a:lnTo>
                      <a:pt x="2006" y="1884"/>
                    </a:lnTo>
                    <a:lnTo>
                      <a:pt x="2006" y="1884"/>
                    </a:lnTo>
                    <a:lnTo>
                      <a:pt x="2006" y="1874"/>
                    </a:lnTo>
                    <a:lnTo>
                      <a:pt x="2005" y="1866"/>
                    </a:lnTo>
                    <a:lnTo>
                      <a:pt x="2003" y="1857"/>
                    </a:lnTo>
                    <a:lnTo>
                      <a:pt x="2000" y="1849"/>
                    </a:lnTo>
                    <a:lnTo>
                      <a:pt x="1995" y="1842"/>
                    </a:lnTo>
                    <a:lnTo>
                      <a:pt x="1992" y="1834"/>
                    </a:lnTo>
                    <a:lnTo>
                      <a:pt x="1986" y="1828"/>
                    </a:lnTo>
                    <a:lnTo>
                      <a:pt x="1979" y="1822"/>
                    </a:lnTo>
                    <a:lnTo>
                      <a:pt x="1973" y="1817"/>
                    </a:lnTo>
                    <a:lnTo>
                      <a:pt x="1966" y="1812"/>
                    </a:lnTo>
                    <a:lnTo>
                      <a:pt x="1958" y="1809"/>
                    </a:lnTo>
                    <a:lnTo>
                      <a:pt x="1949" y="1805"/>
                    </a:lnTo>
                    <a:lnTo>
                      <a:pt x="1939" y="1803"/>
                    </a:lnTo>
                    <a:lnTo>
                      <a:pt x="1930" y="1801"/>
                    </a:lnTo>
                    <a:lnTo>
                      <a:pt x="1919" y="1800"/>
                    </a:lnTo>
                    <a:lnTo>
                      <a:pt x="1908" y="1799"/>
                    </a:lnTo>
                    <a:lnTo>
                      <a:pt x="1908" y="1799"/>
                    </a:lnTo>
                    <a:lnTo>
                      <a:pt x="1894" y="1800"/>
                    </a:lnTo>
                    <a:lnTo>
                      <a:pt x="1883" y="1800"/>
                    </a:lnTo>
                    <a:lnTo>
                      <a:pt x="1871" y="1803"/>
                    </a:lnTo>
                    <a:lnTo>
                      <a:pt x="1859" y="1805"/>
                    </a:lnTo>
                    <a:lnTo>
                      <a:pt x="1848" y="1809"/>
                    </a:lnTo>
                    <a:lnTo>
                      <a:pt x="1837" y="1812"/>
                    </a:lnTo>
                    <a:lnTo>
                      <a:pt x="1826" y="1817"/>
                    </a:lnTo>
                    <a:lnTo>
                      <a:pt x="1815" y="1823"/>
                    </a:lnTo>
                    <a:lnTo>
                      <a:pt x="1840" y="1865"/>
                    </a:lnTo>
                    <a:close/>
                    <a:moveTo>
                      <a:pt x="1857" y="1968"/>
                    </a:moveTo>
                    <a:lnTo>
                      <a:pt x="1857" y="1968"/>
                    </a:lnTo>
                    <a:lnTo>
                      <a:pt x="1857" y="1961"/>
                    </a:lnTo>
                    <a:lnTo>
                      <a:pt x="1859" y="1953"/>
                    </a:lnTo>
                    <a:lnTo>
                      <a:pt x="1863" y="1947"/>
                    </a:lnTo>
                    <a:lnTo>
                      <a:pt x="1868" y="1942"/>
                    </a:lnTo>
                    <a:lnTo>
                      <a:pt x="1874" y="1939"/>
                    </a:lnTo>
                    <a:lnTo>
                      <a:pt x="1881" y="1936"/>
                    </a:lnTo>
                    <a:lnTo>
                      <a:pt x="1890" y="1934"/>
                    </a:lnTo>
                    <a:lnTo>
                      <a:pt x="1898" y="1934"/>
                    </a:lnTo>
                    <a:lnTo>
                      <a:pt x="1898" y="1934"/>
                    </a:lnTo>
                    <a:lnTo>
                      <a:pt x="1911" y="1934"/>
                    </a:lnTo>
                    <a:lnTo>
                      <a:pt x="1924" y="1936"/>
                    </a:lnTo>
                    <a:lnTo>
                      <a:pt x="1935" y="1940"/>
                    </a:lnTo>
                    <a:lnTo>
                      <a:pt x="1945" y="1946"/>
                    </a:lnTo>
                    <a:lnTo>
                      <a:pt x="1945" y="1979"/>
                    </a:lnTo>
                    <a:lnTo>
                      <a:pt x="1945" y="1979"/>
                    </a:lnTo>
                    <a:lnTo>
                      <a:pt x="1943" y="1984"/>
                    </a:lnTo>
                    <a:lnTo>
                      <a:pt x="1938" y="1989"/>
                    </a:lnTo>
                    <a:lnTo>
                      <a:pt x="1933" y="1993"/>
                    </a:lnTo>
                    <a:lnTo>
                      <a:pt x="1927" y="1997"/>
                    </a:lnTo>
                    <a:lnTo>
                      <a:pt x="1921" y="2001"/>
                    </a:lnTo>
                    <a:lnTo>
                      <a:pt x="1914" y="2003"/>
                    </a:lnTo>
                    <a:lnTo>
                      <a:pt x="1907" y="2004"/>
                    </a:lnTo>
                    <a:lnTo>
                      <a:pt x="1898" y="2006"/>
                    </a:lnTo>
                    <a:lnTo>
                      <a:pt x="1898" y="2006"/>
                    </a:lnTo>
                    <a:lnTo>
                      <a:pt x="1890" y="2004"/>
                    </a:lnTo>
                    <a:lnTo>
                      <a:pt x="1881" y="2002"/>
                    </a:lnTo>
                    <a:lnTo>
                      <a:pt x="1874" y="2000"/>
                    </a:lnTo>
                    <a:lnTo>
                      <a:pt x="1868" y="1995"/>
                    </a:lnTo>
                    <a:lnTo>
                      <a:pt x="1863" y="1990"/>
                    </a:lnTo>
                    <a:lnTo>
                      <a:pt x="1859" y="1984"/>
                    </a:lnTo>
                    <a:lnTo>
                      <a:pt x="1858" y="1976"/>
                    </a:lnTo>
                    <a:lnTo>
                      <a:pt x="1857" y="1968"/>
                    </a:lnTo>
                    <a:lnTo>
                      <a:pt x="1857" y="1968"/>
                    </a:lnTo>
                    <a:close/>
                    <a:moveTo>
                      <a:pt x="2569" y="1979"/>
                    </a:moveTo>
                    <a:lnTo>
                      <a:pt x="2569" y="1979"/>
                    </a:lnTo>
                    <a:lnTo>
                      <a:pt x="2560" y="1986"/>
                    </a:lnTo>
                    <a:lnTo>
                      <a:pt x="2549" y="1992"/>
                    </a:lnTo>
                    <a:lnTo>
                      <a:pt x="2543" y="1995"/>
                    </a:lnTo>
                    <a:lnTo>
                      <a:pt x="2536" y="1997"/>
                    </a:lnTo>
                    <a:lnTo>
                      <a:pt x="2529" y="1998"/>
                    </a:lnTo>
                    <a:lnTo>
                      <a:pt x="2521" y="2000"/>
                    </a:lnTo>
                    <a:lnTo>
                      <a:pt x="2521" y="2000"/>
                    </a:lnTo>
                    <a:lnTo>
                      <a:pt x="2515" y="1998"/>
                    </a:lnTo>
                    <a:lnTo>
                      <a:pt x="2508" y="1998"/>
                    </a:lnTo>
                    <a:lnTo>
                      <a:pt x="2500" y="1996"/>
                    </a:lnTo>
                    <a:lnTo>
                      <a:pt x="2490" y="1991"/>
                    </a:lnTo>
                    <a:lnTo>
                      <a:pt x="2481" y="1985"/>
                    </a:lnTo>
                    <a:lnTo>
                      <a:pt x="2478" y="1980"/>
                    </a:lnTo>
                    <a:lnTo>
                      <a:pt x="2474" y="1975"/>
                    </a:lnTo>
                    <a:lnTo>
                      <a:pt x="2472" y="1969"/>
                    </a:lnTo>
                    <a:lnTo>
                      <a:pt x="2469" y="1962"/>
                    </a:lnTo>
                    <a:lnTo>
                      <a:pt x="2468" y="1955"/>
                    </a:lnTo>
                    <a:lnTo>
                      <a:pt x="2467" y="1946"/>
                    </a:lnTo>
                    <a:lnTo>
                      <a:pt x="2616" y="1946"/>
                    </a:lnTo>
                    <a:lnTo>
                      <a:pt x="2616" y="1946"/>
                    </a:lnTo>
                    <a:lnTo>
                      <a:pt x="2617" y="1928"/>
                    </a:lnTo>
                    <a:lnTo>
                      <a:pt x="2617" y="1928"/>
                    </a:lnTo>
                    <a:lnTo>
                      <a:pt x="2617" y="1913"/>
                    </a:lnTo>
                    <a:lnTo>
                      <a:pt x="2615" y="1900"/>
                    </a:lnTo>
                    <a:lnTo>
                      <a:pt x="2614" y="1886"/>
                    </a:lnTo>
                    <a:lnTo>
                      <a:pt x="2610" y="1874"/>
                    </a:lnTo>
                    <a:lnTo>
                      <a:pt x="2607" y="1863"/>
                    </a:lnTo>
                    <a:lnTo>
                      <a:pt x="2602" y="1852"/>
                    </a:lnTo>
                    <a:lnTo>
                      <a:pt x="2596" y="1843"/>
                    </a:lnTo>
                    <a:lnTo>
                      <a:pt x="2589" y="1834"/>
                    </a:lnTo>
                    <a:lnTo>
                      <a:pt x="2582" y="1826"/>
                    </a:lnTo>
                    <a:lnTo>
                      <a:pt x="2575" y="1820"/>
                    </a:lnTo>
                    <a:lnTo>
                      <a:pt x="2566" y="1814"/>
                    </a:lnTo>
                    <a:lnTo>
                      <a:pt x="2557" y="1809"/>
                    </a:lnTo>
                    <a:lnTo>
                      <a:pt x="2547" y="1805"/>
                    </a:lnTo>
                    <a:lnTo>
                      <a:pt x="2537" y="1801"/>
                    </a:lnTo>
                    <a:lnTo>
                      <a:pt x="2526" y="1800"/>
                    </a:lnTo>
                    <a:lnTo>
                      <a:pt x="2514" y="1799"/>
                    </a:lnTo>
                    <a:lnTo>
                      <a:pt x="2514" y="1799"/>
                    </a:lnTo>
                    <a:lnTo>
                      <a:pt x="2503" y="1800"/>
                    </a:lnTo>
                    <a:lnTo>
                      <a:pt x="2492" y="1801"/>
                    </a:lnTo>
                    <a:lnTo>
                      <a:pt x="2481" y="1805"/>
                    </a:lnTo>
                    <a:lnTo>
                      <a:pt x="2470" y="1809"/>
                    </a:lnTo>
                    <a:lnTo>
                      <a:pt x="2461" y="1814"/>
                    </a:lnTo>
                    <a:lnTo>
                      <a:pt x="2452" y="1821"/>
                    </a:lnTo>
                    <a:lnTo>
                      <a:pt x="2444" y="1827"/>
                    </a:lnTo>
                    <a:lnTo>
                      <a:pt x="2436" y="1835"/>
                    </a:lnTo>
                    <a:lnTo>
                      <a:pt x="2429" y="1844"/>
                    </a:lnTo>
                    <a:lnTo>
                      <a:pt x="2423" y="1854"/>
                    </a:lnTo>
                    <a:lnTo>
                      <a:pt x="2418" y="1865"/>
                    </a:lnTo>
                    <a:lnTo>
                      <a:pt x="2413" y="1876"/>
                    </a:lnTo>
                    <a:lnTo>
                      <a:pt x="2410" y="1888"/>
                    </a:lnTo>
                    <a:lnTo>
                      <a:pt x="2407" y="1901"/>
                    </a:lnTo>
                    <a:lnTo>
                      <a:pt x="2406" y="1913"/>
                    </a:lnTo>
                    <a:lnTo>
                      <a:pt x="2405" y="1928"/>
                    </a:lnTo>
                    <a:lnTo>
                      <a:pt x="2405" y="1928"/>
                    </a:lnTo>
                    <a:lnTo>
                      <a:pt x="2406" y="1941"/>
                    </a:lnTo>
                    <a:lnTo>
                      <a:pt x="2407" y="1955"/>
                    </a:lnTo>
                    <a:lnTo>
                      <a:pt x="2410" y="1968"/>
                    </a:lnTo>
                    <a:lnTo>
                      <a:pt x="2413" y="1980"/>
                    </a:lnTo>
                    <a:lnTo>
                      <a:pt x="2418" y="1991"/>
                    </a:lnTo>
                    <a:lnTo>
                      <a:pt x="2423" y="2002"/>
                    </a:lnTo>
                    <a:lnTo>
                      <a:pt x="2429" y="2012"/>
                    </a:lnTo>
                    <a:lnTo>
                      <a:pt x="2436" y="2020"/>
                    </a:lnTo>
                    <a:lnTo>
                      <a:pt x="2445" y="2028"/>
                    </a:lnTo>
                    <a:lnTo>
                      <a:pt x="2453" y="2035"/>
                    </a:lnTo>
                    <a:lnTo>
                      <a:pt x="2463" y="2041"/>
                    </a:lnTo>
                    <a:lnTo>
                      <a:pt x="2473" y="2046"/>
                    </a:lnTo>
                    <a:lnTo>
                      <a:pt x="2484" y="2049"/>
                    </a:lnTo>
                    <a:lnTo>
                      <a:pt x="2496" y="2053"/>
                    </a:lnTo>
                    <a:lnTo>
                      <a:pt x="2508" y="2054"/>
                    </a:lnTo>
                    <a:lnTo>
                      <a:pt x="2521" y="2055"/>
                    </a:lnTo>
                    <a:lnTo>
                      <a:pt x="2521" y="2055"/>
                    </a:lnTo>
                    <a:lnTo>
                      <a:pt x="2534" y="2054"/>
                    </a:lnTo>
                    <a:lnTo>
                      <a:pt x="2545" y="2053"/>
                    </a:lnTo>
                    <a:lnTo>
                      <a:pt x="2557" y="2049"/>
                    </a:lnTo>
                    <a:lnTo>
                      <a:pt x="2568" y="2046"/>
                    </a:lnTo>
                    <a:lnTo>
                      <a:pt x="2579" y="2040"/>
                    </a:lnTo>
                    <a:lnTo>
                      <a:pt x="2588" y="2034"/>
                    </a:lnTo>
                    <a:lnTo>
                      <a:pt x="2598" y="2025"/>
                    </a:lnTo>
                    <a:lnTo>
                      <a:pt x="2608" y="2017"/>
                    </a:lnTo>
                    <a:lnTo>
                      <a:pt x="2569" y="1979"/>
                    </a:lnTo>
                    <a:close/>
                    <a:moveTo>
                      <a:pt x="2468" y="1901"/>
                    </a:moveTo>
                    <a:lnTo>
                      <a:pt x="2468" y="1901"/>
                    </a:lnTo>
                    <a:lnTo>
                      <a:pt x="2469" y="1890"/>
                    </a:lnTo>
                    <a:lnTo>
                      <a:pt x="2472" y="1880"/>
                    </a:lnTo>
                    <a:lnTo>
                      <a:pt x="2475" y="1872"/>
                    </a:lnTo>
                    <a:lnTo>
                      <a:pt x="2481" y="1865"/>
                    </a:lnTo>
                    <a:lnTo>
                      <a:pt x="2487" y="1859"/>
                    </a:lnTo>
                    <a:lnTo>
                      <a:pt x="2495" y="1855"/>
                    </a:lnTo>
                    <a:lnTo>
                      <a:pt x="2503" y="1851"/>
                    </a:lnTo>
                    <a:lnTo>
                      <a:pt x="2513" y="1851"/>
                    </a:lnTo>
                    <a:lnTo>
                      <a:pt x="2513" y="1851"/>
                    </a:lnTo>
                    <a:lnTo>
                      <a:pt x="2524" y="1852"/>
                    </a:lnTo>
                    <a:lnTo>
                      <a:pt x="2534" y="1855"/>
                    </a:lnTo>
                    <a:lnTo>
                      <a:pt x="2541" y="1860"/>
                    </a:lnTo>
                    <a:lnTo>
                      <a:pt x="2547" y="1867"/>
                    </a:lnTo>
                    <a:lnTo>
                      <a:pt x="2552" y="1874"/>
                    </a:lnTo>
                    <a:lnTo>
                      <a:pt x="2555" y="1883"/>
                    </a:lnTo>
                    <a:lnTo>
                      <a:pt x="2558" y="1893"/>
                    </a:lnTo>
                    <a:lnTo>
                      <a:pt x="2559" y="1901"/>
                    </a:lnTo>
                    <a:lnTo>
                      <a:pt x="2468" y="1901"/>
                    </a:lnTo>
                    <a:close/>
                    <a:moveTo>
                      <a:pt x="3153" y="1979"/>
                    </a:moveTo>
                    <a:lnTo>
                      <a:pt x="3153" y="1979"/>
                    </a:lnTo>
                    <a:lnTo>
                      <a:pt x="3144" y="1986"/>
                    </a:lnTo>
                    <a:lnTo>
                      <a:pt x="3134" y="1992"/>
                    </a:lnTo>
                    <a:lnTo>
                      <a:pt x="3127" y="1995"/>
                    </a:lnTo>
                    <a:lnTo>
                      <a:pt x="3121" y="1997"/>
                    </a:lnTo>
                    <a:lnTo>
                      <a:pt x="3113" y="1998"/>
                    </a:lnTo>
                    <a:lnTo>
                      <a:pt x="3105" y="2000"/>
                    </a:lnTo>
                    <a:lnTo>
                      <a:pt x="3105" y="2000"/>
                    </a:lnTo>
                    <a:lnTo>
                      <a:pt x="3099" y="1998"/>
                    </a:lnTo>
                    <a:lnTo>
                      <a:pt x="3091" y="1998"/>
                    </a:lnTo>
                    <a:lnTo>
                      <a:pt x="3083" y="1996"/>
                    </a:lnTo>
                    <a:lnTo>
                      <a:pt x="3074" y="1991"/>
                    </a:lnTo>
                    <a:lnTo>
                      <a:pt x="3066" y="1985"/>
                    </a:lnTo>
                    <a:lnTo>
                      <a:pt x="3062" y="1980"/>
                    </a:lnTo>
                    <a:lnTo>
                      <a:pt x="3059" y="1975"/>
                    </a:lnTo>
                    <a:lnTo>
                      <a:pt x="3056" y="1969"/>
                    </a:lnTo>
                    <a:lnTo>
                      <a:pt x="3054" y="1962"/>
                    </a:lnTo>
                    <a:lnTo>
                      <a:pt x="3051" y="1955"/>
                    </a:lnTo>
                    <a:lnTo>
                      <a:pt x="3050" y="1946"/>
                    </a:lnTo>
                    <a:lnTo>
                      <a:pt x="3201" y="1946"/>
                    </a:lnTo>
                    <a:lnTo>
                      <a:pt x="3201" y="1946"/>
                    </a:lnTo>
                    <a:lnTo>
                      <a:pt x="3202" y="1928"/>
                    </a:lnTo>
                    <a:lnTo>
                      <a:pt x="3202" y="1928"/>
                    </a:lnTo>
                    <a:lnTo>
                      <a:pt x="3201" y="1913"/>
                    </a:lnTo>
                    <a:lnTo>
                      <a:pt x="3199" y="1900"/>
                    </a:lnTo>
                    <a:lnTo>
                      <a:pt x="3197" y="1886"/>
                    </a:lnTo>
                    <a:lnTo>
                      <a:pt x="3195" y="1874"/>
                    </a:lnTo>
                    <a:lnTo>
                      <a:pt x="3190" y="1863"/>
                    </a:lnTo>
                    <a:lnTo>
                      <a:pt x="3185" y="1852"/>
                    </a:lnTo>
                    <a:lnTo>
                      <a:pt x="3180" y="1843"/>
                    </a:lnTo>
                    <a:lnTo>
                      <a:pt x="3174" y="1834"/>
                    </a:lnTo>
                    <a:lnTo>
                      <a:pt x="3167" y="1826"/>
                    </a:lnTo>
                    <a:lnTo>
                      <a:pt x="3158" y="1820"/>
                    </a:lnTo>
                    <a:lnTo>
                      <a:pt x="3150" y="1814"/>
                    </a:lnTo>
                    <a:lnTo>
                      <a:pt x="3141" y="1809"/>
                    </a:lnTo>
                    <a:lnTo>
                      <a:pt x="3131" y="1805"/>
                    </a:lnTo>
                    <a:lnTo>
                      <a:pt x="3121" y="1801"/>
                    </a:lnTo>
                    <a:lnTo>
                      <a:pt x="3110" y="1800"/>
                    </a:lnTo>
                    <a:lnTo>
                      <a:pt x="3099" y="1799"/>
                    </a:lnTo>
                    <a:lnTo>
                      <a:pt x="3099" y="1799"/>
                    </a:lnTo>
                    <a:lnTo>
                      <a:pt x="3086" y="1800"/>
                    </a:lnTo>
                    <a:lnTo>
                      <a:pt x="3076" y="1801"/>
                    </a:lnTo>
                    <a:lnTo>
                      <a:pt x="3065" y="1805"/>
                    </a:lnTo>
                    <a:lnTo>
                      <a:pt x="3055" y="1809"/>
                    </a:lnTo>
                    <a:lnTo>
                      <a:pt x="3045" y="1814"/>
                    </a:lnTo>
                    <a:lnTo>
                      <a:pt x="3035" y="1821"/>
                    </a:lnTo>
                    <a:lnTo>
                      <a:pt x="3028" y="1827"/>
                    </a:lnTo>
                    <a:lnTo>
                      <a:pt x="3020" y="1835"/>
                    </a:lnTo>
                    <a:lnTo>
                      <a:pt x="3012" y="1844"/>
                    </a:lnTo>
                    <a:lnTo>
                      <a:pt x="3006" y="1854"/>
                    </a:lnTo>
                    <a:lnTo>
                      <a:pt x="3001" y="1865"/>
                    </a:lnTo>
                    <a:lnTo>
                      <a:pt x="2997" y="1876"/>
                    </a:lnTo>
                    <a:lnTo>
                      <a:pt x="2994" y="1888"/>
                    </a:lnTo>
                    <a:lnTo>
                      <a:pt x="2990" y="1901"/>
                    </a:lnTo>
                    <a:lnTo>
                      <a:pt x="2989" y="1913"/>
                    </a:lnTo>
                    <a:lnTo>
                      <a:pt x="2989" y="1928"/>
                    </a:lnTo>
                    <a:lnTo>
                      <a:pt x="2989" y="1928"/>
                    </a:lnTo>
                    <a:lnTo>
                      <a:pt x="2989" y="1941"/>
                    </a:lnTo>
                    <a:lnTo>
                      <a:pt x="2990" y="1955"/>
                    </a:lnTo>
                    <a:lnTo>
                      <a:pt x="2993" y="1968"/>
                    </a:lnTo>
                    <a:lnTo>
                      <a:pt x="2997" y="1980"/>
                    </a:lnTo>
                    <a:lnTo>
                      <a:pt x="3001" y="1991"/>
                    </a:lnTo>
                    <a:lnTo>
                      <a:pt x="3008" y="2002"/>
                    </a:lnTo>
                    <a:lnTo>
                      <a:pt x="3014" y="2012"/>
                    </a:lnTo>
                    <a:lnTo>
                      <a:pt x="3021" y="2020"/>
                    </a:lnTo>
                    <a:lnTo>
                      <a:pt x="3028" y="2028"/>
                    </a:lnTo>
                    <a:lnTo>
                      <a:pt x="3037" y="2035"/>
                    </a:lnTo>
                    <a:lnTo>
                      <a:pt x="3046" y="2041"/>
                    </a:lnTo>
                    <a:lnTo>
                      <a:pt x="3057" y="2046"/>
                    </a:lnTo>
                    <a:lnTo>
                      <a:pt x="3068" y="2049"/>
                    </a:lnTo>
                    <a:lnTo>
                      <a:pt x="3079" y="2053"/>
                    </a:lnTo>
                    <a:lnTo>
                      <a:pt x="3093" y="2054"/>
                    </a:lnTo>
                    <a:lnTo>
                      <a:pt x="3105" y="2055"/>
                    </a:lnTo>
                    <a:lnTo>
                      <a:pt x="3105" y="2055"/>
                    </a:lnTo>
                    <a:lnTo>
                      <a:pt x="3117" y="2054"/>
                    </a:lnTo>
                    <a:lnTo>
                      <a:pt x="3129" y="2053"/>
                    </a:lnTo>
                    <a:lnTo>
                      <a:pt x="3140" y="2049"/>
                    </a:lnTo>
                    <a:lnTo>
                      <a:pt x="3151" y="2046"/>
                    </a:lnTo>
                    <a:lnTo>
                      <a:pt x="3162" y="2040"/>
                    </a:lnTo>
                    <a:lnTo>
                      <a:pt x="3173" y="2034"/>
                    </a:lnTo>
                    <a:lnTo>
                      <a:pt x="3182" y="2025"/>
                    </a:lnTo>
                    <a:lnTo>
                      <a:pt x="3191" y="2017"/>
                    </a:lnTo>
                    <a:lnTo>
                      <a:pt x="3153" y="1979"/>
                    </a:lnTo>
                    <a:close/>
                    <a:moveTo>
                      <a:pt x="3051" y="1901"/>
                    </a:moveTo>
                    <a:lnTo>
                      <a:pt x="3051" y="1901"/>
                    </a:lnTo>
                    <a:lnTo>
                      <a:pt x="3052" y="1890"/>
                    </a:lnTo>
                    <a:lnTo>
                      <a:pt x="3056" y="1880"/>
                    </a:lnTo>
                    <a:lnTo>
                      <a:pt x="3060" y="1872"/>
                    </a:lnTo>
                    <a:lnTo>
                      <a:pt x="3065" y="1865"/>
                    </a:lnTo>
                    <a:lnTo>
                      <a:pt x="3072" y="1859"/>
                    </a:lnTo>
                    <a:lnTo>
                      <a:pt x="3079" y="1855"/>
                    </a:lnTo>
                    <a:lnTo>
                      <a:pt x="3088" y="1851"/>
                    </a:lnTo>
                    <a:lnTo>
                      <a:pt x="3097" y="1851"/>
                    </a:lnTo>
                    <a:lnTo>
                      <a:pt x="3097" y="1851"/>
                    </a:lnTo>
                    <a:lnTo>
                      <a:pt x="3108" y="1852"/>
                    </a:lnTo>
                    <a:lnTo>
                      <a:pt x="3117" y="1855"/>
                    </a:lnTo>
                    <a:lnTo>
                      <a:pt x="3125" y="1860"/>
                    </a:lnTo>
                    <a:lnTo>
                      <a:pt x="3131" y="1867"/>
                    </a:lnTo>
                    <a:lnTo>
                      <a:pt x="3136" y="1874"/>
                    </a:lnTo>
                    <a:lnTo>
                      <a:pt x="3140" y="1883"/>
                    </a:lnTo>
                    <a:lnTo>
                      <a:pt x="3142" y="1893"/>
                    </a:lnTo>
                    <a:lnTo>
                      <a:pt x="3144" y="1901"/>
                    </a:lnTo>
                    <a:lnTo>
                      <a:pt x="3051" y="1901"/>
                    </a:lnTo>
                    <a:close/>
                    <a:moveTo>
                      <a:pt x="2905" y="1964"/>
                    </a:moveTo>
                    <a:lnTo>
                      <a:pt x="2905" y="1964"/>
                    </a:lnTo>
                    <a:lnTo>
                      <a:pt x="2905" y="1973"/>
                    </a:lnTo>
                    <a:lnTo>
                      <a:pt x="2907" y="1979"/>
                    </a:lnTo>
                    <a:lnTo>
                      <a:pt x="2909" y="1985"/>
                    </a:lnTo>
                    <a:lnTo>
                      <a:pt x="2912" y="1990"/>
                    </a:lnTo>
                    <a:lnTo>
                      <a:pt x="2915" y="1993"/>
                    </a:lnTo>
                    <a:lnTo>
                      <a:pt x="2920" y="1996"/>
                    </a:lnTo>
                    <a:lnTo>
                      <a:pt x="2925" y="1997"/>
                    </a:lnTo>
                    <a:lnTo>
                      <a:pt x="2932" y="1997"/>
                    </a:lnTo>
                    <a:lnTo>
                      <a:pt x="2932" y="1997"/>
                    </a:lnTo>
                    <a:lnTo>
                      <a:pt x="2941" y="1997"/>
                    </a:lnTo>
                    <a:lnTo>
                      <a:pt x="2950" y="1995"/>
                    </a:lnTo>
                    <a:lnTo>
                      <a:pt x="2960" y="1991"/>
                    </a:lnTo>
                    <a:lnTo>
                      <a:pt x="2969" y="1986"/>
                    </a:lnTo>
                    <a:lnTo>
                      <a:pt x="2961" y="2043"/>
                    </a:lnTo>
                    <a:lnTo>
                      <a:pt x="2961" y="2043"/>
                    </a:lnTo>
                    <a:lnTo>
                      <a:pt x="2950" y="2048"/>
                    </a:lnTo>
                    <a:lnTo>
                      <a:pt x="2937" y="2052"/>
                    </a:lnTo>
                    <a:lnTo>
                      <a:pt x="2924" y="2054"/>
                    </a:lnTo>
                    <a:lnTo>
                      <a:pt x="2910" y="2055"/>
                    </a:lnTo>
                    <a:lnTo>
                      <a:pt x="2910" y="2055"/>
                    </a:lnTo>
                    <a:lnTo>
                      <a:pt x="2902" y="2054"/>
                    </a:lnTo>
                    <a:lnTo>
                      <a:pt x="2893" y="2053"/>
                    </a:lnTo>
                    <a:lnTo>
                      <a:pt x="2886" y="2051"/>
                    </a:lnTo>
                    <a:lnTo>
                      <a:pt x="2880" y="2048"/>
                    </a:lnTo>
                    <a:lnTo>
                      <a:pt x="2874" y="2045"/>
                    </a:lnTo>
                    <a:lnTo>
                      <a:pt x="2868" y="2041"/>
                    </a:lnTo>
                    <a:lnTo>
                      <a:pt x="2864" y="2036"/>
                    </a:lnTo>
                    <a:lnTo>
                      <a:pt x="2859" y="2030"/>
                    </a:lnTo>
                    <a:lnTo>
                      <a:pt x="2853" y="2019"/>
                    </a:lnTo>
                    <a:lnTo>
                      <a:pt x="2848" y="2006"/>
                    </a:lnTo>
                    <a:lnTo>
                      <a:pt x="2846" y="1993"/>
                    </a:lnTo>
                    <a:lnTo>
                      <a:pt x="2845" y="1980"/>
                    </a:lnTo>
                    <a:lnTo>
                      <a:pt x="2845" y="1861"/>
                    </a:lnTo>
                    <a:lnTo>
                      <a:pt x="2807" y="1861"/>
                    </a:lnTo>
                    <a:lnTo>
                      <a:pt x="2807" y="1805"/>
                    </a:lnTo>
                    <a:lnTo>
                      <a:pt x="2845" y="1805"/>
                    </a:lnTo>
                    <a:lnTo>
                      <a:pt x="2845" y="1742"/>
                    </a:lnTo>
                    <a:lnTo>
                      <a:pt x="2905" y="1711"/>
                    </a:lnTo>
                    <a:lnTo>
                      <a:pt x="2905" y="1805"/>
                    </a:lnTo>
                    <a:lnTo>
                      <a:pt x="2960" y="1805"/>
                    </a:lnTo>
                    <a:lnTo>
                      <a:pt x="2960" y="1861"/>
                    </a:lnTo>
                    <a:lnTo>
                      <a:pt x="2905" y="1861"/>
                    </a:lnTo>
                    <a:lnTo>
                      <a:pt x="2905" y="1964"/>
                    </a:lnTo>
                    <a:close/>
                    <a:moveTo>
                      <a:pt x="2788" y="2043"/>
                    </a:moveTo>
                    <a:lnTo>
                      <a:pt x="2788" y="2043"/>
                    </a:lnTo>
                    <a:lnTo>
                      <a:pt x="2777" y="2048"/>
                    </a:lnTo>
                    <a:lnTo>
                      <a:pt x="2764" y="2052"/>
                    </a:lnTo>
                    <a:lnTo>
                      <a:pt x="2751" y="2054"/>
                    </a:lnTo>
                    <a:lnTo>
                      <a:pt x="2738" y="2055"/>
                    </a:lnTo>
                    <a:lnTo>
                      <a:pt x="2738" y="2055"/>
                    </a:lnTo>
                    <a:lnTo>
                      <a:pt x="2728" y="2054"/>
                    </a:lnTo>
                    <a:lnTo>
                      <a:pt x="2721" y="2053"/>
                    </a:lnTo>
                    <a:lnTo>
                      <a:pt x="2713" y="2051"/>
                    </a:lnTo>
                    <a:lnTo>
                      <a:pt x="2706" y="2048"/>
                    </a:lnTo>
                    <a:lnTo>
                      <a:pt x="2701" y="2045"/>
                    </a:lnTo>
                    <a:lnTo>
                      <a:pt x="2695" y="2041"/>
                    </a:lnTo>
                    <a:lnTo>
                      <a:pt x="2690" y="2036"/>
                    </a:lnTo>
                    <a:lnTo>
                      <a:pt x="2687" y="2030"/>
                    </a:lnTo>
                    <a:lnTo>
                      <a:pt x="2679" y="2019"/>
                    </a:lnTo>
                    <a:lnTo>
                      <a:pt x="2676" y="2006"/>
                    </a:lnTo>
                    <a:lnTo>
                      <a:pt x="2672" y="1993"/>
                    </a:lnTo>
                    <a:lnTo>
                      <a:pt x="2672" y="1980"/>
                    </a:lnTo>
                    <a:lnTo>
                      <a:pt x="2672" y="1861"/>
                    </a:lnTo>
                    <a:lnTo>
                      <a:pt x="2634" y="1861"/>
                    </a:lnTo>
                    <a:lnTo>
                      <a:pt x="2634" y="1805"/>
                    </a:lnTo>
                    <a:lnTo>
                      <a:pt x="2672" y="1805"/>
                    </a:lnTo>
                    <a:lnTo>
                      <a:pt x="2672" y="1742"/>
                    </a:lnTo>
                    <a:lnTo>
                      <a:pt x="2733" y="1711"/>
                    </a:lnTo>
                    <a:lnTo>
                      <a:pt x="2733" y="1805"/>
                    </a:lnTo>
                    <a:lnTo>
                      <a:pt x="2784" y="1805"/>
                    </a:lnTo>
                    <a:lnTo>
                      <a:pt x="2784" y="1861"/>
                    </a:lnTo>
                    <a:lnTo>
                      <a:pt x="2733" y="1861"/>
                    </a:lnTo>
                    <a:lnTo>
                      <a:pt x="2733" y="1964"/>
                    </a:lnTo>
                    <a:lnTo>
                      <a:pt x="2733" y="1964"/>
                    </a:lnTo>
                    <a:lnTo>
                      <a:pt x="2733" y="1973"/>
                    </a:lnTo>
                    <a:lnTo>
                      <a:pt x="2734" y="1979"/>
                    </a:lnTo>
                    <a:lnTo>
                      <a:pt x="2737" y="1985"/>
                    </a:lnTo>
                    <a:lnTo>
                      <a:pt x="2739" y="1990"/>
                    </a:lnTo>
                    <a:lnTo>
                      <a:pt x="2743" y="1993"/>
                    </a:lnTo>
                    <a:lnTo>
                      <a:pt x="2747" y="1996"/>
                    </a:lnTo>
                    <a:lnTo>
                      <a:pt x="2752" y="1997"/>
                    </a:lnTo>
                    <a:lnTo>
                      <a:pt x="2758" y="1997"/>
                    </a:lnTo>
                    <a:lnTo>
                      <a:pt x="2758" y="1997"/>
                    </a:lnTo>
                    <a:lnTo>
                      <a:pt x="2768" y="1997"/>
                    </a:lnTo>
                    <a:lnTo>
                      <a:pt x="2778" y="1995"/>
                    </a:lnTo>
                    <a:lnTo>
                      <a:pt x="2786" y="1991"/>
                    </a:lnTo>
                    <a:lnTo>
                      <a:pt x="2795" y="1986"/>
                    </a:lnTo>
                    <a:lnTo>
                      <a:pt x="2788" y="2043"/>
                    </a:lnTo>
                    <a:close/>
                    <a:moveTo>
                      <a:pt x="3384" y="1873"/>
                    </a:moveTo>
                    <a:lnTo>
                      <a:pt x="3384" y="1873"/>
                    </a:lnTo>
                    <a:lnTo>
                      <a:pt x="3376" y="1867"/>
                    </a:lnTo>
                    <a:lnTo>
                      <a:pt x="3366" y="1863"/>
                    </a:lnTo>
                    <a:lnTo>
                      <a:pt x="3355" y="1861"/>
                    </a:lnTo>
                    <a:lnTo>
                      <a:pt x="3344" y="1860"/>
                    </a:lnTo>
                    <a:lnTo>
                      <a:pt x="3344" y="1860"/>
                    </a:lnTo>
                    <a:lnTo>
                      <a:pt x="3334" y="1861"/>
                    </a:lnTo>
                    <a:lnTo>
                      <a:pt x="3325" y="1863"/>
                    </a:lnTo>
                    <a:lnTo>
                      <a:pt x="3317" y="1868"/>
                    </a:lnTo>
                    <a:lnTo>
                      <a:pt x="3311" y="1874"/>
                    </a:lnTo>
                    <a:lnTo>
                      <a:pt x="3306" y="1882"/>
                    </a:lnTo>
                    <a:lnTo>
                      <a:pt x="3304" y="1891"/>
                    </a:lnTo>
                    <a:lnTo>
                      <a:pt x="3302" y="1904"/>
                    </a:lnTo>
                    <a:lnTo>
                      <a:pt x="3300" y="1917"/>
                    </a:lnTo>
                    <a:lnTo>
                      <a:pt x="3300" y="2049"/>
                    </a:lnTo>
                    <a:lnTo>
                      <a:pt x="3241" y="2049"/>
                    </a:lnTo>
                    <a:lnTo>
                      <a:pt x="3241" y="1805"/>
                    </a:lnTo>
                    <a:lnTo>
                      <a:pt x="3300" y="1805"/>
                    </a:lnTo>
                    <a:lnTo>
                      <a:pt x="3300" y="1826"/>
                    </a:lnTo>
                    <a:lnTo>
                      <a:pt x="3300" y="1826"/>
                    </a:lnTo>
                    <a:lnTo>
                      <a:pt x="3306" y="1820"/>
                    </a:lnTo>
                    <a:lnTo>
                      <a:pt x="3313" y="1814"/>
                    </a:lnTo>
                    <a:lnTo>
                      <a:pt x="3319" y="1810"/>
                    </a:lnTo>
                    <a:lnTo>
                      <a:pt x="3326" y="1806"/>
                    </a:lnTo>
                    <a:lnTo>
                      <a:pt x="3332" y="1803"/>
                    </a:lnTo>
                    <a:lnTo>
                      <a:pt x="3339" y="1801"/>
                    </a:lnTo>
                    <a:lnTo>
                      <a:pt x="3347" y="1800"/>
                    </a:lnTo>
                    <a:lnTo>
                      <a:pt x="3355" y="1799"/>
                    </a:lnTo>
                    <a:lnTo>
                      <a:pt x="3355" y="1799"/>
                    </a:lnTo>
                    <a:lnTo>
                      <a:pt x="3367" y="1800"/>
                    </a:lnTo>
                    <a:lnTo>
                      <a:pt x="3379" y="1804"/>
                    </a:lnTo>
                    <a:lnTo>
                      <a:pt x="3390" y="1807"/>
                    </a:lnTo>
                    <a:lnTo>
                      <a:pt x="3400" y="1814"/>
                    </a:lnTo>
                    <a:lnTo>
                      <a:pt x="3384" y="1873"/>
                    </a:lnTo>
                    <a:close/>
                    <a:moveTo>
                      <a:pt x="653" y="1747"/>
                    </a:moveTo>
                    <a:lnTo>
                      <a:pt x="653" y="1770"/>
                    </a:lnTo>
                    <a:lnTo>
                      <a:pt x="592" y="1770"/>
                    </a:lnTo>
                    <a:lnTo>
                      <a:pt x="592" y="1709"/>
                    </a:lnTo>
                    <a:lnTo>
                      <a:pt x="653" y="1709"/>
                    </a:lnTo>
                    <a:lnTo>
                      <a:pt x="653" y="1747"/>
                    </a:lnTo>
                    <a:close/>
                    <a:moveTo>
                      <a:pt x="1073" y="1805"/>
                    </a:moveTo>
                    <a:lnTo>
                      <a:pt x="1134" y="1805"/>
                    </a:lnTo>
                    <a:lnTo>
                      <a:pt x="1134" y="1930"/>
                    </a:lnTo>
                    <a:lnTo>
                      <a:pt x="1134" y="2049"/>
                    </a:lnTo>
                    <a:lnTo>
                      <a:pt x="1073" y="2049"/>
                    </a:lnTo>
                    <a:lnTo>
                      <a:pt x="1073" y="1805"/>
                    </a:lnTo>
                    <a:close/>
                    <a:moveTo>
                      <a:pt x="1134" y="1739"/>
                    </a:moveTo>
                    <a:lnTo>
                      <a:pt x="1134" y="1770"/>
                    </a:lnTo>
                    <a:lnTo>
                      <a:pt x="1073" y="1770"/>
                    </a:lnTo>
                    <a:lnTo>
                      <a:pt x="1073" y="1709"/>
                    </a:lnTo>
                    <a:lnTo>
                      <a:pt x="1134" y="1709"/>
                    </a:lnTo>
                    <a:lnTo>
                      <a:pt x="1134" y="1739"/>
                    </a:lnTo>
                    <a:close/>
                    <a:moveTo>
                      <a:pt x="2796" y="2250"/>
                    </a:moveTo>
                    <a:lnTo>
                      <a:pt x="2796" y="2250"/>
                    </a:lnTo>
                    <a:lnTo>
                      <a:pt x="2790" y="2245"/>
                    </a:lnTo>
                    <a:lnTo>
                      <a:pt x="2784" y="2240"/>
                    </a:lnTo>
                    <a:lnTo>
                      <a:pt x="2778" y="2237"/>
                    </a:lnTo>
                    <a:lnTo>
                      <a:pt x="2771" y="2233"/>
                    </a:lnTo>
                    <a:lnTo>
                      <a:pt x="2764" y="2231"/>
                    </a:lnTo>
                    <a:lnTo>
                      <a:pt x="2757" y="2229"/>
                    </a:lnTo>
                    <a:lnTo>
                      <a:pt x="2741" y="2227"/>
                    </a:lnTo>
                    <a:lnTo>
                      <a:pt x="2741" y="2227"/>
                    </a:lnTo>
                    <a:lnTo>
                      <a:pt x="2730" y="2228"/>
                    </a:lnTo>
                    <a:lnTo>
                      <a:pt x="2721" y="2229"/>
                    </a:lnTo>
                    <a:lnTo>
                      <a:pt x="2711" y="2233"/>
                    </a:lnTo>
                    <a:lnTo>
                      <a:pt x="2701" y="2237"/>
                    </a:lnTo>
                    <a:lnTo>
                      <a:pt x="2693" y="2241"/>
                    </a:lnTo>
                    <a:lnTo>
                      <a:pt x="2685" y="2246"/>
                    </a:lnTo>
                    <a:lnTo>
                      <a:pt x="2678" y="2254"/>
                    </a:lnTo>
                    <a:lnTo>
                      <a:pt x="2671" y="2261"/>
                    </a:lnTo>
                    <a:lnTo>
                      <a:pt x="2666" y="2269"/>
                    </a:lnTo>
                    <a:lnTo>
                      <a:pt x="2660" y="2279"/>
                    </a:lnTo>
                    <a:lnTo>
                      <a:pt x="2656" y="2289"/>
                    </a:lnTo>
                    <a:lnTo>
                      <a:pt x="2653" y="2301"/>
                    </a:lnTo>
                    <a:lnTo>
                      <a:pt x="2649" y="2312"/>
                    </a:lnTo>
                    <a:lnTo>
                      <a:pt x="2648" y="2325"/>
                    </a:lnTo>
                    <a:lnTo>
                      <a:pt x="2647" y="2339"/>
                    </a:lnTo>
                    <a:lnTo>
                      <a:pt x="2645" y="2353"/>
                    </a:lnTo>
                    <a:lnTo>
                      <a:pt x="2645" y="2353"/>
                    </a:lnTo>
                    <a:lnTo>
                      <a:pt x="2647" y="2368"/>
                    </a:lnTo>
                    <a:lnTo>
                      <a:pt x="2648" y="2381"/>
                    </a:lnTo>
                    <a:lnTo>
                      <a:pt x="2649" y="2395"/>
                    </a:lnTo>
                    <a:lnTo>
                      <a:pt x="2653" y="2408"/>
                    </a:lnTo>
                    <a:lnTo>
                      <a:pt x="2655" y="2419"/>
                    </a:lnTo>
                    <a:lnTo>
                      <a:pt x="2660" y="2430"/>
                    </a:lnTo>
                    <a:lnTo>
                      <a:pt x="2665" y="2440"/>
                    </a:lnTo>
                    <a:lnTo>
                      <a:pt x="2671" y="2448"/>
                    </a:lnTo>
                    <a:lnTo>
                      <a:pt x="2677" y="2457"/>
                    </a:lnTo>
                    <a:lnTo>
                      <a:pt x="2684" y="2463"/>
                    </a:lnTo>
                    <a:lnTo>
                      <a:pt x="2692" y="2469"/>
                    </a:lnTo>
                    <a:lnTo>
                      <a:pt x="2700" y="2474"/>
                    </a:lnTo>
                    <a:lnTo>
                      <a:pt x="2710" y="2479"/>
                    </a:lnTo>
                    <a:lnTo>
                      <a:pt x="2720" y="2481"/>
                    </a:lnTo>
                    <a:lnTo>
                      <a:pt x="2729" y="2482"/>
                    </a:lnTo>
                    <a:lnTo>
                      <a:pt x="2740" y="2483"/>
                    </a:lnTo>
                    <a:lnTo>
                      <a:pt x="2740" y="2483"/>
                    </a:lnTo>
                    <a:lnTo>
                      <a:pt x="2747" y="2482"/>
                    </a:lnTo>
                    <a:lnTo>
                      <a:pt x="2756" y="2481"/>
                    </a:lnTo>
                    <a:lnTo>
                      <a:pt x="2763" y="2480"/>
                    </a:lnTo>
                    <a:lnTo>
                      <a:pt x="2769" y="2477"/>
                    </a:lnTo>
                    <a:lnTo>
                      <a:pt x="2777" y="2474"/>
                    </a:lnTo>
                    <a:lnTo>
                      <a:pt x="2784" y="2470"/>
                    </a:lnTo>
                    <a:lnTo>
                      <a:pt x="2790" y="2465"/>
                    </a:lnTo>
                    <a:lnTo>
                      <a:pt x="2796" y="2459"/>
                    </a:lnTo>
                    <a:lnTo>
                      <a:pt x="2796" y="2477"/>
                    </a:lnTo>
                    <a:lnTo>
                      <a:pt x="2857" y="2477"/>
                    </a:lnTo>
                    <a:lnTo>
                      <a:pt x="2857" y="2131"/>
                    </a:lnTo>
                    <a:lnTo>
                      <a:pt x="2796" y="2161"/>
                    </a:lnTo>
                    <a:lnTo>
                      <a:pt x="2796" y="2250"/>
                    </a:lnTo>
                    <a:close/>
                    <a:moveTo>
                      <a:pt x="2754" y="2427"/>
                    </a:moveTo>
                    <a:lnTo>
                      <a:pt x="2754" y="2427"/>
                    </a:lnTo>
                    <a:lnTo>
                      <a:pt x="2745" y="2426"/>
                    </a:lnTo>
                    <a:lnTo>
                      <a:pt x="2738" y="2424"/>
                    </a:lnTo>
                    <a:lnTo>
                      <a:pt x="2729" y="2420"/>
                    </a:lnTo>
                    <a:lnTo>
                      <a:pt x="2722" y="2413"/>
                    </a:lnTo>
                    <a:lnTo>
                      <a:pt x="2716" y="2403"/>
                    </a:lnTo>
                    <a:lnTo>
                      <a:pt x="2711" y="2390"/>
                    </a:lnTo>
                    <a:lnTo>
                      <a:pt x="2709" y="2373"/>
                    </a:lnTo>
                    <a:lnTo>
                      <a:pt x="2707" y="2351"/>
                    </a:lnTo>
                    <a:lnTo>
                      <a:pt x="2707" y="2351"/>
                    </a:lnTo>
                    <a:lnTo>
                      <a:pt x="2709" y="2333"/>
                    </a:lnTo>
                    <a:lnTo>
                      <a:pt x="2711" y="2317"/>
                    </a:lnTo>
                    <a:lnTo>
                      <a:pt x="2716" y="2305"/>
                    </a:lnTo>
                    <a:lnTo>
                      <a:pt x="2722" y="2296"/>
                    </a:lnTo>
                    <a:lnTo>
                      <a:pt x="2729" y="2290"/>
                    </a:lnTo>
                    <a:lnTo>
                      <a:pt x="2737" y="2285"/>
                    </a:lnTo>
                    <a:lnTo>
                      <a:pt x="2745" y="2284"/>
                    </a:lnTo>
                    <a:lnTo>
                      <a:pt x="2752" y="2283"/>
                    </a:lnTo>
                    <a:lnTo>
                      <a:pt x="2752" y="2283"/>
                    </a:lnTo>
                    <a:lnTo>
                      <a:pt x="2761" y="2284"/>
                    </a:lnTo>
                    <a:lnTo>
                      <a:pt x="2768" y="2285"/>
                    </a:lnTo>
                    <a:lnTo>
                      <a:pt x="2774" y="2288"/>
                    </a:lnTo>
                    <a:lnTo>
                      <a:pt x="2780" y="2291"/>
                    </a:lnTo>
                    <a:lnTo>
                      <a:pt x="2785" y="2295"/>
                    </a:lnTo>
                    <a:lnTo>
                      <a:pt x="2790" y="2299"/>
                    </a:lnTo>
                    <a:lnTo>
                      <a:pt x="2796" y="2307"/>
                    </a:lnTo>
                    <a:lnTo>
                      <a:pt x="2796" y="2403"/>
                    </a:lnTo>
                    <a:lnTo>
                      <a:pt x="2796" y="2403"/>
                    </a:lnTo>
                    <a:lnTo>
                      <a:pt x="2789" y="2412"/>
                    </a:lnTo>
                    <a:lnTo>
                      <a:pt x="2780" y="2419"/>
                    </a:lnTo>
                    <a:lnTo>
                      <a:pt x="2774" y="2423"/>
                    </a:lnTo>
                    <a:lnTo>
                      <a:pt x="2768" y="2425"/>
                    </a:lnTo>
                    <a:lnTo>
                      <a:pt x="2761" y="2426"/>
                    </a:lnTo>
                    <a:lnTo>
                      <a:pt x="2754" y="2427"/>
                    </a:lnTo>
                    <a:lnTo>
                      <a:pt x="2754" y="2427"/>
                    </a:lnTo>
                    <a:close/>
                    <a:moveTo>
                      <a:pt x="740" y="2301"/>
                    </a:moveTo>
                    <a:lnTo>
                      <a:pt x="740" y="2301"/>
                    </a:lnTo>
                    <a:lnTo>
                      <a:pt x="732" y="2296"/>
                    </a:lnTo>
                    <a:lnTo>
                      <a:pt x="722" y="2291"/>
                    </a:lnTo>
                    <a:lnTo>
                      <a:pt x="711" y="2289"/>
                    </a:lnTo>
                    <a:lnTo>
                      <a:pt x="700" y="2288"/>
                    </a:lnTo>
                    <a:lnTo>
                      <a:pt x="700" y="2288"/>
                    </a:lnTo>
                    <a:lnTo>
                      <a:pt x="690" y="2289"/>
                    </a:lnTo>
                    <a:lnTo>
                      <a:pt x="680" y="2291"/>
                    </a:lnTo>
                    <a:lnTo>
                      <a:pt x="673" y="2296"/>
                    </a:lnTo>
                    <a:lnTo>
                      <a:pt x="667" y="2302"/>
                    </a:lnTo>
                    <a:lnTo>
                      <a:pt x="662" y="2310"/>
                    </a:lnTo>
                    <a:lnTo>
                      <a:pt x="660" y="2319"/>
                    </a:lnTo>
                    <a:lnTo>
                      <a:pt x="657" y="2331"/>
                    </a:lnTo>
                    <a:lnTo>
                      <a:pt x="656" y="2345"/>
                    </a:lnTo>
                    <a:lnTo>
                      <a:pt x="656" y="2477"/>
                    </a:lnTo>
                    <a:lnTo>
                      <a:pt x="597" y="2477"/>
                    </a:lnTo>
                    <a:lnTo>
                      <a:pt x="597" y="2233"/>
                    </a:lnTo>
                    <a:lnTo>
                      <a:pt x="656" y="2233"/>
                    </a:lnTo>
                    <a:lnTo>
                      <a:pt x="656" y="2254"/>
                    </a:lnTo>
                    <a:lnTo>
                      <a:pt x="656" y="2254"/>
                    </a:lnTo>
                    <a:lnTo>
                      <a:pt x="662" y="2248"/>
                    </a:lnTo>
                    <a:lnTo>
                      <a:pt x="668" y="2241"/>
                    </a:lnTo>
                    <a:lnTo>
                      <a:pt x="674" y="2238"/>
                    </a:lnTo>
                    <a:lnTo>
                      <a:pt x="682" y="2234"/>
                    </a:lnTo>
                    <a:lnTo>
                      <a:pt x="688" y="2231"/>
                    </a:lnTo>
                    <a:lnTo>
                      <a:pt x="695" y="2229"/>
                    </a:lnTo>
                    <a:lnTo>
                      <a:pt x="704" y="2228"/>
                    </a:lnTo>
                    <a:lnTo>
                      <a:pt x="711" y="2227"/>
                    </a:lnTo>
                    <a:lnTo>
                      <a:pt x="711" y="2227"/>
                    </a:lnTo>
                    <a:lnTo>
                      <a:pt x="723" y="2228"/>
                    </a:lnTo>
                    <a:lnTo>
                      <a:pt x="735" y="2232"/>
                    </a:lnTo>
                    <a:lnTo>
                      <a:pt x="747" y="2237"/>
                    </a:lnTo>
                    <a:lnTo>
                      <a:pt x="757" y="2243"/>
                    </a:lnTo>
                    <a:lnTo>
                      <a:pt x="740" y="2301"/>
                    </a:lnTo>
                    <a:close/>
                    <a:moveTo>
                      <a:pt x="265" y="2233"/>
                    </a:moveTo>
                    <a:lnTo>
                      <a:pt x="324" y="2233"/>
                    </a:lnTo>
                    <a:lnTo>
                      <a:pt x="255" y="2477"/>
                    </a:lnTo>
                    <a:lnTo>
                      <a:pt x="203" y="2477"/>
                    </a:lnTo>
                    <a:lnTo>
                      <a:pt x="176" y="2376"/>
                    </a:lnTo>
                    <a:lnTo>
                      <a:pt x="176" y="2376"/>
                    </a:lnTo>
                    <a:lnTo>
                      <a:pt x="163" y="2323"/>
                    </a:lnTo>
                    <a:lnTo>
                      <a:pt x="163" y="2323"/>
                    </a:lnTo>
                    <a:lnTo>
                      <a:pt x="157" y="2348"/>
                    </a:lnTo>
                    <a:lnTo>
                      <a:pt x="149" y="2378"/>
                    </a:lnTo>
                    <a:lnTo>
                      <a:pt x="122" y="2477"/>
                    </a:lnTo>
                    <a:lnTo>
                      <a:pt x="69" y="2477"/>
                    </a:lnTo>
                    <a:lnTo>
                      <a:pt x="69" y="2476"/>
                    </a:lnTo>
                    <a:lnTo>
                      <a:pt x="0" y="2233"/>
                    </a:lnTo>
                    <a:lnTo>
                      <a:pt x="63" y="2233"/>
                    </a:lnTo>
                    <a:lnTo>
                      <a:pt x="85" y="2324"/>
                    </a:lnTo>
                    <a:lnTo>
                      <a:pt x="85" y="2324"/>
                    </a:lnTo>
                    <a:lnTo>
                      <a:pt x="91" y="2353"/>
                    </a:lnTo>
                    <a:lnTo>
                      <a:pt x="97" y="2384"/>
                    </a:lnTo>
                    <a:lnTo>
                      <a:pt x="97" y="2384"/>
                    </a:lnTo>
                    <a:lnTo>
                      <a:pt x="105" y="2353"/>
                    </a:lnTo>
                    <a:lnTo>
                      <a:pt x="112" y="2323"/>
                    </a:lnTo>
                    <a:lnTo>
                      <a:pt x="137" y="2233"/>
                    </a:lnTo>
                    <a:lnTo>
                      <a:pt x="190" y="2233"/>
                    </a:lnTo>
                    <a:lnTo>
                      <a:pt x="215" y="2323"/>
                    </a:lnTo>
                    <a:lnTo>
                      <a:pt x="215" y="2323"/>
                    </a:lnTo>
                    <a:lnTo>
                      <a:pt x="222" y="2352"/>
                    </a:lnTo>
                    <a:lnTo>
                      <a:pt x="230" y="2385"/>
                    </a:lnTo>
                    <a:lnTo>
                      <a:pt x="230" y="2385"/>
                    </a:lnTo>
                    <a:lnTo>
                      <a:pt x="235" y="2357"/>
                    </a:lnTo>
                    <a:lnTo>
                      <a:pt x="242" y="2323"/>
                    </a:lnTo>
                    <a:lnTo>
                      <a:pt x="265" y="2233"/>
                    </a:lnTo>
                    <a:close/>
                    <a:moveTo>
                      <a:pt x="447" y="2227"/>
                    </a:moveTo>
                    <a:lnTo>
                      <a:pt x="447" y="2227"/>
                    </a:lnTo>
                    <a:lnTo>
                      <a:pt x="436" y="2228"/>
                    </a:lnTo>
                    <a:lnTo>
                      <a:pt x="424" y="2229"/>
                    </a:lnTo>
                    <a:lnTo>
                      <a:pt x="413" y="2233"/>
                    </a:lnTo>
                    <a:lnTo>
                      <a:pt x="403" y="2237"/>
                    </a:lnTo>
                    <a:lnTo>
                      <a:pt x="394" y="2241"/>
                    </a:lnTo>
                    <a:lnTo>
                      <a:pt x="384" y="2248"/>
                    </a:lnTo>
                    <a:lnTo>
                      <a:pt x="375" y="2255"/>
                    </a:lnTo>
                    <a:lnTo>
                      <a:pt x="368" y="2263"/>
                    </a:lnTo>
                    <a:lnTo>
                      <a:pt x="361" y="2272"/>
                    </a:lnTo>
                    <a:lnTo>
                      <a:pt x="355" y="2282"/>
                    </a:lnTo>
                    <a:lnTo>
                      <a:pt x="349" y="2293"/>
                    </a:lnTo>
                    <a:lnTo>
                      <a:pt x="345" y="2303"/>
                    </a:lnTo>
                    <a:lnTo>
                      <a:pt x="341" y="2316"/>
                    </a:lnTo>
                    <a:lnTo>
                      <a:pt x="339" y="2328"/>
                    </a:lnTo>
                    <a:lnTo>
                      <a:pt x="337" y="2341"/>
                    </a:lnTo>
                    <a:lnTo>
                      <a:pt x="337" y="2356"/>
                    </a:lnTo>
                    <a:lnTo>
                      <a:pt x="337" y="2356"/>
                    </a:lnTo>
                    <a:lnTo>
                      <a:pt x="337" y="2369"/>
                    </a:lnTo>
                    <a:lnTo>
                      <a:pt x="339" y="2382"/>
                    </a:lnTo>
                    <a:lnTo>
                      <a:pt x="341" y="2395"/>
                    </a:lnTo>
                    <a:lnTo>
                      <a:pt x="345" y="2407"/>
                    </a:lnTo>
                    <a:lnTo>
                      <a:pt x="349" y="2418"/>
                    </a:lnTo>
                    <a:lnTo>
                      <a:pt x="355" y="2429"/>
                    </a:lnTo>
                    <a:lnTo>
                      <a:pt x="361" y="2438"/>
                    </a:lnTo>
                    <a:lnTo>
                      <a:pt x="368" y="2447"/>
                    </a:lnTo>
                    <a:lnTo>
                      <a:pt x="375" y="2455"/>
                    </a:lnTo>
                    <a:lnTo>
                      <a:pt x="384" y="2463"/>
                    </a:lnTo>
                    <a:lnTo>
                      <a:pt x="394" y="2469"/>
                    </a:lnTo>
                    <a:lnTo>
                      <a:pt x="403" y="2474"/>
                    </a:lnTo>
                    <a:lnTo>
                      <a:pt x="413" y="2477"/>
                    </a:lnTo>
                    <a:lnTo>
                      <a:pt x="424" y="2481"/>
                    </a:lnTo>
                    <a:lnTo>
                      <a:pt x="436" y="2482"/>
                    </a:lnTo>
                    <a:lnTo>
                      <a:pt x="447" y="2483"/>
                    </a:lnTo>
                    <a:lnTo>
                      <a:pt x="447" y="2483"/>
                    </a:lnTo>
                    <a:lnTo>
                      <a:pt x="459" y="2482"/>
                    </a:lnTo>
                    <a:lnTo>
                      <a:pt x="471" y="2481"/>
                    </a:lnTo>
                    <a:lnTo>
                      <a:pt x="482" y="2477"/>
                    </a:lnTo>
                    <a:lnTo>
                      <a:pt x="492" y="2474"/>
                    </a:lnTo>
                    <a:lnTo>
                      <a:pt x="502" y="2469"/>
                    </a:lnTo>
                    <a:lnTo>
                      <a:pt x="512" y="2463"/>
                    </a:lnTo>
                    <a:lnTo>
                      <a:pt x="520" y="2455"/>
                    </a:lnTo>
                    <a:lnTo>
                      <a:pt x="527" y="2447"/>
                    </a:lnTo>
                    <a:lnTo>
                      <a:pt x="535" y="2438"/>
                    </a:lnTo>
                    <a:lnTo>
                      <a:pt x="541" y="2429"/>
                    </a:lnTo>
                    <a:lnTo>
                      <a:pt x="546" y="2418"/>
                    </a:lnTo>
                    <a:lnTo>
                      <a:pt x="550" y="2407"/>
                    </a:lnTo>
                    <a:lnTo>
                      <a:pt x="554" y="2395"/>
                    </a:lnTo>
                    <a:lnTo>
                      <a:pt x="557" y="2382"/>
                    </a:lnTo>
                    <a:lnTo>
                      <a:pt x="559" y="2369"/>
                    </a:lnTo>
                    <a:lnTo>
                      <a:pt x="559" y="2356"/>
                    </a:lnTo>
                    <a:lnTo>
                      <a:pt x="559" y="2356"/>
                    </a:lnTo>
                    <a:lnTo>
                      <a:pt x="559" y="2341"/>
                    </a:lnTo>
                    <a:lnTo>
                      <a:pt x="557" y="2328"/>
                    </a:lnTo>
                    <a:lnTo>
                      <a:pt x="554" y="2316"/>
                    </a:lnTo>
                    <a:lnTo>
                      <a:pt x="550" y="2303"/>
                    </a:lnTo>
                    <a:lnTo>
                      <a:pt x="546" y="2293"/>
                    </a:lnTo>
                    <a:lnTo>
                      <a:pt x="541" y="2282"/>
                    </a:lnTo>
                    <a:lnTo>
                      <a:pt x="535" y="2272"/>
                    </a:lnTo>
                    <a:lnTo>
                      <a:pt x="527" y="2263"/>
                    </a:lnTo>
                    <a:lnTo>
                      <a:pt x="520" y="2255"/>
                    </a:lnTo>
                    <a:lnTo>
                      <a:pt x="512" y="2248"/>
                    </a:lnTo>
                    <a:lnTo>
                      <a:pt x="502" y="2241"/>
                    </a:lnTo>
                    <a:lnTo>
                      <a:pt x="492" y="2237"/>
                    </a:lnTo>
                    <a:lnTo>
                      <a:pt x="482" y="2233"/>
                    </a:lnTo>
                    <a:lnTo>
                      <a:pt x="471" y="2229"/>
                    </a:lnTo>
                    <a:lnTo>
                      <a:pt x="459" y="2228"/>
                    </a:lnTo>
                    <a:lnTo>
                      <a:pt x="447" y="2227"/>
                    </a:lnTo>
                    <a:lnTo>
                      <a:pt x="447" y="2227"/>
                    </a:lnTo>
                    <a:close/>
                    <a:moveTo>
                      <a:pt x="447" y="2426"/>
                    </a:moveTo>
                    <a:lnTo>
                      <a:pt x="447" y="2426"/>
                    </a:lnTo>
                    <a:lnTo>
                      <a:pt x="436" y="2425"/>
                    </a:lnTo>
                    <a:lnTo>
                      <a:pt x="427" y="2421"/>
                    </a:lnTo>
                    <a:lnTo>
                      <a:pt x="419" y="2415"/>
                    </a:lnTo>
                    <a:lnTo>
                      <a:pt x="412" y="2407"/>
                    </a:lnTo>
                    <a:lnTo>
                      <a:pt x="406" y="2397"/>
                    </a:lnTo>
                    <a:lnTo>
                      <a:pt x="401" y="2385"/>
                    </a:lnTo>
                    <a:lnTo>
                      <a:pt x="399" y="2370"/>
                    </a:lnTo>
                    <a:lnTo>
                      <a:pt x="399" y="2356"/>
                    </a:lnTo>
                    <a:lnTo>
                      <a:pt x="399" y="2356"/>
                    </a:lnTo>
                    <a:lnTo>
                      <a:pt x="399" y="2340"/>
                    </a:lnTo>
                    <a:lnTo>
                      <a:pt x="401" y="2325"/>
                    </a:lnTo>
                    <a:lnTo>
                      <a:pt x="406" y="2314"/>
                    </a:lnTo>
                    <a:lnTo>
                      <a:pt x="412" y="2303"/>
                    </a:lnTo>
                    <a:lnTo>
                      <a:pt x="419" y="2295"/>
                    </a:lnTo>
                    <a:lnTo>
                      <a:pt x="427" y="2289"/>
                    </a:lnTo>
                    <a:lnTo>
                      <a:pt x="436" y="2285"/>
                    </a:lnTo>
                    <a:lnTo>
                      <a:pt x="447" y="2284"/>
                    </a:lnTo>
                    <a:lnTo>
                      <a:pt x="447" y="2284"/>
                    </a:lnTo>
                    <a:lnTo>
                      <a:pt x="458" y="2285"/>
                    </a:lnTo>
                    <a:lnTo>
                      <a:pt x="468" y="2289"/>
                    </a:lnTo>
                    <a:lnTo>
                      <a:pt x="476" y="2295"/>
                    </a:lnTo>
                    <a:lnTo>
                      <a:pt x="484" y="2303"/>
                    </a:lnTo>
                    <a:lnTo>
                      <a:pt x="490" y="2314"/>
                    </a:lnTo>
                    <a:lnTo>
                      <a:pt x="493" y="2325"/>
                    </a:lnTo>
                    <a:lnTo>
                      <a:pt x="496" y="2340"/>
                    </a:lnTo>
                    <a:lnTo>
                      <a:pt x="497" y="2356"/>
                    </a:lnTo>
                    <a:lnTo>
                      <a:pt x="497" y="2356"/>
                    </a:lnTo>
                    <a:lnTo>
                      <a:pt x="496" y="2370"/>
                    </a:lnTo>
                    <a:lnTo>
                      <a:pt x="493" y="2385"/>
                    </a:lnTo>
                    <a:lnTo>
                      <a:pt x="490" y="2397"/>
                    </a:lnTo>
                    <a:lnTo>
                      <a:pt x="484" y="2407"/>
                    </a:lnTo>
                    <a:lnTo>
                      <a:pt x="476" y="2415"/>
                    </a:lnTo>
                    <a:lnTo>
                      <a:pt x="468" y="2421"/>
                    </a:lnTo>
                    <a:lnTo>
                      <a:pt x="458" y="2425"/>
                    </a:lnTo>
                    <a:lnTo>
                      <a:pt x="447" y="2426"/>
                    </a:lnTo>
                    <a:lnTo>
                      <a:pt x="447" y="2426"/>
                    </a:lnTo>
                    <a:close/>
                    <a:moveTo>
                      <a:pt x="2498" y="2301"/>
                    </a:moveTo>
                    <a:lnTo>
                      <a:pt x="2498" y="2301"/>
                    </a:lnTo>
                    <a:lnTo>
                      <a:pt x="2489" y="2296"/>
                    </a:lnTo>
                    <a:lnTo>
                      <a:pt x="2479" y="2291"/>
                    </a:lnTo>
                    <a:lnTo>
                      <a:pt x="2468" y="2289"/>
                    </a:lnTo>
                    <a:lnTo>
                      <a:pt x="2458" y="2288"/>
                    </a:lnTo>
                    <a:lnTo>
                      <a:pt x="2458" y="2288"/>
                    </a:lnTo>
                    <a:lnTo>
                      <a:pt x="2447" y="2289"/>
                    </a:lnTo>
                    <a:lnTo>
                      <a:pt x="2439" y="2291"/>
                    </a:lnTo>
                    <a:lnTo>
                      <a:pt x="2432" y="2296"/>
                    </a:lnTo>
                    <a:lnTo>
                      <a:pt x="2425" y="2302"/>
                    </a:lnTo>
                    <a:lnTo>
                      <a:pt x="2421" y="2310"/>
                    </a:lnTo>
                    <a:lnTo>
                      <a:pt x="2417" y="2319"/>
                    </a:lnTo>
                    <a:lnTo>
                      <a:pt x="2415" y="2331"/>
                    </a:lnTo>
                    <a:lnTo>
                      <a:pt x="2415" y="2345"/>
                    </a:lnTo>
                    <a:lnTo>
                      <a:pt x="2415" y="2477"/>
                    </a:lnTo>
                    <a:lnTo>
                      <a:pt x="2354" y="2477"/>
                    </a:lnTo>
                    <a:lnTo>
                      <a:pt x="2354" y="2233"/>
                    </a:lnTo>
                    <a:lnTo>
                      <a:pt x="2415" y="2233"/>
                    </a:lnTo>
                    <a:lnTo>
                      <a:pt x="2415" y="2254"/>
                    </a:lnTo>
                    <a:lnTo>
                      <a:pt x="2415" y="2254"/>
                    </a:lnTo>
                    <a:lnTo>
                      <a:pt x="2419" y="2248"/>
                    </a:lnTo>
                    <a:lnTo>
                      <a:pt x="2425" y="2241"/>
                    </a:lnTo>
                    <a:lnTo>
                      <a:pt x="2432" y="2238"/>
                    </a:lnTo>
                    <a:lnTo>
                      <a:pt x="2439" y="2234"/>
                    </a:lnTo>
                    <a:lnTo>
                      <a:pt x="2446" y="2231"/>
                    </a:lnTo>
                    <a:lnTo>
                      <a:pt x="2453" y="2229"/>
                    </a:lnTo>
                    <a:lnTo>
                      <a:pt x="2461" y="2228"/>
                    </a:lnTo>
                    <a:lnTo>
                      <a:pt x="2468" y="2227"/>
                    </a:lnTo>
                    <a:lnTo>
                      <a:pt x="2468" y="2227"/>
                    </a:lnTo>
                    <a:lnTo>
                      <a:pt x="2480" y="2228"/>
                    </a:lnTo>
                    <a:lnTo>
                      <a:pt x="2492" y="2232"/>
                    </a:lnTo>
                    <a:lnTo>
                      <a:pt x="2504" y="2237"/>
                    </a:lnTo>
                    <a:lnTo>
                      <a:pt x="2514" y="2243"/>
                    </a:lnTo>
                    <a:lnTo>
                      <a:pt x="2498" y="2301"/>
                    </a:lnTo>
                    <a:close/>
                    <a:moveTo>
                      <a:pt x="2022" y="2233"/>
                    </a:moveTo>
                    <a:lnTo>
                      <a:pt x="2082" y="2233"/>
                    </a:lnTo>
                    <a:lnTo>
                      <a:pt x="2012" y="2477"/>
                    </a:lnTo>
                    <a:lnTo>
                      <a:pt x="1960" y="2477"/>
                    </a:lnTo>
                    <a:lnTo>
                      <a:pt x="1933" y="2376"/>
                    </a:lnTo>
                    <a:lnTo>
                      <a:pt x="1933" y="2376"/>
                    </a:lnTo>
                    <a:lnTo>
                      <a:pt x="1920" y="2323"/>
                    </a:lnTo>
                    <a:lnTo>
                      <a:pt x="1920" y="2323"/>
                    </a:lnTo>
                    <a:lnTo>
                      <a:pt x="1914" y="2348"/>
                    </a:lnTo>
                    <a:lnTo>
                      <a:pt x="1907" y="2378"/>
                    </a:lnTo>
                    <a:lnTo>
                      <a:pt x="1880" y="2477"/>
                    </a:lnTo>
                    <a:lnTo>
                      <a:pt x="1828" y="2477"/>
                    </a:lnTo>
                    <a:lnTo>
                      <a:pt x="1826" y="2476"/>
                    </a:lnTo>
                    <a:lnTo>
                      <a:pt x="1758" y="2233"/>
                    </a:lnTo>
                    <a:lnTo>
                      <a:pt x="1820" y="2233"/>
                    </a:lnTo>
                    <a:lnTo>
                      <a:pt x="1843" y="2324"/>
                    </a:lnTo>
                    <a:lnTo>
                      <a:pt x="1843" y="2324"/>
                    </a:lnTo>
                    <a:lnTo>
                      <a:pt x="1849" y="2353"/>
                    </a:lnTo>
                    <a:lnTo>
                      <a:pt x="1856" y="2384"/>
                    </a:lnTo>
                    <a:lnTo>
                      <a:pt x="1856" y="2384"/>
                    </a:lnTo>
                    <a:lnTo>
                      <a:pt x="1862" y="2353"/>
                    </a:lnTo>
                    <a:lnTo>
                      <a:pt x="1870" y="2323"/>
                    </a:lnTo>
                    <a:lnTo>
                      <a:pt x="1896" y="2233"/>
                    </a:lnTo>
                    <a:lnTo>
                      <a:pt x="1947" y="2233"/>
                    </a:lnTo>
                    <a:lnTo>
                      <a:pt x="1972" y="2323"/>
                    </a:lnTo>
                    <a:lnTo>
                      <a:pt x="1972" y="2323"/>
                    </a:lnTo>
                    <a:lnTo>
                      <a:pt x="1979" y="2352"/>
                    </a:lnTo>
                    <a:lnTo>
                      <a:pt x="1987" y="2385"/>
                    </a:lnTo>
                    <a:lnTo>
                      <a:pt x="1987" y="2385"/>
                    </a:lnTo>
                    <a:lnTo>
                      <a:pt x="1993" y="2357"/>
                    </a:lnTo>
                    <a:lnTo>
                      <a:pt x="2000" y="2323"/>
                    </a:lnTo>
                    <a:lnTo>
                      <a:pt x="2022" y="2233"/>
                    </a:lnTo>
                    <a:close/>
                    <a:moveTo>
                      <a:pt x="2204" y="2227"/>
                    </a:moveTo>
                    <a:lnTo>
                      <a:pt x="2204" y="2227"/>
                    </a:lnTo>
                    <a:lnTo>
                      <a:pt x="2193" y="2228"/>
                    </a:lnTo>
                    <a:lnTo>
                      <a:pt x="2181" y="2229"/>
                    </a:lnTo>
                    <a:lnTo>
                      <a:pt x="2170" y="2233"/>
                    </a:lnTo>
                    <a:lnTo>
                      <a:pt x="2161" y="2237"/>
                    </a:lnTo>
                    <a:lnTo>
                      <a:pt x="2151" y="2241"/>
                    </a:lnTo>
                    <a:lnTo>
                      <a:pt x="2141" y="2249"/>
                    </a:lnTo>
                    <a:lnTo>
                      <a:pt x="2133" y="2255"/>
                    </a:lnTo>
                    <a:lnTo>
                      <a:pt x="2125" y="2263"/>
                    </a:lnTo>
                    <a:lnTo>
                      <a:pt x="2118" y="2272"/>
                    </a:lnTo>
                    <a:lnTo>
                      <a:pt x="2112" y="2282"/>
                    </a:lnTo>
                    <a:lnTo>
                      <a:pt x="2106" y="2293"/>
                    </a:lnTo>
                    <a:lnTo>
                      <a:pt x="2102" y="2303"/>
                    </a:lnTo>
                    <a:lnTo>
                      <a:pt x="2099" y="2316"/>
                    </a:lnTo>
                    <a:lnTo>
                      <a:pt x="2095" y="2329"/>
                    </a:lnTo>
                    <a:lnTo>
                      <a:pt x="2094" y="2341"/>
                    </a:lnTo>
                    <a:lnTo>
                      <a:pt x="2094" y="2356"/>
                    </a:lnTo>
                    <a:lnTo>
                      <a:pt x="2094" y="2356"/>
                    </a:lnTo>
                    <a:lnTo>
                      <a:pt x="2094" y="2369"/>
                    </a:lnTo>
                    <a:lnTo>
                      <a:pt x="2095" y="2382"/>
                    </a:lnTo>
                    <a:lnTo>
                      <a:pt x="2099" y="2395"/>
                    </a:lnTo>
                    <a:lnTo>
                      <a:pt x="2102" y="2407"/>
                    </a:lnTo>
                    <a:lnTo>
                      <a:pt x="2106" y="2418"/>
                    </a:lnTo>
                    <a:lnTo>
                      <a:pt x="2112" y="2429"/>
                    </a:lnTo>
                    <a:lnTo>
                      <a:pt x="2118" y="2438"/>
                    </a:lnTo>
                    <a:lnTo>
                      <a:pt x="2125" y="2447"/>
                    </a:lnTo>
                    <a:lnTo>
                      <a:pt x="2133" y="2455"/>
                    </a:lnTo>
                    <a:lnTo>
                      <a:pt x="2141" y="2463"/>
                    </a:lnTo>
                    <a:lnTo>
                      <a:pt x="2151" y="2469"/>
                    </a:lnTo>
                    <a:lnTo>
                      <a:pt x="2161" y="2474"/>
                    </a:lnTo>
                    <a:lnTo>
                      <a:pt x="2170" y="2477"/>
                    </a:lnTo>
                    <a:lnTo>
                      <a:pt x="2181" y="2481"/>
                    </a:lnTo>
                    <a:lnTo>
                      <a:pt x="2193" y="2482"/>
                    </a:lnTo>
                    <a:lnTo>
                      <a:pt x="2204" y="2483"/>
                    </a:lnTo>
                    <a:lnTo>
                      <a:pt x="2204" y="2483"/>
                    </a:lnTo>
                    <a:lnTo>
                      <a:pt x="2216" y="2482"/>
                    </a:lnTo>
                    <a:lnTo>
                      <a:pt x="2229" y="2481"/>
                    </a:lnTo>
                    <a:lnTo>
                      <a:pt x="2240" y="2477"/>
                    </a:lnTo>
                    <a:lnTo>
                      <a:pt x="2249" y="2474"/>
                    </a:lnTo>
                    <a:lnTo>
                      <a:pt x="2259" y="2469"/>
                    </a:lnTo>
                    <a:lnTo>
                      <a:pt x="2269" y="2463"/>
                    </a:lnTo>
                    <a:lnTo>
                      <a:pt x="2277" y="2455"/>
                    </a:lnTo>
                    <a:lnTo>
                      <a:pt x="2284" y="2447"/>
                    </a:lnTo>
                    <a:lnTo>
                      <a:pt x="2292" y="2438"/>
                    </a:lnTo>
                    <a:lnTo>
                      <a:pt x="2298" y="2429"/>
                    </a:lnTo>
                    <a:lnTo>
                      <a:pt x="2303" y="2418"/>
                    </a:lnTo>
                    <a:lnTo>
                      <a:pt x="2308" y="2407"/>
                    </a:lnTo>
                    <a:lnTo>
                      <a:pt x="2311" y="2395"/>
                    </a:lnTo>
                    <a:lnTo>
                      <a:pt x="2314" y="2382"/>
                    </a:lnTo>
                    <a:lnTo>
                      <a:pt x="2316" y="2369"/>
                    </a:lnTo>
                    <a:lnTo>
                      <a:pt x="2316" y="2356"/>
                    </a:lnTo>
                    <a:lnTo>
                      <a:pt x="2316" y="2356"/>
                    </a:lnTo>
                    <a:lnTo>
                      <a:pt x="2316" y="2341"/>
                    </a:lnTo>
                    <a:lnTo>
                      <a:pt x="2314" y="2329"/>
                    </a:lnTo>
                    <a:lnTo>
                      <a:pt x="2311" y="2316"/>
                    </a:lnTo>
                    <a:lnTo>
                      <a:pt x="2308" y="2303"/>
                    </a:lnTo>
                    <a:lnTo>
                      <a:pt x="2303" y="2293"/>
                    </a:lnTo>
                    <a:lnTo>
                      <a:pt x="2298" y="2282"/>
                    </a:lnTo>
                    <a:lnTo>
                      <a:pt x="2292" y="2272"/>
                    </a:lnTo>
                    <a:lnTo>
                      <a:pt x="2284" y="2263"/>
                    </a:lnTo>
                    <a:lnTo>
                      <a:pt x="2277" y="2255"/>
                    </a:lnTo>
                    <a:lnTo>
                      <a:pt x="2269" y="2249"/>
                    </a:lnTo>
                    <a:lnTo>
                      <a:pt x="2259" y="2241"/>
                    </a:lnTo>
                    <a:lnTo>
                      <a:pt x="2249" y="2237"/>
                    </a:lnTo>
                    <a:lnTo>
                      <a:pt x="2240" y="2233"/>
                    </a:lnTo>
                    <a:lnTo>
                      <a:pt x="2229" y="2229"/>
                    </a:lnTo>
                    <a:lnTo>
                      <a:pt x="2216" y="2228"/>
                    </a:lnTo>
                    <a:lnTo>
                      <a:pt x="2204" y="2227"/>
                    </a:lnTo>
                    <a:lnTo>
                      <a:pt x="2204" y="2227"/>
                    </a:lnTo>
                    <a:close/>
                    <a:moveTo>
                      <a:pt x="2204" y="2426"/>
                    </a:moveTo>
                    <a:lnTo>
                      <a:pt x="2204" y="2426"/>
                    </a:lnTo>
                    <a:lnTo>
                      <a:pt x="2193" y="2425"/>
                    </a:lnTo>
                    <a:lnTo>
                      <a:pt x="2185" y="2421"/>
                    </a:lnTo>
                    <a:lnTo>
                      <a:pt x="2176" y="2415"/>
                    </a:lnTo>
                    <a:lnTo>
                      <a:pt x="2169" y="2407"/>
                    </a:lnTo>
                    <a:lnTo>
                      <a:pt x="2163" y="2397"/>
                    </a:lnTo>
                    <a:lnTo>
                      <a:pt x="2158" y="2385"/>
                    </a:lnTo>
                    <a:lnTo>
                      <a:pt x="2156" y="2370"/>
                    </a:lnTo>
                    <a:lnTo>
                      <a:pt x="2156" y="2356"/>
                    </a:lnTo>
                    <a:lnTo>
                      <a:pt x="2156" y="2356"/>
                    </a:lnTo>
                    <a:lnTo>
                      <a:pt x="2156" y="2340"/>
                    </a:lnTo>
                    <a:lnTo>
                      <a:pt x="2158" y="2327"/>
                    </a:lnTo>
                    <a:lnTo>
                      <a:pt x="2163" y="2314"/>
                    </a:lnTo>
                    <a:lnTo>
                      <a:pt x="2169" y="2303"/>
                    </a:lnTo>
                    <a:lnTo>
                      <a:pt x="2176" y="2295"/>
                    </a:lnTo>
                    <a:lnTo>
                      <a:pt x="2185" y="2289"/>
                    </a:lnTo>
                    <a:lnTo>
                      <a:pt x="2193" y="2285"/>
                    </a:lnTo>
                    <a:lnTo>
                      <a:pt x="2204" y="2284"/>
                    </a:lnTo>
                    <a:lnTo>
                      <a:pt x="2204" y="2284"/>
                    </a:lnTo>
                    <a:lnTo>
                      <a:pt x="2215" y="2285"/>
                    </a:lnTo>
                    <a:lnTo>
                      <a:pt x="2225" y="2289"/>
                    </a:lnTo>
                    <a:lnTo>
                      <a:pt x="2233" y="2295"/>
                    </a:lnTo>
                    <a:lnTo>
                      <a:pt x="2241" y="2303"/>
                    </a:lnTo>
                    <a:lnTo>
                      <a:pt x="2247" y="2314"/>
                    </a:lnTo>
                    <a:lnTo>
                      <a:pt x="2250" y="2327"/>
                    </a:lnTo>
                    <a:lnTo>
                      <a:pt x="2253" y="2340"/>
                    </a:lnTo>
                    <a:lnTo>
                      <a:pt x="2254" y="2356"/>
                    </a:lnTo>
                    <a:lnTo>
                      <a:pt x="2254" y="2356"/>
                    </a:lnTo>
                    <a:lnTo>
                      <a:pt x="2253" y="2370"/>
                    </a:lnTo>
                    <a:lnTo>
                      <a:pt x="2250" y="2385"/>
                    </a:lnTo>
                    <a:lnTo>
                      <a:pt x="2247" y="2397"/>
                    </a:lnTo>
                    <a:lnTo>
                      <a:pt x="2241" y="2407"/>
                    </a:lnTo>
                    <a:lnTo>
                      <a:pt x="2233" y="2415"/>
                    </a:lnTo>
                    <a:lnTo>
                      <a:pt x="2225" y="2421"/>
                    </a:lnTo>
                    <a:lnTo>
                      <a:pt x="2215" y="2425"/>
                    </a:lnTo>
                    <a:lnTo>
                      <a:pt x="2204" y="2426"/>
                    </a:lnTo>
                    <a:lnTo>
                      <a:pt x="2204" y="2426"/>
                    </a:lnTo>
                    <a:close/>
                    <a:moveTo>
                      <a:pt x="921" y="2313"/>
                    </a:moveTo>
                    <a:lnTo>
                      <a:pt x="995" y="2477"/>
                    </a:lnTo>
                    <a:lnTo>
                      <a:pt x="928" y="2477"/>
                    </a:lnTo>
                    <a:lnTo>
                      <a:pt x="877" y="2364"/>
                    </a:lnTo>
                    <a:lnTo>
                      <a:pt x="845" y="2404"/>
                    </a:lnTo>
                    <a:lnTo>
                      <a:pt x="845" y="2477"/>
                    </a:lnTo>
                    <a:lnTo>
                      <a:pt x="785" y="2477"/>
                    </a:lnTo>
                    <a:lnTo>
                      <a:pt x="785" y="2161"/>
                    </a:lnTo>
                    <a:lnTo>
                      <a:pt x="845" y="2131"/>
                    </a:lnTo>
                    <a:lnTo>
                      <a:pt x="845" y="2327"/>
                    </a:lnTo>
                    <a:lnTo>
                      <a:pt x="845" y="2327"/>
                    </a:lnTo>
                    <a:lnTo>
                      <a:pt x="868" y="2295"/>
                    </a:lnTo>
                    <a:lnTo>
                      <a:pt x="916" y="2233"/>
                    </a:lnTo>
                    <a:lnTo>
                      <a:pt x="987" y="2233"/>
                    </a:lnTo>
                    <a:lnTo>
                      <a:pt x="921" y="2313"/>
                    </a:lnTo>
                    <a:close/>
                    <a:moveTo>
                      <a:pt x="1208" y="2477"/>
                    </a:moveTo>
                    <a:lnTo>
                      <a:pt x="1147" y="2477"/>
                    </a:lnTo>
                    <a:lnTo>
                      <a:pt x="1147" y="2233"/>
                    </a:lnTo>
                    <a:lnTo>
                      <a:pt x="1208" y="2233"/>
                    </a:lnTo>
                    <a:lnTo>
                      <a:pt x="1208" y="2254"/>
                    </a:lnTo>
                    <a:lnTo>
                      <a:pt x="1208" y="2254"/>
                    </a:lnTo>
                    <a:lnTo>
                      <a:pt x="1214" y="2248"/>
                    </a:lnTo>
                    <a:lnTo>
                      <a:pt x="1220" y="2243"/>
                    </a:lnTo>
                    <a:lnTo>
                      <a:pt x="1227" y="2238"/>
                    </a:lnTo>
                    <a:lnTo>
                      <a:pt x="1235" y="2234"/>
                    </a:lnTo>
                    <a:lnTo>
                      <a:pt x="1243" y="2232"/>
                    </a:lnTo>
                    <a:lnTo>
                      <a:pt x="1252" y="2229"/>
                    </a:lnTo>
                    <a:lnTo>
                      <a:pt x="1260" y="2228"/>
                    </a:lnTo>
                    <a:lnTo>
                      <a:pt x="1270" y="2227"/>
                    </a:lnTo>
                    <a:lnTo>
                      <a:pt x="1270" y="2227"/>
                    </a:lnTo>
                    <a:lnTo>
                      <a:pt x="1281" y="2228"/>
                    </a:lnTo>
                    <a:lnTo>
                      <a:pt x="1290" y="2229"/>
                    </a:lnTo>
                    <a:lnTo>
                      <a:pt x="1299" y="2232"/>
                    </a:lnTo>
                    <a:lnTo>
                      <a:pt x="1309" y="2234"/>
                    </a:lnTo>
                    <a:lnTo>
                      <a:pt x="1316" y="2239"/>
                    </a:lnTo>
                    <a:lnTo>
                      <a:pt x="1323" y="2244"/>
                    </a:lnTo>
                    <a:lnTo>
                      <a:pt x="1331" y="2249"/>
                    </a:lnTo>
                    <a:lnTo>
                      <a:pt x="1337" y="2256"/>
                    </a:lnTo>
                    <a:lnTo>
                      <a:pt x="1342" y="2263"/>
                    </a:lnTo>
                    <a:lnTo>
                      <a:pt x="1346" y="2272"/>
                    </a:lnTo>
                    <a:lnTo>
                      <a:pt x="1350" y="2280"/>
                    </a:lnTo>
                    <a:lnTo>
                      <a:pt x="1354" y="2291"/>
                    </a:lnTo>
                    <a:lnTo>
                      <a:pt x="1356" y="2302"/>
                    </a:lnTo>
                    <a:lnTo>
                      <a:pt x="1357" y="2313"/>
                    </a:lnTo>
                    <a:lnTo>
                      <a:pt x="1359" y="2325"/>
                    </a:lnTo>
                    <a:lnTo>
                      <a:pt x="1360" y="2339"/>
                    </a:lnTo>
                    <a:lnTo>
                      <a:pt x="1360" y="2477"/>
                    </a:lnTo>
                    <a:lnTo>
                      <a:pt x="1299" y="2477"/>
                    </a:lnTo>
                    <a:lnTo>
                      <a:pt x="1299" y="2342"/>
                    </a:lnTo>
                    <a:lnTo>
                      <a:pt x="1299" y="2342"/>
                    </a:lnTo>
                    <a:lnTo>
                      <a:pt x="1298" y="2329"/>
                    </a:lnTo>
                    <a:lnTo>
                      <a:pt x="1297" y="2316"/>
                    </a:lnTo>
                    <a:lnTo>
                      <a:pt x="1293" y="2306"/>
                    </a:lnTo>
                    <a:lnTo>
                      <a:pt x="1288" y="2297"/>
                    </a:lnTo>
                    <a:lnTo>
                      <a:pt x="1282" y="2291"/>
                    </a:lnTo>
                    <a:lnTo>
                      <a:pt x="1275" y="2286"/>
                    </a:lnTo>
                    <a:lnTo>
                      <a:pt x="1265" y="2284"/>
                    </a:lnTo>
                    <a:lnTo>
                      <a:pt x="1254" y="2283"/>
                    </a:lnTo>
                    <a:lnTo>
                      <a:pt x="1254" y="2283"/>
                    </a:lnTo>
                    <a:lnTo>
                      <a:pt x="1244" y="2284"/>
                    </a:lnTo>
                    <a:lnTo>
                      <a:pt x="1235" y="2286"/>
                    </a:lnTo>
                    <a:lnTo>
                      <a:pt x="1226" y="2291"/>
                    </a:lnTo>
                    <a:lnTo>
                      <a:pt x="1220" y="2299"/>
                    </a:lnTo>
                    <a:lnTo>
                      <a:pt x="1215" y="2306"/>
                    </a:lnTo>
                    <a:lnTo>
                      <a:pt x="1212" y="2317"/>
                    </a:lnTo>
                    <a:lnTo>
                      <a:pt x="1209" y="2329"/>
                    </a:lnTo>
                    <a:lnTo>
                      <a:pt x="1208" y="2342"/>
                    </a:lnTo>
                    <a:lnTo>
                      <a:pt x="1208" y="2477"/>
                    </a:lnTo>
                    <a:close/>
                    <a:moveTo>
                      <a:pt x="1551" y="2250"/>
                    </a:moveTo>
                    <a:lnTo>
                      <a:pt x="1551" y="2250"/>
                    </a:lnTo>
                    <a:lnTo>
                      <a:pt x="1544" y="2245"/>
                    </a:lnTo>
                    <a:lnTo>
                      <a:pt x="1538" y="2240"/>
                    </a:lnTo>
                    <a:lnTo>
                      <a:pt x="1532" y="2237"/>
                    </a:lnTo>
                    <a:lnTo>
                      <a:pt x="1525" y="2233"/>
                    </a:lnTo>
                    <a:lnTo>
                      <a:pt x="1518" y="2231"/>
                    </a:lnTo>
                    <a:lnTo>
                      <a:pt x="1510" y="2229"/>
                    </a:lnTo>
                    <a:lnTo>
                      <a:pt x="1503" y="2228"/>
                    </a:lnTo>
                    <a:lnTo>
                      <a:pt x="1496" y="2227"/>
                    </a:lnTo>
                    <a:lnTo>
                      <a:pt x="1496" y="2227"/>
                    </a:lnTo>
                    <a:lnTo>
                      <a:pt x="1485" y="2228"/>
                    </a:lnTo>
                    <a:lnTo>
                      <a:pt x="1475" y="2229"/>
                    </a:lnTo>
                    <a:lnTo>
                      <a:pt x="1465" y="2232"/>
                    </a:lnTo>
                    <a:lnTo>
                      <a:pt x="1456" y="2237"/>
                    </a:lnTo>
                    <a:lnTo>
                      <a:pt x="1447" y="2240"/>
                    </a:lnTo>
                    <a:lnTo>
                      <a:pt x="1440" y="2246"/>
                    </a:lnTo>
                    <a:lnTo>
                      <a:pt x="1433" y="2254"/>
                    </a:lnTo>
                    <a:lnTo>
                      <a:pt x="1425" y="2261"/>
                    </a:lnTo>
                    <a:lnTo>
                      <a:pt x="1419" y="2269"/>
                    </a:lnTo>
                    <a:lnTo>
                      <a:pt x="1414" y="2279"/>
                    </a:lnTo>
                    <a:lnTo>
                      <a:pt x="1410" y="2289"/>
                    </a:lnTo>
                    <a:lnTo>
                      <a:pt x="1406" y="2301"/>
                    </a:lnTo>
                    <a:lnTo>
                      <a:pt x="1404" y="2312"/>
                    </a:lnTo>
                    <a:lnTo>
                      <a:pt x="1401" y="2325"/>
                    </a:lnTo>
                    <a:lnTo>
                      <a:pt x="1400" y="2339"/>
                    </a:lnTo>
                    <a:lnTo>
                      <a:pt x="1400" y="2352"/>
                    </a:lnTo>
                    <a:lnTo>
                      <a:pt x="1400" y="2352"/>
                    </a:lnTo>
                    <a:lnTo>
                      <a:pt x="1400" y="2368"/>
                    </a:lnTo>
                    <a:lnTo>
                      <a:pt x="1401" y="2381"/>
                    </a:lnTo>
                    <a:lnTo>
                      <a:pt x="1404" y="2395"/>
                    </a:lnTo>
                    <a:lnTo>
                      <a:pt x="1406" y="2408"/>
                    </a:lnTo>
                    <a:lnTo>
                      <a:pt x="1410" y="2419"/>
                    </a:lnTo>
                    <a:lnTo>
                      <a:pt x="1414" y="2430"/>
                    </a:lnTo>
                    <a:lnTo>
                      <a:pt x="1419" y="2440"/>
                    </a:lnTo>
                    <a:lnTo>
                      <a:pt x="1425" y="2448"/>
                    </a:lnTo>
                    <a:lnTo>
                      <a:pt x="1431" y="2457"/>
                    </a:lnTo>
                    <a:lnTo>
                      <a:pt x="1439" y="2463"/>
                    </a:lnTo>
                    <a:lnTo>
                      <a:pt x="1446" y="2469"/>
                    </a:lnTo>
                    <a:lnTo>
                      <a:pt x="1455" y="2474"/>
                    </a:lnTo>
                    <a:lnTo>
                      <a:pt x="1464" y="2477"/>
                    </a:lnTo>
                    <a:lnTo>
                      <a:pt x="1474" y="2481"/>
                    </a:lnTo>
                    <a:lnTo>
                      <a:pt x="1484" y="2482"/>
                    </a:lnTo>
                    <a:lnTo>
                      <a:pt x="1495" y="2483"/>
                    </a:lnTo>
                    <a:lnTo>
                      <a:pt x="1495" y="2483"/>
                    </a:lnTo>
                    <a:lnTo>
                      <a:pt x="1502" y="2482"/>
                    </a:lnTo>
                    <a:lnTo>
                      <a:pt x="1510" y="2481"/>
                    </a:lnTo>
                    <a:lnTo>
                      <a:pt x="1518" y="2480"/>
                    </a:lnTo>
                    <a:lnTo>
                      <a:pt x="1525" y="2477"/>
                    </a:lnTo>
                    <a:lnTo>
                      <a:pt x="1531" y="2474"/>
                    </a:lnTo>
                    <a:lnTo>
                      <a:pt x="1538" y="2470"/>
                    </a:lnTo>
                    <a:lnTo>
                      <a:pt x="1544" y="2465"/>
                    </a:lnTo>
                    <a:lnTo>
                      <a:pt x="1551" y="2459"/>
                    </a:lnTo>
                    <a:lnTo>
                      <a:pt x="1551" y="2465"/>
                    </a:lnTo>
                    <a:lnTo>
                      <a:pt x="1551" y="2465"/>
                    </a:lnTo>
                    <a:lnTo>
                      <a:pt x="1551" y="2475"/>
                    </a:lnTo>
                    <a:lnTo>
                      <a:pt x="1549" y="2486"/>
                    </a:lnTo>
                    <a:lnTo>
                      <a:pt x="1546" y="2497"/>
                    </a:lnTo>
                    <a:lnTo>
                      <a:pt x="1543" y="2502"/>
                    </a:lnTo>
                    <a:lnTo>
                      <a:pt x="1541" y="2506"/>
                    </a:lnTo>
                    <a:lnTo>
                      <a:pt x="1536" y="2511"/>
                    </a:lnTo>
                    <a:lnTo>
                      <a:pt x="1531" y="2516"/>
                    </a:lnTo>
                    <a:lnTo>
                      <a:pt x="1525" y="2520"/>
                    </a:lnTo>
                    <a:lnTo>
                      <a:pt x="1518" y="2524"/>
                    </a:lnTo>
                    <a:lnTo>
                      <a:pt x="1508" y="2526"/>
                    </a:lnTo>
                    <a:lnTo>
                      <a:pt x="1498" y="2528"/>
                    </a:lnTo>
                    <a:lnTo>
                      <a:pt x="1486" y="2530"/>
                    </a:lnTo>
                    <a:lnTo>
                      <a:pt x="1472" y="2530"/>
                    </a:lnTo>
                    <a:lnTo>
                      <a:pt x="1469" y="2530"/>
                    </a:lnTo>
                    <a:lnTo>
                      <a:pt x="1491" y="2577"/>
                    </a:lnTo>
                    <a:lnTo>
                      <a:pt x="1492" y="2577"/>
                    </a:lnTo>
                    <a:lnTo>
                      <a:pt x="1492" y="2577"/>
                    </a:lnTo>
                    <a:lnTo>
                      <a:pt x="1507" y="2577"/>
                    </a:lnTo>
                    <a:lnTo>
                      <a:pt x="1520" y="2576"/>
                    </a:lnTo>
                    <a:lnTo>
                      <a:pt x="1532" y="2572"/>
                    </a:lnTo>
                    <a:lnTo>
                      <a:pt x="1544" y="2570"/>
                    </a:lnTo>
                    <a:lnTo>
                      <a:pt x="1555" y="2565"/>
                    </a:lnTo>
                    <a:lnTo>
                      <a:pt x="1565" y="2560"/>
                    </a:lnTo>
                    <a:lnTo>
                      <a:pt x="1574" y="2554"/>
                    </a:lnTo>
                    <a:lnTo>
                      <a:pt x="1581" y="2547"/>
                    </a:lnTo>
                    <a:lnTo>
                      <a:pt x="1588" y="2538"/>
                    </a:lnTo>
                    <a:lnTo>
                      <a:pt x="1594" y="2530"/>
                    </a:lnTo>
                    <a:lnTo>
                      <a:pt x="1599" y="2519"/>
                    </a:lnTo>
                    <a:lnTo>
                      <a:pt x="1603" y="2508"/>
                    </a:lnTo>
                    <a:lnTo>
                      <a:pt x="1606" y="2497"/>
                    </a:lnTo>
                    <a:lnTo>
                      <a:pt x="1609" y="2483"/>
                    </a:lnTo>
                    <a:lnTo>
                      <a:pt x="1610" y="2470"/>
                    </a:lnTo>
                    <a:lnTo>
                      <a:pt x="1610" y="2455"/>
                    </a:lnTo>
                    <a:lnTo>
                      <a:pt x="1610" y="2233"/>
                    </a:lnTo>
                    <a:lnTo>
                      <a:pt x="1551" y="2233"/>
                    </a:lnTo>
                    <a:lnTo>
                      <a:pt x="1551" y="2250"/>
                    </a:lnTo>
                    <a:close/>
                    <a:moveTo>
                      <a:pt x="1551" y="2307"/>
                    </a:moveTo>
                    <a:lnTo>
                      <a:pt x="1551" y="2403"/>
                    </a:lnTo>
                    <a:lnTo>
                      <a:pt x="1551" y="2403"/>
                    </a:lnTo>
                    <a:lnTo>
                      <a:pt x="1542" y="2412"/>
                    </a:lnTo>
                    <a:lnTo>
                      <a:pt x="1534" y="2420"/>
                    </a:lnTo>
                    <a:lnTo>
                      <a:pt x="1527" y="2423"/>
                    </a:lnTo>
                    <a:lnTo>
                      <a:pt x="1521" y="2425"/>
                    </a:lnTo>
                    <a:lnTo>
                      <a:pt x="1515" y="2426"/>
                    </a:lnTo>
                    <a:lnTo>
                      <a:pt x="1507" y="2427"/>
                    </a:lnTo>
                    <a:lnTo>
                      <a:pt x="1507" y="2427"/>
                    </a:lnTo>
                    <a:lnTo>
                      <a:pt x="1499" y="2426"/>
                    </a:lnTo>
                    <a:lnTo>
                      <a:pt x="1491" y="2424"/>
                    </a:lnTo>
                    <a:lnTo>
                      <a:pt x="1484" y="2420"/>
                    </a:lnTo>
                    <a:lnTo>
                      <a:pt x="1476" y="2413"/>
                    </a:lnTo>
                    <a:lnTo>
                      <a:pt x="1470" y="2403"/>
                    </a:lnTo>
                    <a:lnTo>
                      <a:pt x="1465" y="2390"/>
                    </a:lnTo>
                    <a:lnTo>
                      <a:pt x="1463" y="2373"/>
                    </a:lnTo>
                    <a:lnTo>
                      <a:pt x="1462" y="2351"/>
                    </a:lnTo>
                    <a:lnTo>
                      <a:pt x="1462" y="2351"/>
                    </a:lnTo>
                    <a:lnTo>
                      <a:pt x="1463" y="2333"/>
                    </a:lnTo>
                    <a:lnTo>
                      <a:pt x="1465" y="2317"/>
                    </a:lnTo>
                    <a:lnTo>
                      <a:pt x="1470" y="2305"/>
                    </a:lnTo>
                    <a:lnTo>
                      <a:pt x="1476" y="2296"/>
                    </a:lnTo>
                    <a:lnTo>
                      <a:pt x="1484" y="2290"/>
                    </a:lnTo>
                    <a:lnTo>
                      <a:pt x="1491" y="2285"/>
                    </a:lnTo>
                    <a:lnTo>
                      <a:pt x="1499" y="2284"/>
                    </a:lnTo>
                    <a:lnTo>
                      <a:pt x="1507" y="2283"/>
                    </a:lnTo>
                    <a:lnTo>
                      <a:pt x="1507" y="2283"/>
                    </a:lnTo>
                    <a:lnTo>
                      <a:pt x="1515" y="2284"/>
                    </a:lnTo>
                    <a:lnTo>
                      <a:pt x="1523" y="2285"/>
                    </a:lnTo>
                    <a:lnTo>
                      <a:pt x="1529" y="2288"/>
                    </a:lnTo>
                    <a:lnTo>
                      <a:pt x="1535" y="2291"/>
                    </a:lnTo>
                    <a:lnTo>
                      <a:pt x="1540" y="2295"/>
                    </a:lnTo>
                    <a:lnTo>
                      <a:pt x="1543" y="2299"/>
                    </a:lnTo>
                    <a:lnTo>
                      <a:pt x="1551" y="2307"/>
                    </a:lnTo>
                    <a:lnTo>
                      <a:pt x="1551" y="2307"/>
                    </a:lnTo>
                    <a:close/>
                    <a:moveTo>
                      <a:pt x="1033" y="2233"/>
                    </a:moveTo>
                    <a:lnTo>
                      <a:pt x="1094" y="2233"/>
                    </a:lnTo>
                    <a:lnTo>
                      <a:pt x="1094" y="2341"/>
                    </a:lnTo>
                    <a:lnTo>
                      <a:pt x="1094" y="2477"/>
                    </a:lnTo>
                    <a:lnTo>
                      <a:pt x="1033" y="2477"/>
                    </a:lnTo>
                    <a:lnTo>
                      <a:pt x="1033" y="2233"/>
                    </a:lnTo>
                    <a:close/>
                    <a:moveTo>
                      <a:pt x="1094" y="2167"/>
                    </a:moveTo>
                    <a:lnTo>
                      <a:pt x="1094" y="2198"/>
                    </a:lnTo>
                    <a:lnTo>
                      <a:pt x="1033" y="2198"/>
                    </a:lnTo>
                    <a:lnTo>
                      <a:pt x="1033" y="2137"/>
                    </a:lnTo>
                    <a:lnTo>
                      <a:pt x="1094" y="2137"/>
                    </a:lnTo>
                    <a:lnTo>
                      <a:pt x="1094" y="2167"/>
                    </a:lnTo>
                    <a:close/>
                    <a:moveTo>
                      <a:pt x="2542" y="2161"/>
                    </a:moveTo>
                    <a:lnTo>
                      <a:pt x="2603" y="2131"/>
                    </a:lnTo>
                    <a:lnTo>
                      <a:pt x="2603" y="2352"/>
                    </a:lnTo>
                    <a:lnTo>
                      <a:pt x="2603" y="2477"/>
                    </a:lnTo>
                    <a:lnTo>
                      <a:pt x="2542" y="2477"/>
                    </a:lnTo>
                    <a:lnTo>
                      <a:pt x="2542" y="2161"/>
                    </a:lnTo>
                    <a:close/>
                    <a:moveTo>
                      <a:pt x="437" y="834"/>
                    </a:moveTo>
                    <a:lnTo>
                      <a:pt x="936" y="834"/>
                    </a:lnTo>
                    <a:lnTo>
                      <a:pt x="936" y="544"/>
                    </a:lnTo>
                    <a:lnTo>
                      <a:pt x="437" y="544"/>
                    </a:lnTo>
                    <a:lnTo>
                      <a:pt x="437" y="317"/>
                    </a:lnTo>
                    <a:lnTo>
                      <a:pt x="989" y="317"/>
                    </a:lnTo>
                    <a:lnTo>
                      <a:pt x="806" y="0"/>
                    </a:lnTo>
                    <a:lnTo>
                      <a:pt x="24" y="0"/>
                    </a:lnTo>
                    <a:lnTo>
                      <a:pt x="24" y="1378"/>
                    </a:lnTo>
                    <a:lnTo>
                      <a:pt x="1126" y="1378"/>
                    </a:lnTo>
                    <a:lnTo>
                      <a:pt x="1126" y="1061"/>
                    </a:lnTo>
                    <a:lnTo>
                      <a:pt x="437" y="1061"/>
                    </a:lnTo>
                    <a:lnTo>
                      <a:pt x="437" y="834"/>
                    </a:lnTo>
                    <a:close/>
                    <a:moveTo>
                      <a:pt x="1860" y="0"/>
                    </a:moveTo>
                    <a:lnTo>
                      <a:pt x="1626" y="450"/>
                    </a:lnTo>
                    <a:lnTo>
                      <a:pt x="1393" y="0"/>
                    </a:lnTo>
                    <a:lnTo>
                      <a:pt x="936" y="0"/>
                    </a:lnTo>
                    <a:lnTo>
                      <a:pt x="1417" y="834"/>
                    </a:lnTo>
                    <a:lnTo>
                      <a:pt x="1417" y="1378"/>
                    </a:lnTo>
                    <a:lnTo>
                      <a:pt x="1829" y="1378"/>
                    </a:lnTo>
                    <a:lnTo>
                      <a:pt x="1829" y="834"/>
                    </a:lnTo>
                    <a:lnTo>
                      <a:pt x="2311" y="0"/>
                    </a:lnTo>
                    <a:lnTo>
                      <a:pt x="18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</p:grpSp>
        <p:sp>
          <p:nvSpPr>
            <p:cNvPr id="40" name="Content Placeholder 5">
              <a:extLst>
                <a:ext uri="{FF2B5EF4-FFF2-40B4-BE49-F238E27FC236}">
                  <a16:creationId xmlns:a16="http://schemas.microsoft.com/office/drawing/2014/main" id="{1D37A57A-6F1A-4A2D-959E-313917FBA48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28588" y="-12187"/>
              <a:ext cx="799089" cy="310587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Context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&amp; Scope</a:t>
              </a:r>
            </a:p>
          </p:txBody>
        </p:sp>
        <p:sp>
          <p:nvSpPr>
            <p:cNvPr id="41" name="Content Placeholder 5">
              <a:extLst>
                <a:ext uri="{FF2B5EF4-FFF2-40B4-BE49-F238E27FC236}">
                  <a16:creationId xmlns:a16="http://schemas.microsoft.com/office/drawing/2014/main" id="{B64823A7-0175-4EB7-893B-97517DC75B0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653573" y="1246"/>
              <a:ext cx="1008804" cy="283721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en-US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Proposed Timeline</a:t>
              </a:r>
            </a:p>
          </p:txBody>
        </p:sp>
        <p:sp>
          <p:nvSpPr>
            <p:cNvPr id="42" name="Content Placeholder 5">
              <a:extLst>
                <a:ext uri="{FF2B5EF4-FFF2-40B4-BE49-F238E27FC236}">
                  <a16:creationId xmlns:a16="http://schemas.microsoft.com/office/drawing/2014/main" id="{383E48A0-0174-40C7-9B78-88120E8955F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77810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Detailed Scope &amp; Assumptions</a:t>
              </a:r>
            </a:p>
          </p:txBody>
        </p:sp>
        <p:sp>
          <p:nvSpPr>
            <p:cNvPr id="43" name="Content Placeholder 5">
              <a:extLst>
                <a:ext uri="{FF2B5EF4-FFF2-40B4-BE49-F238E27FC236}">
                  <a16:creationId xmlns:a16="http://schemas.microsoft.com/office/drawing/2014/main" id="{3AD8BC77-AB6E-4797-8E16-DA870282ECC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97101" y="47457"/>
              <a:ext cx="1279397" cy="191298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Solution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roach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4" name="Content Placeholder 5">
              <a:extLst>
                <a:ext uri="{FF2B5EF4-FFF2-40B4-BE49-F238E27FC236}">
                  <a16:creationId xmlns:a16="http://schemas.microsoft.com/office/drawing/2014/main" id="{1DFE6765-3952-4C91-8303-84F0FDFF658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45922" y="75112"/>
              <a:ext cx="1138227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ject Team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Governance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5" name="Content Placeholder 5">
              <a:extLst>
                <a:ext uri="{FF2B5EF4-FFF2-40B4-BE49-F238E27FC236}">
                  <a16:creationId xmlns:a16="http://schemas.microsoft.com/office/drawing/2014/main" id="{FB56F9B7-6A47-4D0E-8418-0C2B255CB88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31801" y="75112"/>
              <a:ext cx="1097554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Value Proposition</a:t>
              </a:r>
            </a:p>
          </p:txBody>
        </p:sp>
        <p:sp>
          <p:nvSpPr>
            <p:cNvPr id="46" name="Content Placeholder 5">
              <a:extLst>
                <a:ext uri="{FF2B5EF4-FFF2-40B4-BE49-F238E27FC236}">
                  <a16:creationId xmlns:a16="http://schemas.microsoft.com/office/drawing/2014/main" id="{B8B9A545-2B05-4338-941A-B8F3AAE6790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734717" y="79567"/>
              <a:ext cx="773670" cy="12707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Teams Profiles</a:t>
              </a:r>
            </a:p>
          </p:txBody>
        </p:sp>
        <p:sp>
          <p:nvSpPr>
            <p:cNvPr id="47" name="Content Placeholder 5">
              <a:extLst>
                <a:ext uri="{FF2B5EF4-FFF2-40B4-BE49-F238E27FC236}">
                  <a16:creationId xmlns:a16="http://schemas.microsoft.com/office/drawing/2014/main" id="{E81C73B6-5143-43D5-A9B1-A383711FFBB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98779" y="54928"/>
              <a:ext cx="866515" cy="1763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Credentials</a:t>
              </a:r>
            </a:p>
          </p:txBody>
        </p:sp>
        <p:sp>
          <p:nvSpPr>
            <p:cNvPr id="48" name="Content Placeholder 5">
              <a:extLst>
                <a:ext uri="{FF2B5EF4-FFF2-40B4-BE49-F238E27FC236}">
                  <a16:creationId xmlns:a16="http://schemas.microsoft.com/office/drawing/2014/main" id="{962369B7-A405-43D7-9C64-79B15894E5E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229765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end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444668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563363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593103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04072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34304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39245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674358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3833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36296" y="67964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650316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5650223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66461629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6049326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104670"/>
              </p:ext>
            </p:extLst>
          </p:nvPr>
        </p:nvGraphicFramePr>
        <p:xfrm>
          <a:off x="2121" y="1594"/>
          <a:ext cx="211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CB083FE1-E99D-44D7-999D-47CFE928C923}"/>
              </a:ext>
            </a:extLst>
          </p:cNvPr>
          <p:cNvSpPr/>
          <p:nvPr userDrawn="1"/>
        </p:nvSpPr>
        <p:spPr>
          <a:xfrm>
            <a:off x="-792287" y="600412"/>
            <a:ext cx="1181100" cy="0"/>
          </a:xfrm>
          <a:custGeom>
            <a:avLst/>
            <a:gdLst>
              <a:gd name="connsiteX0" fmla="*/ 0 w 1181100"/>
              <a:gd name="connsiteY0" fmla="*/ 0 h 0"/>
              <a:gd name="connsiteX1" fmla="*/ 1181100 w 1181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81100">
                <a:moveTo>
                  <a:pt x="0" y="0"/>
                </a:moveTo>
                <a:lnTo>
                  <a:pt x="1181100" y="0"/>
                </a:lnTo>
              </a:path>
            </a:pathLst>
          </a:cu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ED65D4E-691A-4FBD-BE99-95B5192433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478450"/>
            <a:ext cx="11175818" cy="476462"/>
          </a:xfrm>
        </p:spPr>
        <p:txBody>
          <a:bodyPr numCol="1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lang="en-US" sz="1600" b="0" kern="1200" cap="none" baseline="0" noProof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marL="169790" indent="0">
              <a:buNone/>
              <a:defRPr/>
            </a:lvl2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0" name="Rectangle 36">
            <a:extLst>
              <a:ext uri="{FF2B5EF4-FFF2-40B4-BE49-F238E27FC236}">
                <a16:creationId xmlns:a16="http://schemas.microsoft.com/office/drawing/2014/main" id="{B7B7CC29-EB94-49A6-83FA-332151D992B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99441" y="6544316"/>
            <a:ext cx="284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EY Consulting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72798A5-122A-4C96-890A-8ECCD996B408}"/>
              </a:ext>
            </a:extLst>
          </p:cNvPr>
          <p:cNvGrpSpPr/>
          <p:nvPr userDrawn="1"/>
        </p:nvGrpSpPr>
        <p:grpSpPr>
          <a:xfrm>
            <a:off x="0" y="-2662"/>
            <a:ext cx="12212298" cy="362728"/>
            <a:chOff x="0" y="-12187"/>
            <a:chExt cx="12212298" cy="362728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36BF9AD1-15E8-429D-BAE9-35D099487AC0}"/>
                </a:ext>
              </a:extLst>
            </p:cNvPr>
            <p:cNvGrpSpPr/>
            <p:nvPr userDrawn="1"/>
          </p:nvGrpSpPr>
          <p:grpSpPr>
            <a:xfrm>
              <a:off x="0" y="1"/>
              <a:ext cx="12192000" cy="350540"/>
              <a:chOff x="0" y="1"/>
              <a:chExt cx="12192000" cy="350540"/>
            </a:xfrm>
          </p:grpSpPr>
          <p:sp>
            <p:nvSpPr>
              <p:cNvPr id="51" name="AutoShape 4">
                <a:extLst>
                  <a:ext uri="{FF2B5EF4-FFF2-40B4-BE49-F238E27FC236}">
                    <a16:creationId xmlns:a16="http://schemas.microsoft.com/office/drawing/2014/main" id="{93244996-A6FA-4C3B-8C20-C7F0B211AFB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4680" y="68072"/>
                <a:ext cx="167539" cy="200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26D60CB1-D087-4C78-B6B3-1D5825779A89}"/>
                  </a:ext>
                </a:extLst>
              </p:cNvPr>
              <p:cNvGrpSpPr/>
              <p:nvPr userDrawn="1"/>
            </p:nvGrpSpPr>
            <p:grpSpPr>
              <a:xfrm>
                <a:off x="0" y="1"/>
                <a:ext cx="12192000" cy="350540"/>
                <a:chOff x="0" y="1"/>
                <a:chExt cx="12192000" cy="350540"/>
              </a:xfrm>
            </p:grpSpPr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034F2669-4D3B-4EDE-B2DB-7FF11D006AB1}"/>
                    </a:ext>
                  </a:extLst>
                </p:cNvPr>
                <p:cNvSpPr/>
                <p:nvPr userDrawn="1"/>
              </p:nvSpPr>
              <p:spPr>
                <a:xfrm>
                  <a:off x="0" y="1"/>
                  <a:ext cx="12192000" cy="350540"/>
                </a:xfrm>
                <a:prstGeom prst="rect">
                  <a:avLst/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A4402731-EF50-41E6-B216-B8B45A4690F8}"/>
                    </a:ext>
                  </a:extLst>
                </p:cNvPr>
                <p:cNvGrpSpPr/>
                <p:nvPr userDrawn="1"/>
              </p:nvGrpSpPr>
              <p:grpSpPr>
                <a:xfrm>
                  <a:off x="81557" y="51130"/>
                  <a:ext cx="11861822" cy="211888"/>
                  <a:chOff x="81557" y="51130"/>
                  <a:chExt cx="11861822" cy="211888"/>
                </a:xfrm>
              </p:grpSpPr>
              <p:grpSp>
                <p:nvGrpSpPr>
                  <p:cNvPr id="56" name="Group 55">
                    <a:extLst>
                      <a:ext uri="{FF2B5EF4-FFF2-40B4-BE49-F238E27FC236}">
                        <a16:creationId xmlns:a16="http://schemas.microsoft.com/office/drawing/2014/main" id="{0DA1C52B-E78A-429E-BBDE-6DEC9E8CFDF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81557" y="62687"/>
                    <a:ext cx="167539" cy="200331"/>
                    <a:chOff x="784680" y="68072"/>
                    <a:chExt cx="167539" cy="200331"/>
                  </a:xfrm>
                </p:grpSpPr>
                <p:sp>
                  <p:nvSpPr>
                    <p:cNvPr id="65" name="Freeform 6">
                      <a:extLst>
                        <a:ext uri="{FF2B5EF4-FFF2-40B4-BE49-F238E27FC236}">
                          <a16:creationId xmlns:a16="http://schemas.microsoft.com/office/drawing/2014/main" id="{BCD78DB9-44DD-45BE-BF56-B3813D6FD1E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84680" y="68072"/>
                      <a:ext cx="134278" cy="50020"/>
                    </a:xfrm>
                    <a:custGeom>
                      <a:avLst/>
                      <a:gdLst>
                        <a:gd name="T0" fmla="*/ 2723 w 2723"/>
                        <a:gd name="T1" fmla="*/ 0 h 994"/>
                        <a:gd name="T2" fmla="*/ 0 w 2723"/>
                        <a:gd name="T3" fmla="*/ 994 h 994"/>
                        <a:gd name="T4" fmla="*/ 2723 w 2723"/>
                        <a:gd name="T5" fmla="*/ 513 h 994"/>
                        <a:gd name="T6" fmla="*/ 2723 w 2723"/>
                        <a:gd name="T7" fmla="*/ 0 h 9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723" h="994">
                          <a:moveTo>
                            <a:pt x="2723" y="0"/>
                          </a:moveTo>
                          <a:lnTo>
                            <a:pt x="0" y="994"/>
                          </a:lnTo>
                          <a:lnTo>
                            <a:pt x="2723" y="513"/>
                          </a:lnTo>
                          <a:lnTo>
                            <a:pt x="2723" y="0"/>
                          </a:lnTo>
                          <a:close/>
                        </a:path>
                      </a:pathLst>
                    </a:custGeom>
                    <a:solidFill>
                      <a:srgbClr val="F7DF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  <p:sp>
                  <p:nvSpPr>
                    <p:cNvPr id="66" name="Freeform 7">
                      <a:extLst>
                        <a:ext uri="{FF2B5EF4-FFF2-40B4-BE49-F238E27FC236}">
                          <a16:creationId xmlns:a16="http://schemas.microsoft.com/office/drawing/2014/main" id="{0CC7E7EF-A527-435A-9C14-592C50ED6B00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84680" y="138954"/>
                      <a:ext cx="167539" cy="129449"/>
                    </a:xfrm>
                    <a:custGeom>
                      <a:avLst/>
                      <a:gdLst>
                        <a:gd name="T0" fmla="*/ 256 w 3400"/>
                        <a:gd name="T1" fmla="*/ 1749 h 2577"/>
                        <a:gd name="T2" fmla="*/ 278 w 3400"/>
                        <a:gd name="T3" fmla="*/ 1978 h 2577"/>
                        <a:gd name="T4" fmla="*/ 166 w 3400"/>
                        <a:gd name="T5" fmla="*/ 1993 h 2577"/>
                        <a:gd name="T6" fmla="*/ 386 w 3400"/>
                        <a:gd name="T7" fmla="*/ 1940 h 2577"/>
                        <a:gd name="T8" fmla="*/ 458 w 3400"/>
                        <a:gd name="T9" fmla="*/ 2046 h 2577"/>
                        <a:gd name="T10" fmla="*/ 1255 w 3400"/>
                        <a:gd name="T11" fmla="*/ 1820 h 2577"/>
                        <a:gd name="T12" fmla="*/ 1339 w 3400"/>
                        <a:gd name="T13" fmla="*/ 1914 h 2577"/>
                        <a:gd name="T14" fmla="*/ 767 w 3400"/>
                        <a:gd name="T15" fmla="*/ 1703 h 2577"/>
                        <a:gd name="T16" fmla="*/ 813 w 3400"/>
                        <a:gd name="T17" fmla="*/ 1884 h 2577"/>
                        <a:gd name="T18" fmla="*/ 947 w 3400"/>
                        <a:gd name="T19" fmla="*/ 2042 h 2577"/>
                        <a:gd name="T20" fmla="*/ 916 w 3400"/>
                        <a:gd name="T21" fmla="*/ 1855 h 2577"/>
                        <a:gd name="T22" fmla="*/ 2225 w 3400"/>
                        <a:gd name="T23" fmla="*/ 2049 h 2577"/>
                        <a:gd name="T24" fmla="*/ 2376 w 3400"/>
                        <a:gd name="T25" fmla="*/ 1924 h 2577"/>
                        <a:gd name="T26" fmla="*/ 2312 w 3400"/>
                        <a:gd name="T27" fmla="*/ 1906 h 2577"/>
                        <a:gd name="T28" fmla="*/ 2267 w 3400"/>
                        <a:gd name="T29" fmla="*/ 1855 h 2577"/>
                        <a:gd name="T30" fmla="*/ 1441 w 3400"/>
                        <a:gd name="T31" fmla="*/ 1911 h 2577"/>
                        <a:gd name="T32" fmla="*/ 1591 w 3400"/>
                        <a:gd name="T33" fmla="*/ 2031 h 2577"/>
                        <a:gd name="T34" fmla="*/ 1622 w 3400"/>
                        <a:gd name="T35" fmla="*/ 2119 h 2577"/>
                        <a:gd name="T36" fmla="*/ 1507 w 3400"/>
                        <a:gd name="T37" fmla="*/ 1962 h 2577"/>
                        <a:gd name="T38" fmla="*/ 1902 w 3400"/>
                        <a:gd name="T39" fmla="*/ 1848 h 2577"/>
                        <a:gd name="T40" fmla="*/ 1797 w 3400"/>
                        <a:gd name="T41" fmla="*/ 1958 h 2577"/>
                        <a:gd name="T42" fmla="*/ 2006 w 3400"/>
                        <a:gd name="T43" fmla="*/ 1884 h 2577"/>
                        <a:gd name="T44" fmla="*/ 1857 w 3400"/>
                        <a:gd name="T45" fmla="*/ 1968 h 2577"/>
                        <a:gd name="T46" fmla="*/ 1881 w 3400"/>
                        <a:gd name="T47" fmla="*/ 2002 h 2577"/>
                        <a:gd name="T48" fmla="*/ 2467 w 3400"/>
                        <a:gd name="T49" fmla="*/ 1946 h 2577"/>
                        <a:gd name="T50" fmla="*/ 2452 w 3400"/>
                        <a:gd name="T51" fmla="*/ 1821 h 2577"/>
                        <a:gd name="T52" fmla="*/ 2521 w 3400"/>
                        <a:gd name="T53" fmla="*/ 2055 h 2577"/>
                        <a:gd name="T54" fmla="*/ 2555 w 3400"/>
                        <a:gd name="T55" fmla="*/ 1883 h 2577"/>
                        <a:gd name="T56" fmla="*/ 3202 w 3400"/>
                        <a:gd name="T57" fmla="*/ 1928 h 2577"/>
                        <a:gd name="T58" fmla="*/ 3006 w 3400"/>
                        <a:gd name="T59" fmla="*/ 1854 h 2577"/>
                        <a:gd name="T60" fmla="*/ 3140 w 3400"/>
                        <a:gd name="T61" fmla="*/ 2049 h 2577"/>
                        <a:gd name="T62" fmla="*/ 2905 w 3400"/>
                        <a:gd name="T63" fmla="*/ 1964 h 2577"/>
                        <a:gd name="T64" fmla="*/ 2868 w 3400"/>
                        <a:gd name="T65" fmla="*/ 2041 h 2577"/>
                        <a:gd name="T66" fmla="*/ 2713 w 3400"/>
                        <a:gd name="T67" fmla="*/ 2051 h 2577"/>
                        <a:gd name="T68" fmla="*/ 2747 w 3400"/>
                        <a:gd name="T69" fmla="*/ 1996 h 2577"/>
                        <a:gd name="T70" fmla="*/ 3300 w 3400"/>
                        <a:gd name="T71" fmla="*/ 1805 h 2577"/>
                        <a:gd name="T72" fmla="*/ 1073 w 3400"/>
                        <a:gd name="T73" fmla="*/ 2049 h 2577"/>
                        <a:gd name="T74" fmla="*/ 2660 w 3400"/>
                        <a:gd name="T75" fmla="*/ 2279 h 2577"/>
                        <a:gd name="T76" fmla="*/ 2763 w 3400"/>
                        <a:gd name="T77" fmla="*/ 2480 h 2577"/>
                        <a:gd name="T78" fmla="*/ 2737 w 3400"/>
                        <a:gd name="T79" fmla="*/ 2285 h 2577"/>
                        <a:gd name="T80" fmla="*/ 690 w 3400"/>
                        <a:gd name="T81" fmla="*/ 2289 h 2577"/>
                        <a:gd name="T82" fmla="*/ 740 w 3400"/>
                        <a:gd name="T83" fmla="*/ 2301 h 2577"/>
                        <a:gd name="T84" fmla="*/ 222 w 3400"/>
                        <a:gd name="T85" fmla="*/ 2352 h 2577"/>
                        <a:gd name="T86" fmla="*/ 341 w 3400"/>
                        <a:gd name="T87" fmla="*/ 2395 h 2577"/>
                        <a:gd name="T88" fmla="*/ 554 w 3400"/>
                        <a:gd name="T89" fmla="*/ 2395 h 2577"/>
                        <a:gd name="T90" fmla="*/ 412 w 3400"/>
                        <a:gd name="T91" fmla="*/ 2407 h 2577"/>
                        <a:gd name="T92" fmla="*/ 484 w 3400"/>
                        <a:gd name="T93" fmla="*/ 2407 h 2577"/>
                        <a:gd name="T94" fmla="*/ 2419 w 3400"/>
                        <a:gd name="T95" fmla="*/ 2248 h 2577"/>
                        <a:gd name="T96" fmla="*/ 1758 w 3400"/>
                        <a:gd name="T97" fmla="*/ 2233 h 2577"/>
                        <a:gd name="T98" fmla="*/ 2133 w 3400"/>
                        <a:gd name="T99" fmla="*/ 2255 h 2577"/>
                        <a:gd name="T100" fmla="*/ 2204 w 3400"/>
                        <a:gd name="T101" fmla="*/ 2483 h 2577"/>
                        <a:gd name="T102" fmla="*/ 2269 w 3400"/>
                        <a:gd name="T103" fmla="*/ 2249 h 2577"/>
                        <a:gd name="T104" fmla="*/ 2204 w 3400"/>
                        <a:gd name="T105" fmla="*/ 2284 h 2577"/>
                        <a:gd name="T106" fmla="*/ 845 w 3400"/>
                        <a:gd name="T107" fmla="*/ 2131 h 2577"/>
                        <a:gd name="T108" fmla="*/ 1323 w 3400"/>
                        <a:gd name="T109" fmla="*/ 2244 h 2577"/>
                        <a:gd name="T110" fmla="*/ 1220 w 3400"/>
                        <a:gd name="T111" fmla="*/ 2299 h 2577"/>
                        <a:gd name="T112" fmla="*/ 1410 w 3400"/>
                        <a:gd name="T113" fmla="*/ 2289 h 2577"/>
                        <a:gd name="T114" fmla="*/ 1525 w 3400"/>
                        <a:gd name="T115" fmla="*/ 2477 h 2577"/>
                        <a:gd name="T116" fmla="*/ 1544 w 3400"/>
                        <a:gd name="T117" fmla="*/ 2570 h 2577"/>
                        <a:gd name="T118" fmla="*/ 1491 w 3400"/>
                        <a:gd name="T119" fmla="*/ 2424 h 2577"/>
                        <a:gd name="T120" fmla="*/ 1094 w 3400"/>
                        <a:gd name="T121" fmla="*/ 2341 h 2577"/>
                        <a:gd name="T122" fmla="*/ 437 w 3400"/>
                        <a:gd name="T123" fmla="*/ 1061 h 25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3400" h="2577">
                          <a:moveTo>
                            <a:pt x="283" y="1942"/>
                          </a:moveTo>
                          <a:lnTo>
                            <a:pt x="283" y="1942"/>
                          </a:lnTo>
                          <a:lnTo>
                            <a:pt x="283" y="1934"/>
                          </a:lnTo>
                          <a:lnTo>
                            <a:pt x="282" y="1927"/>
                          </a:lnTo>
                          <a:lnTo>
                            <a:pt x="278" y="1912"/>
                          </a:lnTo>
                          <a:lnTo>
                            <a:pt x="272" y="1900"/>
                          </a:lnTo>
                          <a:lnTo>
                            <a:pt x="265" y="1890"/>
                          </a:lnTo>
                          <a:lnTo>
                            <a:pt x="256" y="1883"/>
                          </a:lnTo>
                          <a:lnTo>
                            <a:pt x="248" y="1877"/>
                          </a:lnTo>
                          <a:lnTo>
                            <a:pt x="241" y="1872"/>
                          </a:lnTo>
                          <a:lnTo>
                            <a:pt x="233" y="1868"/>
                          </a:lnTo>
                          <a:lnTo>
                            <a:pt x="233" y="1868"/>
                          </a:lnTo>
                          <a:lnTo>
                            <a:pt x="242" y="1862"/>
                          </a:lnTo>
                          <a:lnTo>
                            <a:pt x="249" y="1856"/>
                          </a:lnTo>
                          <a:lnTo>
                            <a:pt x="255" y="1849"/>
                          </a:lnTo>
                          <a:lnTo>
                            <a:pt x="261" y="1840"/>
                          </a:lnTo>
                          <a:lnTo>
                            <a:pt x="266" y="1832"/>
                          </a:lnTo>
                          <a:lnTo>
                            <a:pt x="269" y="1822"/>
                          </a:lnTo>
                          <a:lnTo>
                            <a:pt x="271" y="1812"/>
                          </a:lnTo>
                          <a:lnTo>
                            <a:pt x="271" y="1801"/>
                          </a:lnTo>
                          <a:lnTo>
                            <a:pt x="271" y="1801"/>
                          </a:lnTo>
                          <a:lnTo>
                            <a:pt x="271" y="1792"/>
                          </a:lnTo>
                          <a:lnTo>
                            <a:pt x="270" y="1782"/>
                          </a:lnTo>
                          <a:lnTo>
                            <a:pt x="267" y="1773"/>
                          </a:lnTo>
                          <a:lnTo>
                            <a:pt x="265" y="1765"/>
                          </a:lnTo>
                          <a:lnTo>
                            <a:pt x="261" y="1756"/>
                          </a:lnTo>
                          <a:lnTo>
                            <a:pt x="256" y="1749"/>
                          </a:lnTo>
                          <a:lnTo>
                            <a:pt x="250" y="1743"/>
                          </a:lnTo>
                          <a:lnTo>
                            <a:pt x="244" y="1737"/>
                          </a:lnTo>
                          <a:lnTo>
                            <a:pt x="237" y="1732"/>
                          </a:lnTo>
                          <a:lnTo>
                            <a:pt x="230" y="1727"/>
                          </a:lnTo>
                          <a:lnTo>
                            <a:pt x="221" y="1724"/>
                          </a:lnTo>
                          <a:lnTo>
                            <a:pt x="211" y="1720"/>
                          </a:lnTo>
                          <a:lnTo>
                            <a:pt x="202" y="1718"/>
                          </a:lnTo>
                          <a:lnTo>
                            <a:pt x="191" y="1715"/>
                          </a:lnTo>
                          <a:lnTo>
                            <a:pt x="180" y="1715"/>
                          </a:lnTo>
                          <a:lnTo>
                            <a:pt x="168" y="1714"/>
                          </a:lnTo>
                          <a:lnTo>
                            <a:pt x="24" y="1714"/>
                          </a:lnTo>
                          <a:lnTo>
                            <a:pt x="24" y="2049"/>
                          </a:lnTo>
                          <a:lnTo>
                            <a:pt x="166" y="2049"/>
                          </a:lnTo>
                          <a:lnTo>
                            <a:pt x="166" y="2049"/>
                          </a:lnTo>
                          <a:lnTo>
                            <a:pt x="180" y="2049"/>
                          </a:lnTo>
                          <a:lnTo>
                            <a:pt x="192" y="2048"/>
                          </a:lnTo>
                          <a:lnTo>
                            <a:pt x="204" y="2046"/>
                          </a:lnTo>
                          <a:lnTo>
                            <a:pt x="215" y="2042"/>
                          </a:lnTo>
                          <a:lnTo>
                            <a:pt x="226" y="2038"/>
                          </a:lnTo>
                          <a:lnTo>
                            <a:pt x="236" y="2034"/>
                          </a:lnTo>
                          <a:lnTo>
                            <a:pt x="244" y="2028"/>
                          </a:lnTo>
                          <a:lnTo>
                            <a:pt x="252" y="2021"/>
                          </a:lnTo>
                          <a:lnTo>
                            <a:pt x="259" y="2014"/>
                          </a:lnTo>
                          <a:lnTo>
                            <a:pt x="265" y="2006"/>
                          </a:lnTo>
                          <a:lnTo>
                            <a:pt x="271" y="1997"/>
                          </a:lnTo>
                          <a:lnTo>
                            <a:pt x="275" y="1987"/>
                          </a:lnTo>
                          <a:lnTo>
                            <a:pt x="278" y="1978"/>
                          </a:lnTo>
                          <a:lnTo>
                            <a:pt x="281" y="1967"/>
                          </a:lnTo>
                          <a:lnTo>
                            <a:pt x="282" y="1955"/>
                          </a:lnTo>
                          <a:lnTo>
                            <a:pt x="283" y="1942"/>
                          </a:lnTo>
                          <a:lnTo>
                            <a:pt x="283" y="1942"/>
                          </a:lnTo>
                          <a:close/>
                          <a:moveTo>
                            <a:pt x="166" y="1993"/>
                          </a:moveTo>
                          <a:lnTo>
                            <a:pt x="86" y="1993"/>
                          </a:lnTo>
                          <a:lnTo>
                            <a:pt x="86" y="1897"/>
                          </a:lnTo>
                          <a:lnTo>
                            <a:pt x="166" y="1897"/>
                          </a:lnTo>
                          <a:lnTo>
                            <a:pt x="166" y="1897"/>
                          </a:lnTo>
                          <a:lnTo>
                            <a:pt x="179" y="1899"/>
                          </a:lnTo>
                          <a:lnTo>
                            <a:pt x="188" y="1900"/>
                          </a:lnTo>
                          <a:lnTo>
                            <a:pt x="197" y="1904"/>
                          </a:lnTo>
                          <a:lnTo>
                            <a:pt x="204" y="1910"/>
                          </a:lnTo>
                          <a:lnTo>
                            <a:pt x="210" y="1916"/>
                          </a:lnTo>
                          <a:lnTo>
                            <a:pt x="214" y="1924"/>
                          </a:lnTo>
                          <a:lnTo>
                            <a:pt x="216" y="1934"/>
                          </a:lnTo>
                          <a:lnTo>
                            <a:pt x="218" y="1945"/>
                          </a:lnTo>
                          <a:lnTo>
                            <a:pt x="218" y="1945"/>
                          </a:lnTo>
                          <a:lnTo>
                            <a:pt x="216" y="1956"/>
                          </a:lnTo>
                          <a:lnTo>
                            <a:pt x="214" y="1966"/>
                          </a:lnTo>
                          <a:lnTo>
                            <a:pt x="209" y="1974"/>
                          </a:lnTo>
                          <a:lnTo>
                            <a:pt x="204" y="1980"/>
                          </a:lnTo>
                          <a:lnTo>
                            <a:pt x="197" y="1986"/>
                          </a:lnTo>
                          <a:lnTo>
                            <a:pt x="188" y="1990"/>
                          </a:lnTo>
                          <a:lnTo>
                            <a:pt x="177" y="1992"/>
                          </a:lnTo>
                          <a:lnTo>
                            <a:pt x="166" y="1993"/>
                          </a:lnTo>
                          <a:lnTo>
                            <a:pt x="166" y="1993"/>
                          </a:lnTo>
                          <a:close/>
                          <a:moveTo>
                            <a:pt x="165" y="1843"/>
                          </a:moveTo>
                          <a:lnTo>
                            <a:pt x="86" y="1843"/>
                          </a:lnTo>
                          <a:lnTo>
                            <a:pt x="86" y="1771"/>
                          </a:lnTo>
                          <a:lnTo>
                            <a:pt x="163" y="1771"/>
                          </a:lnTo>
                          <a:lnTo>
                            <a:pt x="163" y="1771"/>
                          </a:lnTo>
                          <a:lnTo>
                            <a:pt x="173" y="1772"/>
                          </a:lnTo>
                          <a:lnTo>
                            <a:pt x="182" y="1773"/>
                          </a:lnTo>
                          <a:lnTo>
                            <a:pt x="190" y="1776"/>
                          </a:lnTo>
                          <a:lnTo>
                            <a:pt x="196" y="1780"/>
                          </a:lnTo>
                          <a:lnTo>
                            <a:pt x="201" y="1786"/>
                          </a:lnTo>
                          <a:lnTo>
                            <a:pt x="204" y="1792"/>
                          </a:lnTo>
                          <a:lnTo>
                            <a:pt x="205" y="1799"/>
                          </a:lnTo>
                          <a:lnTo>
                            <a:pt x="207" y="1807"/>
                          </a:lnTo>
                          <a:lnTo>
                            <a:pt x="207" y="1807"/>
                          </a:lnTo>
                          <a:lnTo>
                            <a:pt x="207" y="1814"/>
                          </a:lnTo>
                          <a:lnTo>
                            <a:pt x="205" y="1820"/>
                          </a:lnTo>
                          <a:lnTo>
                            <a:pt x="203" y="1826"/>
                          </a:lnTo>
                          <a:lnTo>
                            <a:pt x="199" y="1831"/>
                          </a:lnTo>
                          <a:lnTo>
                            <a:pt x="193" y="1835"/>
                          </a:lnTo>
                          <a:lnTo>
                            <a:pt x="186" y="1839"/>
                          </a:lnTo>
                          <a:lnTo>
                            <a:pt x="177" y="1842"/>
                          </a:lnTo>
                          <a:lnTo>
                            <a:pt x="165" y="1843"/>
                          </a:lnTo>
                          <a:lnTo>
                            <a:pt x="165" y="1843"/>
                          </a:lnTo>
                          <a:close/>
                          <a:moveTo>
                            <a:pt x="326" y="1944"/>
                          </a:moveTo>
                          <a:lnTo>
                            <a:pt x="326" y="1805"/>
                          </a:lnTo>
                          <a:lnTo>
                            <a:pt x="386" y="1805"/>
                          </a:lnTo>
                          <a:lnTo>
                            <a:pt x="386" y="1940"/>
                          </a:lnTo>
                          <a:lnTo>
                            <a:pt x="386" y="1940"/>
                          </a:lnTo>
                          <a:lnTo>
                            <a:pt x="386" y="1953"/>
                          </a:lnTo>
                          <a:lnTo>
                            <a:pt x="389" y="1967"/>
                          </a:lnTo>
                          <a:lnTo>
                            <a:pt x="392" y="1976"/>
                          </a:lnTo>
                          <a:lnTo>
                            <a:pt x="397" y="1985"/>
                          </a:lnTo>
                          <a:lnTo>
                            <a:pt x="403" y="1991"/>
                          </a:lnTo>
                          <a:lnTo>
                            <a:pt x="411" y="1996"/>
                          </a:lnTo>
                          <a:lnTo>
                            <a:pt x="420" y="1998"/>
                          </a:lnTo>
                          <a:lnTo>
                            <a:pt x="431" y="2000"/>
                          </a:lnTo>
                          <a:lnTo>
                            <a:pt x="431" y="2000"/>
                          </a:lnTo>
                          <a:lnTo>
                            <a:pt x="442" y="1998"/>
                          </a:lnTo>
                          <a:lnTo>
                            <a:pt x="451" y="1996"/>
                          </a:lnTo>
                          <a:lnTo>
                            <a:pt x="459" y="1991"/>
                          </a:lnTo>
                          <a:lnTo>
                            <a:pt x="465" y="1985"/>
                          </a:lnTo>
                          <a:lnTo>
                            <a:pt x="470" y="1976"/>
                          </a:lnTo>
                          <a:lnTo>
                            <a:pt x="474" y="1966"/>
                          </a:lnTo>
                          <a:lnTo>
                            <a:pt x="476" y="1953"/>
                          </a:lnTo>
                          <a:lnTo>
                            <a:pt x="476" y="1940"/>
                          </a:lnTo>
                          <a:lnTo>
                            <a:pt x="476" y="1805"/>
                          </a:lnTo>
                          <a:lnTo>
                            <a:pt x="537" y="1805"/>
                          </a:lnTo>
                          <a:lnTo>
                            <a:pt x="537" y="2049"/>
                          </a:lnTo>
                          <a:lnTo>
                            <a:pt x="476" y="2049"/>
                          </a:lnTo>
                          <a:lnTo>
                            <a:pt x="476" y="2030"/>
                          </a:lnTo>
                          <a:lnTo>
                            <a:pt x="476" y="2030"/>
                          </a:lnTo>
                          <a:lnTo>
                            <a:pt x="471" y="2036"/>
                          </a:lnTo>
                          <a:lnTo>
                            <a:pt x="464" y="2041"/>
                          </a:lnTo>
                          <a:lnTo>
                            <a:pt x="458" y="2046"/>
                          </a:lnTo>
                          <a:lnTo>
                            <a:pt x="451" y="2048"/>
                          </a:lnTo>
                          <a:lnTo>
                            <a:pt x="444" y="2052"/>
                          </a:lnTo>
                          <a:lnTo>
                            <a:pt x="435" y="2053"/>
                          </a:lnTo>
                          <a:lnTo>
                            <a:pt x="427" y="2054"/>
                          </a:lnTo>
                          <a:lnTo>
                            <a:pt x="418" y="2055"/>
                          </a:lnTo>
                          <a:lnTo>
                            <a:pt x="418" y="2055"/>
                          </a:lnTo>
                          <a:lnTo>
                            <a:pt x="403" y="2054"/>
                          </a:lnTo>
                          <a:lnTo>
                            <a:pt x="391" y="2052"/>
                          </a:lnTo>
                          <a:lnTo>
                            <a:pt x="380" y="2048"/>
                          </a:lnTo>
                          <a:lnTo>
                            <a:pt x="369" y="2043"/>
                          </a:lnTo>
                          <a:lnTo>
                            <a:pt x="361" y="2037"/>
                          </a:lnTo>
                          <a:lnTo>
                            <a:pt x="354" y="2031"/>
                          </a:lnTo>
                          <a:lnTo>
                            <a:pt x="348" y="2023"/>
                          </a:lnTo>
                          <a:lnTo>
                            <a:pt x="341" y="2014"/>
                          </a:lnTo>
                          <a:lnTo>
                            <a:pt x="338" y="2006"/>
                          </a:lnTo>
                          <a:lnTo>
                            <a:pt x="334" y="1997"/>
                          </a:lnTo>
                          <a:lnTo>
                            <a:pt x="329" y="1978"/>
                          </a:lnTo>
                          <a:lnTo>
                            <a:pt x="327" y="1959"/>
                          </a:lnTo>
                          <a:lnTo>
                            <a:pt x="326" y="1944"/>
                          </a:lnTo>
                          <a:lnTo>
                            <a:pt x="326" y="1944"/>
                          </a:lnTo>
                          <a:close/>
                          <a:moveTo>
                            <a:pt x="1249" y="2049"/>
                          </a:moveTo>
                          <a:lnTo>
                            <a:pt x="1188" y="2049"/>
                          </a:lnTo>
                          <a:lnTo>
                            <a:pt x="1188" y="1805"/>
                          </a:lnTo>
                          <a:lnTo>
                            <a:pt x="1249" y="1805"/>
                          </a:lnTo>
                          <a:lnTo>
                            <a:pt x="1249" y="1826"/>
                          </a:lnTo>
                          <a:lnTo>
                            <a:pt x="1249" y="1826"/>
                          </a:lnTo>
                          <a:lnTo>
                            <a:pt x="1255" y="1820"/>
                          </a:lnTo>
                          <a:lnTo>
                            <a:pt x="1261" y="1814"/>
                          </a:lnTo>
                          <a:lnTo>
                            <a:pt x="1269" y="1810"/>
                          </a:lnTo>
                          <a:lnTo>
                            <a:pt x="1276" y="1806"/>
                          </a:lnTo>
                          <a:lnTo>
                            <a:pt x="1284" y="1803"/>
                          </a:lnTo>
                          <a:lnTo>
                            <a:pt x="1292" y="1801"/>
                          </a:lnTo>
                          <a:lnTo>
                            <a:pt x="1301" y="1800"/>
                          </a:lnTo>
                          <a:lnTo>
                            <a:pt x="1310" y="1799"/>
                          </a:lnTo>
                          <a:lnTo>
                            <a:pt x="1310" y="1799"/>
                          </a:lnTo>
                          <a:lnTo>
                            <a:pt x="1321" y="1800"/>
                          </a:lnTo>
                          <a:lnTo>
                            <a:pt x="1331" y="1801"/>
                          </a:lnTo>
                          <a:lnTo>
                            <a:pt x="1340" y="1804"/>
                          </a:lnTo>
                          <a:lnTo>
                            <a:pt x="1349" y="1806"/>
                          </a:lnTo>
                          <a:lnTo>
                            <a:pt x="1357" y="1810"/>
                          </a:lnTo>
                          <a:lnTo>
                            <a:pt x="1365" y="1816"/>
                          </a:lnTo>
                          <a:lnTo>
                            <a:pt x="1371" y="1821"/>
                          </a:lnTo>
                          <a:lnTo>
                            <a:pt x="1377" y="1828"/>
                          </a:lnTo>
                          <a:lnTo>
                            <a:pt x="1383" y="1835"/>
                          </a:lnTo>
                          <a:lnTo>
                            <a:pt x="1386" y="1844"/>
                          </a:lnTo>
                          <a:lnTo>
                            <a:pt x="1391" y="1852"/>
                          </a:lnTo>
                          <a:lnTo>
                            <a:pt x="1394" y="1862"/>
                          </a:lnTo>
                          <a:lnTo>
                            <a:pt x="1396" y="1873"/>
                          </a:lnTo>
                          <a:lnTo>
                            <a:pt x="1399" y="1885"/>
                          </a:lnTo>
                          <a:lnTo>
                            <a:pt x="1400" y="1897"/>
                          </a:lnTo>
                          <a:lnTo>
                            <a:pt x="1400" y="1911"/>
                          </a:lnTo>
                          <a:lnTo>
                            <a:pt x="1400" y="2049"/>
                          </a:lnTo>
                          <a:lnTo>
                            <a:pt x="1339" y="2049"/>
                          </a:lnTo>
                          <a:lnTo>
                            <a:pt x="1339" y="1914"/>
                          </a:lnTo>
                          <a:lnTo>
                            <a:pt x="1339" y="1914"/>
                          </a:lnTo>
                          <a:lnTo>
                            <a:pt x="1339" y="1900"/>
                          </a:lnTo>
                          <a:lnTo>
                            <a:pt x="1337" y="1888"/>
                          </a:lnTo>
                          <a:lnTo>
                            <a:pt x="1333" y="1878"/>
                          </a:lnTo>
                          <a:lnTo>
                            <a:pt x="1328" y="1869"/>
                          </a:lnTo>
                          <a:lnTo>
                            <a:pt x="1322" y="1863"/>
                          </a:lnTo>
                          <a:lnTo>
                            <a:pt x="1315" y="1859"/>
                          </a:lnTo>
                          <a:lnTo>
                            <a:pt x="1306" y="1856"/>
                          </a:lnTo>
                          <a:lnTo>
                            <a:pt x="1295" y="1855"/>
                          </a:lnTo>
                          <a:lnTo>
                            <a:pt x="1295" y="1855"/>
                          </a:lnTo>
                          <a:lnTo>
                            <a:pt x="1284" y="1856"/>
                          </a:lnTo>
                          <a:lnTo>
                            <a:pt x="1275" y="1859"/>
                          </a:lnTo>
                          <a:lnTo>
                            <a:pt x="1267" y="1863"/>
                          </a:lnTo>
                          <a:lnTo>
                            <a:pt x="1261" y="1869"/>
                          </a:lnTo>
                          <a:lnTo>
                            <a:pt x="1255" y="1878"/>
                          </a:lnTo>
                          <a:lnTo>
                            <a:pt x="1252" y="1889"/>
                          </a:lnTo>
                          <a:lnTo>
                            <a:pt x="1249" y="1901"/>
                          </a:lnTo>
                          <a:lnTo>
                            <a:pt x="1249" y="1914"/>
                          </a:lnTo>
                          <a:lnTo>
                            <a:pt x="1249" y="2049"/>
                          </a:lnTo>
                          <a:close/>
                          <a:moveTo>
                            <a:pt x="653" y="1927"/>
                          </a:moveTo>
                          <a:lnTo>
                            <a:pt x="653" y="2049"/>
                          </a:lnTo>
                          <a:lnTo>
                            <a:pt x="592" y="2049"/>
                          </a:lnTo>
                          <a:lnTo>
                            <a:pt x="592" y="1805"/>
                          </a:lnTo>
                          <a:lnTo>
                            <a:pt x="653" y="1805"/>
                          </a:lnTo>
                          <a:lnTo>
                            <a:pt x="653" y="1927"/>
                          </a:lnTo>
                          <a:close/>
                          <a:moveTo>
                            <a:pt x="706" y="1733"/>
                          </a:moveTo>
                          <a:lnTo>
                            <a:pt x="767" y="1703"/>
                          </a:lnTo>
                          <a:lnTo>
                            <a:pt x="767" y="1924"/>
                          </a:lnTo>
                          <a:lnTo>
                            <a:pt x="767" y="2049"/>
                          </a:lnTo>
                          <a:lnTo>
                            <a:pt x="706" y="2049"/>
                          </a:lnTo>
                          <a:lnTo>
                            <a:pt x="706" y="1733"/>
                          </a:lnTo>
                          <a:close/>
                          <a:moveTo>
                            <a:pt x="959" y="1822"/>
                          </a:moveTo>
                          <a:lnTo>
                            <a:pt x="959" y="1822"/>
                          </a:lnTo>
                          <a:lnTo>
                            <a:pt x="954" y="1816"/>
                          </a:lnTo>
                          <a:lnTo>
                            <a:pt x="948" y="1812"/>
                          </a:lnTo>
                          <a:lnTo>
                            <a:pt x="941" y="1807"/>
                          </a:lnTo>
                          <a:lnTo>
                            <a:pt x="934" y="1805"/>
                          </a:lnTo>
                          <a:lnTo>
                            <a:pt x="927" y="1803"/>
                          </a:lnTo>
                          <a:lnTo>
                            <a:pt x="920" y="1800"/>
                          </a:lnTo>
                          <a:lnTo>
                            <a:pt x="905" y="1799"/>
                          </a:lnTo>
                          <a:lnTo>
                            <a:pt x="905" y="1799"/>
                          </a:lnTo>
                          <a:lnTo>
                            <a:pt x="894" y="1800"/>
                          </a:lnTo>
                          <a:lnTo>
                            <a:pt x="883" y="1801"/>
                          </a:lnTo>
                          <a:lnTo>
                            <a:pt x="874" y="1804"/>
                          </a:lnTo>
                          <a:lnTo>
                            <a:pt x="865" y="1807"/>
                          </a:lnTo>
                          <a:lnTo>
                            <a:pt x="857" y="1812"/>
                          </a:lnTo>
                          <a:lnTo>
                            <a:pt x="848" y="1818"/>
                          </a:lnTo>
                          <a:lnTo>
                            <a:pt x="841" y="1826"/>
                          </a:lnTo>
                          <a:lnTo>
                            <a:pt x="835" y="1833"/>
                          </a:lnTo>
                          <a:lnTo>
                            <a:pt x="829" y="1842"/>
                          </a:lnTo>
                          <a:lnTo>
                            <a:pt x="824" y="1851"/>
                          </a:lnTo>
                          <a:lnTo>
                            <a:pt x="819" y="1861"/>
                          </a:lnTo>
                          <a:lnTo>
                            <a:pt x="815" y="1872"/>
                          </a:lnTo>
                          <a:lnTo>
                            <a:pt x="813" y="1884"/>
                          </a:lnTo>
                          <a:lnTo>
                            <a:pt x="811" y="1897"/>
                          </a:lnTo>
                          <a:lnTo>
                            <a:pt x="809" y="1911"/>
                          </a:lnTo>
                          <a:lnTo>
                            <a:pt x="809" y="1924"/>
                          </a:lnTo>
                          <a:lnTo>
                            <a:pt x="809" y="1924"/>
                          </a:lnTo>
                          <a:lnTo>
                            <a:pt x="809" y="1940"/>
                          </a:lnTo>
                          <a:lnTo>
                            <a:pt x="811" y="1953"/>
                          </a:lnTo>
                          <a:lnTo>
                            <a:pt x="813" y="1967"/>
                          </a:lnTo>
                          <a:lnTo>
                            <a:pt x="815" y="1979"/>
                          </a:lnTo>
                          <a:lnTo>
                            <a:pt x="819" y="1991"/>
                          </a:lnTo>
                          <a:lnTo>
                            <a:pt x="823" y="2002"/>
                          </a:lnTo>
                          <a:lnTo>
                            <a:pt x="828" y="2012"/>
                          </a:lnTo>
                          <a:lnTo>
                            <a:pt x="834" y="2020"/>
                          </a:lnTo>
                          <a:lnTo>
                            <a:pt x="841" y="2029"/>
                          </a:lnTo>
                          <a:lnTo>
                            <a:pt x="847" y="2035"/>
                          </a:lnTo>
                          <a:lnTo>
                            <a:pt x="855" y="2041"/>
                          </a:lnTo>
                          <a:lnTo>
                            <a:pt x="864" y="2046"/>
                          </a:lnTo>
                          <a:lnTo>
                            <a:pt x="872" y="2049"/>
                          </a:lnTo>
                          <a:lnTo>
                            <a:pt x="882" y="2053"/>
                          </a:lnTo>
                          <a:lnTo>
                            <a:pt x="893" y="2054"/>
                          </a:lnTo>
                          <a:lnTo>
                            <a:pt x="904" y="2055"/>
                          </a:lnTo>
                          <a:lnTo>
                            <a:pt x="904" y="2055"/>
                          </a:lnTo>
                          <a:lnTo>
                            <a:pt x="911" y="2054"/>
                          </a:lnTo>
                          <a:lnTo>
                            <a:pt x="919" y="2053"/>
                          </a:lnTo>
                          <a:lnTo>
                            <a:pt x="926" y="2052"/>
                          </a:lnTo>
                          <a:lnTo>
                            <a:pt x="933" y="2049"/>
                          </a:lnTo>
                          <a:lnTo>
                            <a:pt x="939" y="2046"/>
                          </a:lnTo>
                          <a:lnTo>
                            <a:pt x="947" y="2042"/>
                          </a:lnTo>
                          <a:lnTo>
                            <a:pt x="953" y="2037"/>
                          </a:lnTo>
                          <a:lnTo>
                            <a:pt x="959" y="2031"/>
                          </a:lnTo>
                          <a:lnTo>
                            <a:pt x="959" y="2049"/>
                          </a:lnTo>
                          <a:lnTo>
                            <a:pt x="1020" y="2049"/>
                          </a:lnTo>
                          <a:lnTo>
                            <a:pt x="1020" y="1703"/>
                          </a:lnTo>
                          <a:lnTo>
                            <a:pt x="959" y="1733"/>
                          </a:lnTo>
                          <a:lnTo>
                            <a:pt x="959" y="1822"/>
                          </a:lnTo>
                          <a:close/>
                          <a:moveTo>
                            <a:pt x="916" y="2000"/>
                          </a:moveTo>
                          <a:lnTo>
                            <a:pt x="916" y="2000"/>
                          </a:lnTo>
                          <a:lnTo>
                            <a:pt x="909" y="1998"/>
                          </a:lnTo>
                          <a:lnTo>
                            <a:pt x="900" y="1996"/>
                          </a:lnTo>
                          <a:lnTo>
                            <a:pt x="893" y="1992"/>
                          </a:lnTo>
                          <a:lnTo>
                            <a:pt x="886" y="1985"/>
                          </a:lnTo>
                          <a:lnTo>
                            <a:pt x="880" y="1975"/>
                          </a:lnTo>
                          <a:lnTo>
                            <a:pt x="875" y="1962"/>
                          </a:lnTo>
                          <a:lnTo>
                            <a:pt x="871" y="1945"/>
                          </a:lnTo>
                          <a:lnTo>
                            <a:pt x="870" y="1923"/>
                          </a:lnTo>
                          <a:lnTo>
                            <a:pt x="870" y="1923"/>
                          </a:lnTo>
                          <a:lnTo>
                            <a:pt x="871" y="1904"/>
                          </a:lnTo>
                          <a:lnTo>
                            <a:pt x="875" y="1889"/>
                          </a:lnTo>
                          <a:lnTo>
                            <a:pt x="880" y="1877"/>
                          </a:lnTo>
                          <a:lnTo>
                            <a:pt x="886" y="1868"/>
                          </a:lnTo>
                          <a:lnTo>
                            <a:pt x="892" y="1861"/>
                          </a:lnTo>
                          <a:lnTo>
                            <a:pt x="900" y="1857"/>
                          </a:lnTo>
                          <a:lnTo>
                            <a:pt x="908" y="1855"/>
                          </a:lnTo>
                          <a:lnTo>
                            <a:pt x="916" y="1855"/>
                          </a:lnTo>
                          <a:lnTo>
                            <a:pt x="916" y="1855"/>
                          </a:lnTo>
                          <a:lnTo>
                            <a:pt x="924" y="1855"/>
                          </a:lnTo>
                          <a:lnTo>
                            <a:pt x="931" y="1857"/>
                          </a:lnTo>
                          <a:lnTo>
                            <a:pt x="938" y="1860"/>
                          </a:lnTo>
                          <a:lnTo>
                            <a:pt x="943" y="1863"/>
                          </a:lnTo>
                          <a:lnTo>
                            <a:pt x="948" y="1867"/>
                          </a:lnTo>
                          <a:lnTo>
                            <a:pt x="953" y="1871"/>
                          </a:lnTo>
                          <a:lnTo>
                            <a:pt x="959" y="1879"/>
                          </a:lnTo>
                          <a:lnTo>
                            <a:pt x="959" y="1975"/>
                          </a:lnTo>
                          <a:lnTo>
                            <a:pt x="959" y="1975"/>
                          </a:lnTo>
                          <a:lnTo>
                            <a:pt x="951" y="1984"/>
                          </a:lnTo>
                          <a:lnTo>
                            <a:pt x="943" y="1991"/>
                          </a:lnTo>
                          <a:lnTo>
                            <a:pt x="938" y="1995"/>
                          </a:lnTo>
                          <a:lnTo>
                            <a:pt x="931" y="1997"/>
                          </a:lnTo>
                          <a:lnTo>
                            <a:pt x="925" y="1998"/>
                          </a:lnTo>
                          <a:lnTo>
                            <a:pt x="916" y="2000"/>
                          </a:lnTo>
                          <a:lnTo>
                            <a:pt x="916" y="2000"/>
                          </a:lnTo>
                          <a:close/>
                          <a:moveTo>
                            <a:pt x="2278" y="1799"/>
                          </a:moveTo>
                          <a:lnTo>
                            <a:pt x="2278" y="1799"/>
                          </a:lnTo>
                          <a:lnTo>
                            <a:pt x="2272" y="1800"/>
                          </a:lnTo>
                          <a:lnTo>
                            <a:pt x="2265" y="1801"/>
                          </a:lnTo>
                          <a:lnTo>
                            <a:pt x="2250" y="1805"/>
                          </a:lnTo>
                          <a:lnTo>
                            <a:pt x="2237" y="1812"/>
                          </a:lnTo>
                          <a:lnTo>
                            <a:pt x="2225" y="1822"/>
                          </a:lnTo>
                          <a:lnTo>
                            <a:pt x="2225" y="1709"/>
                          </a:lnTo>
                          <a:lnTo>
                            <a:pt x="2164" y="1739"/>
                          </a:lnTo>
                          <a:lnTo>
                            <a:pt x="2164" y="2049"/>
                          </a:lnTo>
                          <a:lnTo>
                            <a:pt x="2225" y="2049"/>
                          </a:lnTo>
                          <a:lnTo>
                            <a:pt x="2225" y="2031"/>
                          </a:lnTo>
                          <a:lnTo>
                            <a:pt x="2225" y="2031"/>
                          </a:lnTo>
                          <a:lnTo>
                            <a:pt x="2230" y="2037"/>
                          </a:lnTo>
                          <a:lnTo>
                            <a:pt x="2237" y="2042"/>
                          </a:lnTo>
                          <a:lnTo>
                            <a:pt x="2243" y="2046"/>
                          </a:lnTo>
                          <a:lnTo>
                            <a:pt x="2250" y="2049"/>
                          </a:lnTo>
                          <a:lnTo>
                            <a:pt x="2257" y="2052"/>
                          </a:lnTo>
                          <a:lnTo>
                            <a:pt x="2265" y="2053"/>
                          </a:lnTo>
                          <a:lnTo>
                            <a:pt x="2272" y="2054"/>
                          </a:lnTo>
                          <a:lnTo>
                            <a:pt x="2280" y="2055"/>
                          </a:lnTo>
                          <a:lnTo>
                            <a:pt x="2280" y="2055"/>
                          </a:lnTo>
                          <a:lnTo>
                            <a:pt x="2291" y="2054"/>
                          </a:lnTo>
                          <a:lnTo>
                            <a:pt x="2302" y="2053"/>
                          </a:lnTo>
                          <a:lnTo>
                            <a:pt x="2311" y="2051"/>
                          </a:lnTo>
                          <a:lnTo>
                            <a:pt x="2321" y="2046"/>
                          </a:lnTo>
                          <a:lnTo>
                            <a:pt x="2329" y="2041"/>
                          </a:lnTo>
                          <a:lnTo>
                            <a:pt x="2337" y="2036"/>
                          </a:lnTo>
                          <a:lnTo>
                            <a:pt x="2344" y="2029"/>
                          </a:lnTo>
                          <a:lnTo>
                            <a:pt x="2350" y="2021"/>
                          </a:lnTo>
                          <a:lnTo>
                            <a:pt x="2356" y="2012"/>
                          </a:lnTo>
                          <a:lnTo>
                            <a:pt x="2361" y="2002"/>
                          </a:lnTo>
                          <a:lnTo>
                            <a:pt x="2365" y="1991"/>
                          </a:lnTo>
                          <a:lnTo>
                            <a:pt x="2368" y="1980"/>
                          </a:lnTo>
                          <a:lnTo>
                            <a:pt x="2372" y="1968"/>
                          </a:lnTo>
                          <a:lnTo>
                            <a:pt x="2373" y="1955"/>
                          </a:lnTo>
                          <a:lnTo>
                            <a:pt x="2374" y="1940"/>
                          </a:lnTo>
                          <a:lnTo>
                            <a:pt x="2376" y="1924"/>
                          </a:lnTo>
                          <a:lnTo>
                            <a:pt x="2376" y="1924"/>
                          </a:lnTo>
                          <a:lnTo>
                            <a:pt x="2374" y="1911"/>
                          </a:lnTo>
                          <a:lnTo>
                            <a:pt x="2373" y="1897"/>
                          </a:lnTo>
                          <a:lnTo>
                            <a:pt x="2371" y="1884"/>
                          </a:lnTo>
                          <a:lnTo>
                            <a:pt x="2368" y="1872"/>
                          </a:lnTo>
                          <a:lnTo>
                            <a:pt x="2365" y="1861"/>
                          </a:lnTo>
                          <a:lnTo>
                            <a:pt x="2360" y="1851"/>
                          </a:lnTo>
                          <a:lnTo>
                            <a:pt x="2355" y="1842"/>
                          </a:lnTo>
                          <a:lnTo>
                            <a:pt x="2349" y="1833"/>
                          </a:lnTo>
                          <a:lnTo>
                            <a:pt x="2343" y="1826"/>
                          </a:lnTo>
                          <a:lnTo>
                            <a:pt x="2336" y="1818"/>
                          </a:lnTo>
                          <a:lnTo>
                            <a:pt x="2327" y="1812"/>
                          </a:lnTo>
                          <a:lnTo>
                            <a:pt x="2319" y="1807"/>
                          </a:lnTo>
                          <a:lnTo>
                            <a:pt x="2310" y="1804"/>
                          </a:lnTo>
                          <a:lnTo>
                            <a:pt x="2300" y="1801"/>
                          </a:lnTo>
                          <a:lnTo>
                            <a:pt x="2289" y="1800"/>
                          </a:lnTo>
                          <a:lnTo>
                            <a:pt x="2278" y="1799"/>
                          </a:lnTo>
                          <a:lnTo>
                            <a:pt x="2278" y="1799"/>
                          </a:lnTo>
                          <a:close/>
                          <a:moveTo>
                            <a:pt x="2267" y="1855"/>
                          </a:moveTo>
                          <a:lnTo>
                            <a:pt x="2267" y="1855"/>
                          </a:lnTo>
                          <a:lnTo>
                            <a:pt x="2276" y="1856"/>
                          </a:lnTo>
                          <a:lnTo>
                            <a:pt x="2284" y="1859"/>
                          </a:lnTo>
                          <a:lnTo>
                            <a:pt x="2292" y="1863"/>
                          </a:lnTo>
                          <a:lnTo>
                            <a:pt x="2299" y="1871"/>
                          </a:lnTo>
                          <a:lnTo>
                            <a:pt x="2305" y="1879"/>
                          </a:lnTo>
                          <a:lnTo>
                            <a:pt x="2309" y="1891"/>
                          </a:lnTo>
                          <a:lnTo>
                            <a:pt x="2312" y="1906"/>
                          </a:lnTo>
                          <a:lnTo>
                            <a:pt x="2314" y="1923"/>
                          </a:lnTo>
                          <a:lnTo>
                            <a:pt x="2314" y="1923"/>
                          </a:lnTo>
                          <a:lnTo>
                            <a:pt x="2312" y="1941"/>
                          </a:lnTo>
                          <a:lnTo>
                            <a:pt x="2310" y="1957"/>
                          </a:lnTo>
                          <a:lnTo>
                            <a:pt x="2308" y="1969"/>
                          </a:lnTo>
                          <a:lnTo>
                            <a:pt x="2303" y="1980"/>
                          </a:lnTo>
                          <a:lnTo>
                            <a:pt x="2295" y="1989"/>
                          </a:lnTo>
                          <a:lnTo>
                            <a:pt x="2288" y="1995"/>
                          </a:lnTo>
                          <a:lnTo>
                            <a:pt x="2280" y="1998"/>
                          </a:lnTo>
                          <a:lnTo>
                            <a:pt x="2269" y="2000"/>
                          </a:lnTo>
                          <a:lnTo>
                            <a:pt x="2269" y="2000"/>
                          </a:lnTo>
                          <a:lnTo>
                            <a:pt x="2260" y="1998"/>
                          </a:lnTo>
                          <a:lnTo>
                            <a:pt x="2253" y="1997"/>
                          </a:lnTo>
                          <a:lnTo>
                            <a:pt x="2247" y="1993"/>
                          </a:lnTo>
                          <a:lnTo>
                            <a:pt x="2241" y="1991"/>
                          </a:lnTo>
                          <a:lnTo>
                            <a:pt x="2231" y="1983"/>
                          </a:lnTo>
                          <a:lnTo>
                            <a:pt x="2225" y="1976"/>
                          </a:lnTo>
                          <a:lnTo>
                            <a:pt x="2225" y="1879"/>
                          </a:lnTo>
                          <a:lnTo>
                            <a:pt x="2225" y="1879"/>
                          </a:lnTo>
                          <a:lnTo>
                            <a:pt x="2229" y="1874"/>
                          </a:lnTo>
                          <a:lnTo>
                            <a:pt x="2233" y="1869"/>
                          </a:lnTo>
                          <a:lnTo>
                            <a:pt x="2238" y="1865"/>
                          </a:lnTo>
                          <a:lnTo>
                            <a:pt x="2243" y="1861"/>
                          </a:lnTo>
                          <a:lnTo>
                            <a:pt x="2249" y="1859"/>
                          </a:lnTo>
                          <a:lnTo>
                            <a:pt x="2255" y="1856"/>
                          </a:lnTo>
                          <a:lnTo>
                            <a:pt x="2261" y="1855"/>
                          </a:lnTo>
                          <a:lnTo>
                            <a:pt x="2267" y="1855"/>
                          </a:lnTo>
                          <a:lnTo>
                            <a:pt x="2267" y="1855"/>
                          </a:lnTo>
                          <a:close/>
                          <a:moveTo>
                            <a:pt x="1591" y="1822"/>
                          </a:moveTo>
                          <a:lnTo>
                            <a:pt x="1591" y="1822"/>
                          </a:lnTo>
                          <a:lnTo>
                            <a:pt x="1586" y="1817"/>
                          </a:lnTo>
                          <a:lnTo>
                            <a:pt x="1580" y="1812"/>
                          </a:lnTo>
                          <a:lnTo>
                            <a:pt x="1572" y="1809"/>
                          </a:lnTo>
                          <a:lnTo>
                            <a:pt x="1566" y="1805"/>
                          </a:lnTo>
                          <a:lnTo>
                            <a:pt x="1559" y="1803"/>
                          </a:lnTo>
                          <a:lnTo>
                            <a:pt x="1552" y="1800"/>
                          </a:lnTo>
                          <a:lnTo>
                            <a:pt x="1544" y="1800"/>
                          </a:lnTo>
                          <a:lnTo>
                            <a:pt x="1537" y="1799"/>
                          </a:lnTo>
                          <a:lnTo>
                            <a:pt x="1537" y="1799"/>
                          </a:lnTo>
                          <a:lnTo>
                            <a:pt x="1526" y="1800"/>
                          </a:lnTo>
                          <a:lnTo>
                            <a:pt x="1515" y="1801"/>
                          </a:lnTo>
                          <a:lnTo>
                            <a:pt x="1506" y="1804"/>
                          </a:lnTo>
                          <a:lnTo>
                            <a:pt x="1497" y="1807"/>
                          </a:lnTo>
                          <a:lnTo>
                            <a:pt x="1489" y="1812"/>
                          </a:lnTo>
                          <a:lnTo>
                            <a:pt x="1480" y="1818"/>
                          </a:lnTo>
                          <a:lnTo>
                            <a:pt x="1473" y="1826"/>
                          </a:lnTo>
                          <a:lnTo>
                            <a:pt x="1467" y="1833"/>
                          </a:lnTo>
                          <a:lnTo>
                            <a:pt x="1461" y="1842"/>
                          </a:lnTo>
                          <a:lnTo>
                            <a:pt x="1456" y="1851"/>
                          </a:lnTo>
                          <a:lnTo>
                            <a:pt x="1451" y="1861"/>
                          </a:lnTo>
                          <a:lnTo>
                            <a:pt x="1447" y="1872"/>
                          </a:lnTo>
                          <a:lnTo>
                            <a:pt x="1445" y="1884"/>
                          </a:lnTo>
                          <a:lnTo>
                            <a:pt x="1442" y="1897"/>
                          </a:lnTo>
                          <a:lnTo>
                            <a:pt x="1441" y="1911"/>
                          </a:lnTo>
                          <a:lnTo>
                            <a:pt x="1441" y="1924"/>
                          </a:lnTo>
                          <a:lnTo>
                            <a:pt x="1441" y="1924"/>
                          </a:lnTo>
                          <a:lnTo>
                            <a:pt x="1441" y="1940"/>
                          </a:lnTo>
                          <a:lnTo>
                            <a:pt x="1442" y="1953"/>
                          </a:lnTo>
                          <a:lnTo>
                            <a:pt x="1445" y="1967"/>
                          </a:lnTo>
                          <a:lnTo>
                            <a:pt x="1447" y="1979"/>
                          </a:lnTo>
                          <a:lnTo>
                            <a:pt x="1451" y="1991"/>
                          </a:lnTo>
                          <a:lnTo>
                            <a:pt x="1455" y="2002"/>
                          </a:lnTo>
                          <a:lnTo>
                            <a:pt x="1461" y="2012"/>
                          </a:lnTo>
                          <a:lnTo>
                            <a:pt x="1465" y="2020"/>
                          </a:lnTo>
                          <a:lnTo>
                            <a:pt x="1473" y="2029"/>
                          </a:lnTo>
                          <a:lnTo>
                            <a:pt x="1479" y="2035"/>
                          </a:lnTo>
                          <a:lnTo>
                            <a:pt x="1487" y="2041"/>
                          </a:lnTo>
                          <a:lnTo>
                            <a:pt x="1496" y="2046"/>
                          </a:lnTo>
                          <a:lnTo>
                            <a:pt x="1504" y="2049"/>
                          </a:lnTo>
                          <a:lnTo>
                            <a:pt x="1514" y="2053"/>
                          </a:lnTo>
                          <a:lnTo>
                            <a:pt x="1525" y="2054"/>
                          </a:lnTo>
                          <a:lnTo>
                            <a:pt x="1536" y="2054"/>
                          </a:lnTo>
                          <a:lnTo>
                            <a:pt x="1536" y="2054"/>
                          </a:lnTo>
                          <a:lnTo>
                            <a:pt x="1543" y="2054"/>
                          </a:lnTo>
                          <a:lnTo>
                            <a:pt x="1551" y="2053"/>
                          </a:lnTo>
                          <a:lnTo>
                            <a:pt x="1558" y="2052"/>
                          </a:lnTo>
                          <a:lnTo>
                            <a:pt x="1565" y="2049"/>
                          </a:lnTo>
                          <a:lnTo>
                            <a:pt x="1572" y="2046"/>
                          </a:lnTo>
                          <a:lnTo>
                            <a:pt x="1578" y="2041"/>
                          </a:lnTo>
                          <a:lnTo>
                            <a:pt x="1585" y="2037"/>
                          </a:lnTo>
                          <a:lnTo>
                            <a:pt x="1591" y="2031"/>
                          </a:lnTo>
                          <a:lnTo>
                            <a:pt x="1591" y="2037"/>
                          </a:lnTo>
                          <a:lnTo>
                            <a:pt x="1591" y="2037"/>
                          </a:lnTo>
                          <a:lnTo>
                            <a:pt x="1591" y="2047"/>
                          </a:lnTo>
                          <a:lnTo>
                            <a:pt x="1589" y="2058"/>
                          </a:lnTo>
                          <a:lnTo>
                            <a:pt x="1587" y="2069"/>
                          </a:lnTo>
                          <a:lnTo>
                            <a:pt x="1585" y="2074"/>
                          </a:lnTo>
                          <a:lnTo>
                            <a:pt x="1581" y="2079"/>
                          </a:lnTo>
                          <a:lnTo>
                            <a:pt x="1577" y="2083"/>
                          </a:lnTo>
                          <a:lnTo>
                            <a:pt x="1572" y="2088"/>
                          </a:lnTo>
                          <a:lnTo>
                            <a:pt x="1565" y="2092"/>
                          </a:lnTo>
                          <a:lnTo>
                            <a:pt x="1558" y="2094"/>
                          </a:lnTo>
                          <a:lnTo>
                            <a:pt x="1549" y="2098"/>
                          </a:lnTo>
                          <a:lnTo>
                            <a:pt x="1538" y="2099"/>
                          </a:lnTo>
                          <a:lnTo>
                            <a:pt x="1526" y="2102"/>
                          </a:lnTo>
                          <a:lnTo>
                            <a:pt x="1513" y="2102"/>
                          </a:lnTo>
                          <a:lnTo>
                            <a:pt x="1510" y="2102"/>
                          </a:lnTo>
                          <a:lnTo>
                            <a:pt x="1531" y="2149"/>
                          </a:lnTo>
                          <a:lnTo>
                            <a:pt x="1532" y="2149"/>
                          </a:lnTo>
                          <a:lnTo>
                            <a:pt x="1532" y="2149"/>
                          </a:lnTo>
                          <a:lnTo>
                            <a:pt x="1547" y="2149"/>
                          </a:lnTo>
                          <a:lnTo>
                            <a:pt x="1560" y="2147"/>
                          </a:lnTo>
                          <a:lnTo>
                            <a:pt x="1574" y="2144"/>
                          </a:lnTo>
                          <a:lnTo>
                            <a:pt x="1585" y="2141"/>
                          </a:lnTo>
                          <a:lnTo>
                            <a:pt x="1595" y="2137"/>
                          </a:lnTo>
                          <a:lnTo>
                            <a:pt x="1605" y="2132"/>
                          </a:lnTo>
                          <a:lnTo>
                            <a:pt x="1614" y="2125"/>
                          </a:lnTo>
                          <a:lnTo>
                            <a:pt x="1622" y="2119"/>
                          </a:lnTo>
                          <a:lnTo>
                            <a:pt x="1630" y="2110"/>
                          </a:lnTo>
                          <a:lnTo>
                            <a:pt x="1634" y="2100"/>
                          </a:lnTo>
                          <a:lnTo>
                            <a:pt x="1640" y="2091"/>
                          </a:lnTo>
                          <a:lnTo>
                            <a:pt x="1644" y="2080"/>
                          </a:lnTo>
                          <a:lnTo>
                            <a:pt x="1648" y="2068"/>
                          </a:lnTo>
                          <a:lnTo>
                            <a:pt x="1650" y="2055"/>
                          </a:lnTo>
                          <a:lnTo>
                            <a:pt x="1651" y="2042"/>
                          </a:lnTo>
                          <a:lnTo>
                            <a:pt x="1651" y="2026"/>
                          </a:lnTo>
                          <a:lnTo>
                            <a:pt x="1651" y="1805"/>
                          </a:lnTo>
                          <a:lnTo>
                            <a:pt x="1591" y="1805"/>
                          </a:lnTo>
                          <a:lnTo>
                            <a:pt x="1591" y="1822"/>
                          </a:lnTo>
                          <a:close/>
                          <a:moveTo>
                            <a:pt x="1591" y="1879"/>
                          </a:moveTo>
                          <a:lnTo>
                            <a:pt x="1591" y="1975"/>
                          </a:lnTo>
                          <a:lnTo>
                            <a:pt x="1591" y="1975"/>
                          </a:lnTo>
                          <a:lnTo>
                            <a:pt x="1583" y="1984"/>
                          </a:lnTo>
                          <a:lnTo>
                            <a:pt x="1574" y="1992"/>
                          </a:lnTo>
                          <a:lnTo>
                            <a:pt x="1569" y="1995"/>
                          </a:lnTo>
                          <a:lnTo>
                            <a:pt x="1563" y="1997"/>
                          </a:lnTo>
                          <a:lnTo>
                            <a:pt x="1555" y="1998"/>
                          </a:lnTo>
                          <a:lnTo>
                            <a:pt x="1548" y="2000"/>
                          </a:lnTo>
                          <a:lnTo>
                            <a:pt x="1548" y="2000"/>
                          </a:lnTo>
                          <a:lnTo>
                            <a:pt x="1540" y="1998"/>
                          </a:lnTo>
                          <a:lnTo>
                            <a:pt x="1532" y="1996"/>
                          </a:lnTo>
                          <a:lnTo>
                            <a:pt x="1524" y="1991"/>
                          </a:lnTo>
                          <a:lnTo>
                            <a:pt x="1518" y="1985"/>
                          </a:lnTo>
                          <a:lnTo>
                            <a:pt x="1512" y="1975"/>
                          </a:lnTo>
                          <a:lnTo>
                            <a:pt x="1507" y="1962"/>
                          </a:lnTo>
                          <a:lnTo>
                            <a:pt x="1503" y="1945"/>
                          </a:lnTo>
                          <a:lnTo>
                            <a:pt x="1502" y="1923"/>
                          </a:lnTo>
                          <a:lnTo>
                            <a:pt x="1502" y="1923"/>
                          </a:lnTo>
                          <a:lnTo>
                            <a:pt x="1503" y="1904"/>
                          </a:lnTo>
                          <a:lnTo>
                            <a:pt x="1507" y="1889"/>
                          </a:lnTo>
                          <a:lnTo>
                            <a:pt x="1512" y="1877"/>
                          </a:lnTo>
                          <a:lnTo>
                            <a:pt x="1518" y="1868"/>
                          </a:lnTo>
                          <a:lnTo>
                            <a:pt x="1524" y="1861"/>
                          </a:lnTo>
                          <a:lnTo>
                            <a:pt x="1532" y="1857"/>
                          </a:lnTo>
                          <a:lnTo>
                            <a:pt x="1540" y="1855"/>
                          </a:lnTo>
                          <a:lnTo>
                            <a:pt x="1548" y="1855"/>
                          </a:lnTo>
                          <a:lnTo>
                            <a:pt x="1548" y="1855"/>
                          </a:lnTo>
                          <a:lnTo>
                            <a:pt x="1555" y="1855"/>
                          </a:lnTo>
                          <a:lnTo>
                            <a:pt x="1563" y="1857"/>
                          </a:lnTo>
                          <a:lnTo>
                            <a:pt x="1570" y="1860"/>
                          </a:lnTo>
                          <a:lnTo>
                            <a:pt x="1575" y="1862"/>
                          </a:lnTo>
                          <a:lnTo>
                            <a:pt x="1580" y="1867"/>
                          </a:lnTo>
                          <a:lnTo>
                            <a:pt x="1585" y="1871"/>
                          </a:lnTo>
                          <a:lnTo>
                            <a:pt x="1591" y="1879"/>
                          </a:lnTo>
                          <a:lnTo>
                            <a:pt x="1591" y="1879"/>
                          </a:lnTo>
                          <a:close/>
                          <a:moveTo>
                            <a:pt x="1840" y="1865"/>
                          </a:moveTo>
                          <a:lnTo>
                            <a:pt x="1840" y="1865"/>
                          </a:lnTo>
                          <a:lnTo>
                            <a:pt x="1854" y="1857"/>
                          </a:lnTo>
                          <a:lnTo>
                            <a:pt x="1869" y="1852"/>
                          </a:lnTo>
                          <a:lnTo>
                            <a:pt x="1885" y="1849"/>
                          </a:lnTo>
                          <a:lnTo>
                            <a:pt x="1902" y="1848"/>
                          </a:lnTo>
                          <a:lnTo>
                            <a:pt x="1902" y="1848"/>
                          </a:lnTo>
                          <a:lnTo>
                            <a:pt x="1913" y="1849"/>
                          </a:lnTo>
                          <a:lnTo>
                            <a:pt x="1921" y="1850"/>
                          </a:lnTo>
                          <a:lnTo>
                            <a:pt x="1928" y="1852"/>
                          </a:lnTo>
                          <a:lnTo>
                            <a:pt x="1935" y="1857"/>
                          </a:lnTo>
                          <a:lnTo>
                            <a:pt x="1939" y="1862"/>
                          </a:lnTo>
                          <a:lnTo>
                            <a:pt x="1943" y="1868"/>
                          </a:lnTo>
                          <a:lnTo>
                            <a:pt x="1945" y="1874"/>
                          </a:lnTo>
                          <a:lnTo>
                            <a:pt x="1945" y="1883"/>
                          </a:lnTo>
                          <a:lnTo>
                            <a:pt x="1945" y="1900"/>
                          </a:lnTo>
                          <a:lnTo>
                            <a:pt x="1945" y="1900"/>
                          </a:lnTo>
                          <a:lnTo>
                            <a:pt x="1935" y="1895"/>
                          </a:lnTo>
                          <a:lnTo>
                            <a:pt x="1921" y="1891"/>
                          </a:lnTo>
                          <a:lnTo>
                            <a:pt x="1908" y="1889"/>
                          </a:lnTo>
                          <a:lnTo>
                            <a:pt x="1893" y="1888"/>
                          </a:lnTo>
                          <a:lnTo>
                            <a:pt x="1893" y="1888"/>
                          </a:lnTo>
                          <a:lnTo>
                            <a:pt x="1876" y="1889"/>
                          </a:lnTo>
                          <a:lnTo>
                            <a:pt x="1859" y="1893"/>
                          </a:lnTo>
                          <a:lnTo>
                            <a:pt x="1843" y="1897"/>
                          </a:lnTo>
                          <a:lnTo>
                            <a:pt x="1835" y="1901"/>
                          </a:lnTo>
                          <a:lnTo>
                            <a:pt x="1828" y="1906"/>
                          </a:lnTo>
                          <a:lnTo>
                            <a:pt x="1822" y="1911"/>
                          </a:lnTo>
                          <a:lnTo>
                            <a:pt x="1815" y="1917"/>
                          </a:lnTo>
                          <a:lnTo>
                            <a:pt x="1809" y="1923"/>
                          </a:lnTo>
                          <a:lnTo>
                            <a:pt x="1805" y="1930"/>
                          </a:lnTo>
                          <a:lnTo>
                            <a:pt x="1801" y="1939"/>
                          </a:lnTo>
                          <a:lnTo>
                            <a:pt x="1798" y="1948"/>
                          </a:lnTo>
                          <a:lnTo>
                            <a:pt x="1797" y="1958"/>
                          </a:lnTo>
                          <a:lnTo>
                            <a:pt x="1796" y="1968"/>
                          </a:lnTo>
                          <a:lnTo>
                            <a:pt x="1796" y="1968"/>
                          </a:lnTo>
                          <a:lnTo>
                            <a:pt x="1797" y="1980"/>
                          </a:lnTo>
                          <a:lnTo>
                            <a:pt x="1798" y="1991"/>
                          </a:lnTo>
                          <a:lnTo>
                            <a:pt x="1801" y="2000"/>
                          </a:lnTo>
                          <a:lnTo>
                            <a:pt x="1805" y="2009"/>
                          </a:lnTo>
                          <a:lnTo>
                            <a:pt x="1808" y="2017"/>
                          </a:lnTo>
                          <a:lnTo>
                            <a:pt x="1814" y="2024"/>
                          </a:lnTo>
                          <a:lnTo>
                            <a:pt x="1819" y="2030"/>
                          </a:lnTo>
                          <a:lnTo>
                            <a:pt x="1826" y="2036"/>
                          </a:lnTo>
                          <a:lnTo>
                            <a:pt x="1832" y="2041"/>
                          </a:lnTo>
                          <a:lnTo>
                            <a:pt x="1840" y="2045"/>
                          </a:lnTo>
                          <a:lnTo>
                            <a:pt x="1856" y="2051"/>
                          </a:lnTo>
                          <a:lnTo>
                            <a:pt x="1871" y="2054"/>
                          </a:lnTo>
                          <a:lnTo>
                            <a:pt x="1887" y="2055"/>
                          </a:lnTo>
                          <a:lnTo>
                            <a:pt x="1887" y="2055"/>
                          </a:lnTo>
                          <a:lnTo>
                            <a:pt x="1901" y="2053"/>
                          </a:lnTo>
                          <a:lnTo>
                            <a:pt x="1909" y="2052"/>
                          </a:lnTo>
                          <a:lnTo>
                            <a:pt x="1916" y="2049"/>
                          </a:lnTo>
                          <a:lnTo>
                            <a:pt x="1925" y="2046"/>
                          </a:lnTo>
                          <a:lnTo>
                            <a:pt x="1932" y="2041"/>
                          </a:lnTo>
                          <a:lnTo>
                            <a:pt x="1939" y="2036"/>
                          </a:lnTo>
                          <a:lnTo>
                            <a:pt x="1945" y="2030"/>
                          </a:lnTo>
                          <a:lnTo>
                            <a:pt x="1945" y="2049"/>
                          </a:lnTo>
                          <a:lnTo>
                            <a:pt x="2006" y="2049"/>
                          </a:lnTo>
                          <a:lnTo>
                            <a:pt x="2006" y="1884"/>
                          </a:lnTo>
                          <a:lnTo>
                            <a:pt x="2006" y="1884"/>
                          </a:lnTo>
                          <a:lnTo>
                            <a:pt x="2006" y="1874"/>
                          </a:lnTo>
                          <a:lnTo>
                            <a:pt x="2005" y="1866"/>
                          </a:lnTo>
                          <a:lnTo>
                            <a:pt x="2003" y="1857"/>
                          </a:lnTo>
                          <a:lnTo>
                            <a:pt x="2000" y="1849"/>
                          </a:lnTo>
                          <a:lnTo>
                            <a:pt x="1995" y="1842"/>
                          </a:lnTo>
                          <a:lnTo>
                            <a:pt x="1992" y="1834"/>
                          </a:lnTo>
                          <a:lnTo>
                            <a:pt x="1986" y="1828"/>
                          </a:lnTo>
                          <a:lnTo>
                            <a:pt x="1979" y="1822"/>
                          </a:lnTo>
                          <a:lnTo>
                            <a:pt x="1973" y="1817"/>
                          </a:lnTo>
                          <a:lnTo>
                            <a:pt x="1966" y="1812"/>
                          </a:lnTo>
                          <a:lnTo>
                            <a:pt x="1958" y="1809"/>
                          </a:lnTo>
                          <a:lnTo>
                            <a:pt x="1949" y="1805"/>
                          </a:lnTo>
                          <a:lnTo>
                            <a:pt x="1939" y="1803"/>
                          </a:lnTo>
                          <a:lnTo>
                            <a:pt x="1930" y="1801"/>
                          </a:lnTo>
                          <a:lnTo>
                            <a:pt x="1919" y="1800"/>
                          </a:lnTo>
                          <a:lnTo>
                            <a:pt x="1908" y="1799"/>
                          </a:lnTo>
                          <a:lnTo>
                            <a:pt x="1908" y="1799"/>
                          </a:lnTo>
                          <a:lnTo>
                            <a:pt x="1894" y="1800"/>
                          </a:lnTo>
                          <a:lnTo>
                            <a:pt x="1883" y="1800"/>
                          </a:lnTo>
                          <a:lnTo>
                            <a:pt x="1871" y="1803"/>
                          </a:lnTo>
                          <a:lnTo>
                            <a:pt x="1859" y="1805"/>
                          </a:lnTo>
                          <a:lnTo>
                            <a:pt x="1848" y="1809"/>
                          </a:lnTo>
                          <a:lnTo>
                            <a:pt x="1837" y="1812"/>
                          </a:lnTo>
                          <a:lnTo>
                            <a:pt x="1826" y="1817"/>
                          </a:lnTo>
                          <a:lnTo>
                            <a:pt x="1815" y="1823"/>
                          </a:lnTo>
                          <a:lnTo>
                            <a:pt x="1840" y="1865"/>
                          </a:lnTo>
                          <a:close/>
                          <a:moveTo>
                            <a:pt x="1857" y="1968"/>
                          </a:moveTo>
                          <a:lnTo>
                            <a:pt x="1857" y="1968"/>
                          </a:lnTo>
                          <a:lnTo>
                            <a:pt x="1857" y="1961"/>
                          </a:lnTo>
                          <a:lnTo>
                            <a:pt x="1859" y="1953"/>
                          </a:lnTo>
                          <a:lnTo>
                            <a:pt x="1863" y="1947"/>
                          </a:lnTo>
                          <a:lnTo>
                            <a:pt x="1868" y="1942"/>
                          </a:lnTo>
                          <a:lnTo>
                            <a:pt x="1874" y="1939"/>
                          </a:lnTo>
                          <a:lnTo>
                            <a:pt x="1881" y="1936"/>
                          </a:lnTo>
                          <a:lnTo>
                            <a:pt x="1890" y="1934"/>
                          </a:lnTo>
                          <a:lnTo>
                            <a:pt x="1898" y="1934"/>
                          </a:lnTo>
                          <a:lnTo>
                            <a:pt x="1898" y="1934"/>
                          </a:lnTo>
                          <a:lnTo>
                            <a:pt x="1911" y="1934"/>
                          </a:lnTo>
                          <a:lnTo>
                            <a:pt x="1924" y="1936"/>
                          </a:lnTo>
                          <a:lnTo>
                            <a:pt x="1935" y="1940"/>
                          </a:lnTo>
                          <a:lnTo>
                            <a:pt x="1945" y="1946"/>
                          </a:lnTo>
                          <a:lnTo>
                            <a:pt x="1945" y="1979"/>
                          </a:lnTo>
                          <a:lnTo>
                            <a:pt x="1945" y="1979"/>
                          </a:lnTo>
                          <a:lnTo>
                            <a:pt x="1943" y="1984"/>
                          </a:lnTo>
                          <a:lnTo>
                            <a:pt x="1938" y="1989"/>
                          </a:lnTo>
                          <a:lnTo>
                            <a:pt x="1933" y="1993"/>
                          </a:lnTo>
                          <a:lnTo>
                            <a:pt x="1927" y="1997"/>
                          </a:lnTo>
                          <a:lnTo>
                            <a:pt x="1921" y="2001"/>
                          </a:lnTo>
                          <a:lnTo>
                            <a:pt x="1914" y="2003"/>
                          </a:lnTo>
                          <a:lnTo>
                            <a:pt x="1907" y="2004"/>
                          </a:lnTo>
                          <a:lnTo>
                            <a:pt x="1898" y="2006"/>
                          </a:lnTo>
                          <a:lnTo>
                            <a:pt x="1898" y="2006"/>
                          </a:lnTo>
                          <a:lnTo>
                            <a:pt x="1890" y="2004"/>
                          </a:lnTo>
                          <a:lnTo>
                            <a:pt x="1881" y="2002"/>
                          </a:lnTo>
                          <a:lnTo>
                            <a:pt x="1874" y="2000"/>
                          </a:lnTo>
                          <a:lnTo>
                            <a:pt x="1868" y="1995"/>
                          </a:lnTo>
                          <a:lnTo>
                            <a:pt x="1863" y="1990"/>
                          </a:lnTo>
                          <a:lnTo>
                            <a:pt x="1859" y="1984"/>
                          </a:lnTo>
                          <a:lnTo>
                            <a:pt x="1858" y="1976"/>
                          </a:lnTo>
                          <a:lnTo>
                            <a:pt x="1857" y="1968"/>
                          </a:lnTo>
                          <a:lnTo>
                            <a:pt x="1857" y="1968"/>
                          </a:lnTo>
                          <a:close/>
                          <a:moveTo>
                            <a:pt x="2569" y="1979"/>
                          </a:moveTo>
                          <a:lnTo>
                            <a:pt x="2569" y="1979"/>
                          </a:lnTo>
                          <a:lnTo>
                            <a:pt x="2560" y="1986"/>
                          </a:lnTo>
                          <a:lnTo>
                            <a:pt x="2549" y="1992"/>
                          </a:lnTo>
                          <a:lnTo>
                            <a:pt x="2543" y="1995"/>
                          </a:lnTo>
                          <a:lnTo>
                            <a:pt x="2536" y="1997"/>
                          </a:lnTo>
                          <a:lnTo>
                            <a:pt x="2529" y="1998"/>
                          </a:lnTo>
                          <a:lnTo>
                            <a:pt x="2521" y="2000"/>
                          </a:lnTo>
                          <a:lnTo>
                            <a:pt x="2521" y="2000"/>
                          </a:lnTo>
                          <a:lnTo>
                            <a:pt x="2515" y="1998"/>
                          </a:lnTo>
                          <a:lnTo>
                            <a:pt x="2508" y="1998"/>
                          </a:lnTo>
                          <a:lnTo>
                            <a:pt x="2500" y="1996"/>
                          </a:lnTo>
                          <a:lnTo>
                            <a:pt x="2490" y="1991"/>
                          </a:lnTo>
                          <a:lnTo>
                            <a:pt x="2481" y="1985"/>
                          </a:lnTo>
                          <a:lnTo>
                            <a:pt x="2478" y="1980"/>
                          </a:lnTo>
                          <a:lnTo>
                            <a:pt x="2474" y="1975"/>
                          </a:lnTo>
                          <a:lnTo>
                            <a:pt x="2472" y="1969"/>
                          </a:lnTo>
                          <a:lnTo>
                            <a:pt x="2469" y="1962"/>
                          </a:lnTo>
                          <a:lnTo>
                            <a:pt x="2468" y="1955"/>
                          </a:lnTo>
                          <a:lnTo>
                            <a:pt x="2467" y="1946"/>
                          </a:lnTo>
                          <a:lnTo>
                            <a:pt x="2616" y="1946"/>
                          </a:lnTo>
                          <a:lnTo>
                            <a:pt x="2616" y="1946"/>
                          </a:lnTo>
                          <a:lnTo>
                            <a:pt x="2617" y="1928"/>
                          </a:lnTo>
                          <a:lnTo>
                            <a:pt x="2617" y="1928"/>
                          </a:lnTo>
                          <a:lnTo>
                            <a:pt x="2617" y="1913"/>
                          </a:lnTo>
                          <a:lnTo>
                            <a:pt x="2615" y="1900"/>
                          </a:lnTo>
                          <a:lnTo>
                            <a:pt x="2614" y="1886"/>
                          </a:lnTo>
                          <a:lnTo>
                            <a:pt x="2610" y="1874"/>
                          </a:lnTo>
                          <a:lnTo>
                            <a:pt x="2607" y="1863"/>
                          </a:lnTo>
                          <a:lnTo>
                            <a:pt x="2602" y="1852"/>
                          </a:lnTo>
                          <a:lnTo>
                            <a:pt x="2596" y="1843"/>
                          </a:lnTo>
                          <a:lnTo>
                            <a:pt x="2589" y="1834"/>
                          </a:lnTo>
                          <a:lnTo>
                            <a:pt x="2582" y="1826"/>
                          </a:lnTo>
                          <a:lnTo>
                            <a:pt x="2575" y="1820"/>
                          </a:lnTo>
                          <a:lnTo>
                            <a:pt x="2566" y="1814"/>
                          </a:lnTo>
                          <a:lnTo>
                            <a:pt x="2557" y="1809"/>
                          </a:lnTo>
                          <a:lnTo>
                            <a:pt x="2547" y="1805"/>
                          </a:lnTo>
                          <a:lnTo>
                            <a:pt x="2537" y="1801"/>
                          </a:lnTo>
                          <a:lnTo>
                            <a:pt x="2526" y="1800"/>
                          </a:lnTo>
                          <a:lnTo>
                            <a:pt x="2514" y="1799"/>
                          </a:lnTo>
                          <a:lnTo>
                            <a:pt x="2514" y="1799"/>
                          </a:lnTo>
                          <a:lnTo>
                            <a:pt x="2503" y="1800"/>
                          </a:lnTo>
                          <a:lnTo>
                            <a:pt x="2492" y="1801"/>
                          </a:lnTo>
                          <a:lnTo>
                            <a:pt x="2481" y="1805"/>
                          </a:lnTo>
                          <a:lnTo>
                            <a:pt x="2470" y="1809"/>
                          </a:lnTo>
                          <a:lnTo>
                            <a:pt x="2461" y="1814"/>
                          </a:lnTo>
                          <a:lnTo>
                            <a:pt x="2452" y="1821"/>
                          </a:lnTo>
                          <a:lnTo>
                            <a:pt x="2444" y="1827"/>
                          </a:lnTo>
                          <a:lnTo>
                            <a:pt x="2436" y="1835"/>
                          </a:lnTo>
                          <a:lnTo>
                            <a:pt x="2429" y="1844"/>
                          </a:lnTo>
                          <a:lnTo>
                            <a:pt x="2423" y="1854"/>
                          </a:lnTo>
                          <a:lnTo>
                            <a:pt x="2418" y="1865"/>
                          </a:lnTo>
                          <a:lnTo>
                            <a:pt x="2413" y="1876"/>
                          </a:lnTo>
                          <a:lnTo>
                            <a:pt x="2410" y="1888"/>
                          </a:lnTo>
                          <a:lnTo>
                            <a:pt x="2407" y="1901"/>
                          </a:lnTo>
                          <a:lnTo>
                            <a:pt x="2406" y="1913"/>
                          </a:lnTo>
                          <a:lnTo>
                            <a:pt x="2405" y="1928"/>
                          </a:lnTo>
                          <a:lnTo>
                            <a:pt x="2405" y="1928"/>
                          </a:lnTo>
                          <a:lnTo>
                            <a:pt x="2406" y="1941"/>
                          </a:lnTo>
                          <a:lnTo>
                            <a:pt x="2407" y="1955"/>
                          </a:lnTo>
                          <a:lnTo>
                            <a:pt x="2410" y="1968"/>
                          </a:lnTo>
                          <a:lnTo>
                            <a:pt x="2413" y="1980"/>
                          </a:lnTo>
                          <a:lnTo>
                            <a:pt x="2418" y="1991"/>
                          </a:lnTo>
                          <a:lnTo>
                            <a:pt x="2423" y="2002"/>
                          </a:lnTo>
                          <a:lnTo>
                            <a:pt x="2429" y="2012"/>
                          </a:lnTo>
                          <a:lnTo>
                            <a:pt x="2436" y="2020"/>
                          </a:lnTo>
                          <a:lnTo>
                            <a:pt x="2445" y="2028"/>
                          </a:lnTo>
                          <a:lnTo>
                            <a:pt x="2453" y="2035"/>
                          </a:lnTo>
                          <a:lnTo>
                            <a:pt x="2463" y="2041"/>
                          </a:lnTo>
                          <a:lnTo>
                            <a:pt x="2473" y="2046"/>
                          </a:lnTo>
                          <a:lnTo>
                            <a:pt x="2484" y="2049"/>
                          </a:lnTo>
                          <a:lnTo>
                            <a:pt x="2496" y="2053"/>
                          </a:lnTo>
                          <a:lnTo>
                            <a:pt x="2508" y="2054"/>
                          </a:lnTo>
                          <a:lnTo>
                            <a:pt x="2521" y="2055"/>
                          </a:lnTo>
                          <a:lnTo>
                            <a:pt x="2521" y="2055"/>
                          </a:lnTo>
                          <a:lnTo>
                            <a:pt x="2534" y="2054"/>
                          </a:lnTo>
                          <a:lnTo>
                            <a:pt x="2545" y="2053"/>
                          </a:lnTo>
                          <a:lnTo>
                            <a:pt x="2557" y="2049"/>
                          </a:lnTo>
                          <a:lnTo>
                            <a:pt x="2568" y="2046"/>
                          </a:lnTo>
                          <a:lnTo>
                            <a:pt x="2579" y="2040"/>
                          </a:lnTo>
                          <a:lnTo>
                            <a:pt x="2588" y="2034"/>
                          </a:lnTo>
                          <a:lnTo>
                            <a:pt x="2598" y="2025"/>
                          </a:lnTo>
                          <a:lnTo>
                            <a:pt x="2608" y="2017"/>
                          </a:lnTo>
                          <a:lnTo>
                            <a:pt x="2569" y="1979"/>
                          </a:lnTo>
                          <a:close/>
                          <a:moveTo>
                            <a:pt x="2468" y="1901"/>
                          </a:moveTo>
                          <a:lnTo>
                            <a:pt x="2468" y="1901"/>
                          </a:lnTo>
                          <a:lnTo>
                            <a:pt x="2469" y="1890"/>
                          </a:lnTo>
                          <a:lnTo>
                            <a:pt x="2472" y="1880"/>
                          </a:lnTo>
                          <a:lnTo>
                            <a:pt x="2475" y="1872"/>
                          </a:lnTo>
                          <a:lnTo>
                            <a:pt x="2481" y="1865"/>
                          </a:lnTo>
                          <a:lnTo>
                            <a:pt x="2487" y="1859"/>
                          </a:lnTo>
                          <a:lnTo>
                            <a:pt x="2495" y="1855"/>
                          </a:lnTo>
                          <a:lnTo>
                            <a:pt x="2503" y="1851"/>
                          </a:lnTo>
                          <a:lnTo>
                            <a:pt x="2513" y="1851"/>
                          </a:lnTo>
                          <a:lnTo>
                            <a:pt x="2513" y="1851"/>
                          </a:lnTo>
                          <a:lnTo>
                            <a:pt x="2524" y="1852"/>
                          </a:lnTo>
                          <a:lnTo>
                            <a:pt x="2534" y="1855"/>
                          </a:lnTo>
                          <a:lnTo>
                            <a:pt x="2541" y="1860"/>
                          </a:lnTo>
                          <a:lnTo>
                            <a:pt x="2547" y="1867"/>
                          </a:lnTo>
                          <a:lnTo>
                            <a:pt x="2552" y="1874"/>
                          </a:lnTo>
                          <a:lnTo>
                            <a:pt x="2555" y="1883"/>
                          </a:lnTo>
                          <a:lnTo>
                            <a:pt x="2558" y="1893"/>
                          </a:lnTo>
                          <a:lnTo>
                            <a:pt x="2559" y="1901"/>
                          </a:lnTo>
                          <a:lnTo>
                            <a:pt x="2468" y="1901"/>
                          </a:lnTo>
                          <a:close/>
                          <a:moveTo>
                            <a:pt x="3153" y="1979"/>
                          </a:moveTo>
                          <a:lnTo>
                            <a:pt x="3153" y="1979"/>
                          </a:lnTo>
                          <a:lnTo>
                            <a:pt x="3144" y="1986"/>
                          </a:lnTo>
                          <a:lnTo>
                            <a:pt x="3134" y="1992"/>
                          </a:lnTo>
                          <a:lnTo>
                            <a:pt x="3127" y="1995"/>
                          </a:lnTo>
                          <a:lnTo>
                            <a:pt x="3121" y="1997"/>
                          </a:lnTo>
                          <a:lnTo>
                            <a:pt x="3113" y="1998"/>
                          </a:lnTo>
                          <a:lnTo>
                            <a:pt x="3105" y="2000"/>
                          </a:lnTo>
                          <a:lnTo>
                            <a:pt x="3105" y="2000"/>
                          </a:lnTo>
                          <a:lnTo>
                            <a:pt x="3099" y="1998"/>
                          </a:lnTo>
                          <a:lnTo>
                            <a:pt x="3091" y="1998"/>
                          </a:lnTo>
                          <a:lnTo>
                            <a:pt x="3083" y="1996"/>
                          </a:lnTo>
                          <a:lnTo>
                            <a:pt x="3074" y="1991"/>
                          </a:lnTo>
                          <a:lnTo>
                            <a:pt x="3066" y="1985"/>
                          </a:lnTo>
                          <a:lnTo>
                            <a:pt x="3062" y="1980"/>
                          </a:lnTo>
                          <a:lnTo>
                            <a:pt x="3059" y="1975"/>
                          </a:lnTo>
                          <a:lnTo>
                            <a:pt x="3056" y="1969"/>
                          </a:lnTo>
                          <a:lnTo>
                            <a:pt x="3054" y="1962"/>
                          </a:lnTo>
                          <a:lnTo>
                            <a:pt x="3051" y="1955"/>
                          </a:lnTo>
                          <a:lnTo>
                            <a:pt x="3050" y="1946"/>
                          </a:lnTo>
                          <a:lnTo>
                            <a:pt x="3201" y="1946"/>
                          </a:lnTo>
                          <a:lnTo>
                            <a:pt x="3201" y="1946"/>
                          </a:lnTo>
                          <a:lnTo>
                            <a:pt x="3202" y="1928"/>
                          </a:lnTo>
                          <a:lnTo>
                            <a:pt x="3202" y="1928"/>
                          </a:lnTo>
                          <a:lnTo>
                            <a:pt x="3201" y="1913"/>
                          </a:lnTo>
                          <a:lnTo>
                            <a:pt x="3199" y="1900"/>
                          </a:lnTo>
                          <a:lnTo>
                            <a:pt x="3197" y="1886"/>
                          </a:lnTo>
                          <a:lnTo>
                            <a:pt x="3195" y="1874"/>
                          </a:lnTo>
                          <a:lnTo>
                            <a:pt x="3190" y="1863"/>
                          </a:lnTo>
                          <a:lnTo>
                            <a:pt x="3185" y="1852"/>
                          </a:lnTo>
                          <a:lnTo>
                            <a:pt x="3180" y="1843"/>
                          </a:lnTo>
                          <a:lnTo>
                            <a:pt x="3174" y="1834"/>
                          </a:lnTo>
                          <a:lnTo>
                            <a:pt x="3167" y="1826"/>
                          </a:lnTo>
                          <a:lnTo>
                            <a:pt x="3158" y="1820"/>
                          </a:lnTo>
                          <a:lnTo>
                            <a:pt x="3150" y="1814"/>
                          </a:lnTo>
                          <a:lnTo>
                            <a:pt x="3141" y="1809"/>
                          </a:lnTo>
                          <a:lnTo>
                            <a:pt x="3131" y="1805"/>
                          </a:lnTo>
                          <a:lnTo>
                            <a:pt x="3121" y="1801"/>
                          </a:lnTo>
                          <a:lnTo>
                            <a:pt x="3110" y="1800"/>
                          </a:lnTo>
                          <a:lnTo>
                            <a:pt x="3099" y="1799"/>
                          </a:lnTo>
                          <a:lnTo>
                            <a:pt x="3099" y="1799"/>
                          </a:lnTo>
                          <a:lnTo>
                            <a:pt x="3086" y="1800"/>
                          </a:lnTo>
                          <a:lnTo>
                            <a:pt x="3076" y="1801"/>
                          </a:lnTo>
                          <a:lnTo>
                            <a:pt x="3065" y="1805"/>
                          </a:lnTo>
                          <a:lnTo>
                            <a:pt x="3055" y="1809"/>
                          </a:lnTo>
                          <a:lnTo>
                            <a:pt x="3045" y="1814"/>
                          </a:lnTo>
                          <a:lnTo>
                            <a:pt x="3035" y="1821"/>
                          </a:lnTo>
                          <a:lnTo>
                            <a:pt x="3028" y="1827"/>
                          </a:lnTo>
                          <a:lnTo>
                            <a:pt x="3020" y="1835"/>
                          </a:lnTo>
                          <a:lnTo>
                            <a:pt x="3012" y="1844"/>
                          </a:lnTo>
                          <a:lnTo>
                            <a:pt x="3006" y="1854"/>
                          </a:lnTo>
                          <a:lnTo>
                            <a:pt x="3001" y="1865"/>
                          </a:lnTo>
                          <a:lnTo>
                            <a:pt x="2997" y="1876"/>
                          </a:lnTo>
                          <a:lnTo>
                            <a:pt x="2994" y="1888"/>
                          </a:lnTo>
                          <a:lnTo>
                            <a:pt x="2990" y="1901"/>
                          </a:lnTo>
                          <a:lnTo>
                            <a:pt x="2989" y="1913"/>
                          </a:lnTo>
                          <a:lnTo>
                            <a:pt x="2989" y="1928"/>
                          </a:lnTo>
                          <a:lnTo>
                            <a:pt x="2989" y="1928"/>
                          </a:lnTo>
                          <a:lnTo>
                            <a:pt x="2989" y="1941"/>
                          </a:lnTo>
                          <a:lnTo>
                            <a:pt x="2990" y="1955"/>
                          </a:lnTo>
                          <a:lnTo>
                            <a:pt x="2993" y="1968"/>
                          </a:lnTo>
                          <a:lnTo>
                            <a:pt x="2997" y="1980"/>
                          </a:lnTo>
                          <a:lnTo>
                            <a:pt x="3001" y="1991"/>
                          </a:lnTo>
                          <a:lnTo>
                            <a:pt x="3008" y="2002"/>
                          </a:lnTo>
                          <a:lnTo>
                            <a:pt x="3014" y="2012"/>
                          </a:lnTo>
                          <a:lnTo>
                            <a:pt x="3021" y="2020"/>
                          </a:lnTo>
                          <a:lnTo>
                            <a:pt x="3028" y="2028"/>
                          </a:lnTo>
                          <a:lnTo>
                            <a:pt x="3037" y="2035"/>
                          </a:lnTo>
                          <a:lnTo>
                            <a:pt x="3046" y="2041"/>
                          </a:lnTo>
                          <a:lnTo>
                            <a:pt x="3057" y="2046"/>
                          </a:lnTo>
                          <a:lnTo>
                            <a:pt x="3068" y="2049"/>
                          </a:lnTo>
                          <a:lnTo>
                            <a:pt x="3079" y="2053"/>
                          </a:lnTo>
                          <a:lnTo>
                            <a:pt x="3093" y="2054"/>
                          </a:lnTo>
                          <a:lnTo>
                            <a:pt x="3105" y="2055"/>
                          </a:lnTo>
                          <a:lnTo>
                            <a:pt x="3105" y="2055"/>
                          </a:lnTo>
                          <a:lnTo>
                            <a:pt x="3117" y="2054"/>
                          </a:lnTo>
                          <a:lnTo>
                            <a:pt x="3129" y="2053"/>
                          </a:lnTo>
                          <a:lnTo>
                            <a:pt x="3140" y="2049"/>
                          </a:lnTo>
                          <a:lnTo>
                            <a:pt x="3151" y="2046"/>
                          </a:lnTo>
                          <a:lnTo>
                            <a:pt x="3162" y="2040"/>
                          </a:lnTo>
                          <a:lnTo>
                            <a:pt x="3173" y="2034"/>
                          </a:lnTo>
                          <a:lnTo>
                            <a:pt x="3182" y="2025"/>
                          </a:lnTo>
                          <a:lnTo>
                            <a:pt x="3191" y="2017"/>
                          </a:lnTo>
                          <a:lnTo>
                            <a:pt x="3153" y="1979"/>
                          </a:lnTo>
                          <a:close/>
                          <a:moveTo>
                            <a:pt x="3051" y="1901"/>
                          </a:moveTo>
                          <a:lnTo>
                            <a:pt x="3051" y="1901"/>
                          </a:lnTo>
                          <a:lnTo>
                            <a:pt x="3052" y="1890"/>
                          </a:lnTo>
                          <a:lnTo>
                            <a:pt x="3056" y="1880"/>
                          </a:lnTo>
                          <a:lnTo>
                            <a:pt x="3060" y="1872"/>
                          </a:lnTo>
                          <a:lnTo>
                            <a:pt x="3065" y="1865"/>
                          </a:lnTo>
                          <a:lnTo>
                            <a:pt x="3072" y="1859"/>
                          </a:lnTo>
                          <a:lnTo>
                            <a:pt x="3079" y="1855"/>
                          </a:lnTo>
                          <a:lnTo>
                            <a:pt x="3088" y="1851"/>
                          </a:lnTo>
                          <a:lnTo>
                            <a:pt x="3097" y="1851"/>
                          </a:lnTo>
                          <a:lnTo>
                            <a:pt x="3097" y="1851"/>
                          </a:lnTo>
                          <a:lnTo>
                            <a:pt x="3108" y="1852"/>
                          </a:lnTo>
                          <a:lnTo>
                            <a:pt x="3117" y="1855"/>
                          </a:lnTo>
                          <a:lnTo>
                            <a:pt x="3125" y="1860"/>
                          </a:lnTo>
                          <a:lnTo>
                            <a:pt x="3131" y="1867"/>
                          </a:lnTo>
                          <a:lnTo>
                            <a:pt x="3136" y="1874"/>
                          </a:lnTo>
                          <a:lnTo>
                            <a:pt x="3140" y="1883"/>
                          </a:lnTo>
                          <a:lnTo>
                            <a:pt x="3142" y="1893"/>
                          </a:lnTo>
                          <a:lnTo>
                            <a:pt x="3144" y="1901"/>
                          </a:lnTo>
                          <a:lnTo>
                            <a:pt x="3051" y="1901"/>
                          </a:lnTo>
                          <a:close/>
                          <a:moveTo>
                            <a:pt x="2905" y="1964"/>
                          </a:moveTo>
                          <a:lnTo>
                            <a:pt x="2905" y="1964"/>
                          </a:lnTo>
                          <a:lnTo>
                            <a:pt x="2905" y="1973"/>
                          </a:lnTo>
                          <a:lnTo>
                            <a:pt x="2907" y="1979"/>
                          </a:lnTo>
                          <a:lnTo>
                            <a:pt x="2909" y="1985"/>
                          </a:lnTo>
                          <a:lnTo>
                            <a:pt x="2912" y="1990"/>
                          </a:lnTo>
                          <a:lnTo>
                            <a:pt x="2915" y="1993"/>
                          </a:lnTo>
                          <a:lnTo>
                            <a:pt x="2920" y="1996"/>
                          </a:lnTo>
                          <a:lnTo>
                            <a:pt x="2925" y="1997"/>
                          </a:lnTo>
                          <a:lnTo>
                            <a:pt x="2932" y="1997"/>
                          </a:lnTo>
                          <a:lnTo>
                            <a:pt x="2932" y="1997"/>
                          </a:lnTo>
                          <a:lnTo>
                            <a:pt x="2941" y="1997"/>
                          </a:lnTo>
                          <a:lnTo>
                            <a:pt x="2950" y="1995"/>
                          </a:lnTo>
                          <a:lnTo>
                            <a:pt x="2960" y="1991"/>
                          </a:lnTo>
                          <a:lnTo>
                            <a:pt x="2969" y="1986"/>
                          </a:lnTo>
                          <a:lnTo>
                            <a:pt x="2961" y="2043"/>
                          </a:lnTo>
                          <a:lnTo>
                            <a:pt x="2961" y="2043"/>
                          </a:lnTo>
                          <a:lnTo>
                            <a:pt x="2950" y="2048"/>
                          </a:lnTo>
                          <a:lnTo>
                            <a:pt x="2937" y="2052"/>
                          </a:lnTo>
                          <a:lnTo>
                            <a:pt x="2924" y="2054"/>
                          </a:lnTo>
                          <a:lnTo>
                            <a:pt x="2910" y="2055"/>
                          </a:lnTo>
                          <a:lnTo>
                            <a:pt x="2910" y="2055"/>
                          </a:lnTo>
                          <a:lnTo>
                            <a:pt x="2902" y="2054"/>
                          </a:lnTo>
                          <a:lnTo>
                            <a:pt x="2893" y="2053"/>
                          </a:lnTo>
                          <a:lnTo>
                            <a:pt x="2886" y="2051"/>
                          </a:lnTo>
                          <a:lnTo>
                            <a:pt x="2880" y="2048"/>
                          </a:lnTo>
                          <a:lnTo>
                            <a:pt x="2874" y="2045"/>
                          </a:lnTo>
                          <a:lnTo>
                            <a:pt x="2868" y="2041"/>
                          </a:lnTo>
                          <a:lnTo>
                            <a:pt x="2864" y="2036"/>
                          </a:lnTo>
                          <a:lnTo>
                            <a:pt x="2859" y="2030"/>
                          </a:lnTo>
                          <a:lnTo>
                            <a:pt x="2853" y="2019"/>
                          </a:lnTo>
                          <a:lnTo>
                            <a:pt x="2848" y="2006"/>
                          </a:lnTo>
                          <a:lnTo>
                            <a:pt x="2846" y="1993"/>
                          </a:lnTo>
                          <a:lnTo>
                            <a:pt x="2845" y="1980"/>
                          </a:lnTo>
                          <a:lnTo>
                            <a:pt x="2845" y="1861"/>
                          </a:lnTo>
                          <a:lnTo>
                            <a:pt x="2807" y="1861"/>
                          </a:lnTo>
                          <a:lnTo>
                            <a:pt x="2807" y="1805"/>
                          </a:lnTo>
                          <a:lnTo>
                            <a:pt x="2845" y="1805"/>
                          </a:lnTo>
                          <a:lnTo>
                            <a:pt x="2845" y="1742"/>
                          </a:lnTo>
                          <a:lnTo>
                            <a:pt x="2905" y="1711"/>
                          </a:lnTo>
                          <a:lnTo>
                            <a:pt x="2905" y="1805"/>
                          </a:lnTo>
                          <a:lnTo>
                            <a:pt x="2960" y="1805"/>
                          </a:lnTo>
                          <a:lnTo>
                            <a:pt x="2960" y="1861"/>
                          </a:lnTo>
                          <a:lnTo>
                            <a:pt x="2905" y="1861"/>
                          </a:lnTo>
                          <a:lnTo>
                            <a:pt x="2905" y="1964"/>
                          </a:lnTo>
                          <a:close/>
                          <a:moveTo>
                            <a:pt x="2788" y="2043"/>
                          </a:moveTo>
                          <a:lnTo>
                            <a:pt x="2788" y="2043"/>
                          </a:lnTo>
                          <a:lnTo>
                            <a:pt x="2777" y="2048"/>
                          </a:lnTo>
                          <a:lnTo>
                            <a:pt x="2764" y="2052"/>
                          </a:lnTo>
                          <a:lnTo>
                            <a:pt x="2751" y="2054"/>
                          </a:lnTo>
                          <a:lnTo>
                            <a:pt x="2738" y="2055"/>
                          </a:lnTo>
                          <a:lnTo>
                            <a:pt x="2738" y="2055"/>
                          </a:lnTo>
                          <a:lnTo>
                            <a:pt x="2728" y="2054"/>
                          </a:lnTo>
                          <a:lnTo>
                            <a:pt x="2721" y="2053"/>
                          </a:lnTo>
                          <a:lnTo>
                            <a:pt x="2713" y="2051"/>
                          </a:lnTo>
                          <a:lnTo>
                            <a:pt x="2706" y="2048"/>
                          </a:lnTo>
                          <a:lnTo>
                            <a:pt x="2701" y="2045"/>
                          </a:lnTo>
                          <a:lnTo>
                            <a:pt x="2695" y="2041"/>
                          </a:lnTo>
                          <a:lnTo>
                            <a:pt x="2690" y="2036"/>
                          </a:lnTo>
                          <a:lnTo>
                            <a:pt x="2687" y="2030"/>
                          </a:lnTo>
                          <a:lnTo>
                            <a:pt x="2679" y="2019"/>
                          </a:lnTo>
                          <a:lnTo>
                            <a:pt x="2676" y="2006"/>
                          </a:lnTo>
                          <a:lnTo>
                            <a:pt x="2672" y="1993"/>
                          </a:lnTo>
                          <a:lnTo>
                            <a:pt x="2672" y="1980"/>
                          </a:lnTo>
                          <a:lnTo>
                            <a:pt x="2672" y="1861"/>
                          </a:lnTo>
                          <a:lnTo>
                            <a:pt x="2634" y="1861"/>
                          </a:lnTo>
                          <a:lnTo>
                            <a:pt x="2634" y="1805"/>
                          </a:lnTo>
                          <a:lnTo>
                            <a:pt x="2672" y="1805"/>
                          </a:lnTo>
                          <a:lnTo>
                            <a:pt x="2672" y="1742"/>
                          </a:lnTo>
                          <a:lnTo>
                            <a:pt x="2733" y="1711"/>
                          </a:lnTo>
                          <a:lnTo>
                            <a:pt x="2733" y="1805"/>
                          </a:lnTo>
                          <a:lnTo>
                            <a:pt x="2784" y="1805"/>
                          </a:lnTo>
                          <a:lnTo>
                            <a:pt x="2784" y="1861"/>
                          </a:lnTo>
                          <a:lnTo>
                            <a:pt x="2733" y="1861"/>
                          </a:lnTo>
                          <a:lnTo>
                            <a:pt x="2733" y="1964"/>
                          </a:lnTo>
                          <a:lnTo>
                            <a:pt x="2733" y="1964"/>
                          </a:lnTo>
                          <a:lnTo>
                            <a:pt x="2733" y="1973"/>
                          </a:lnTo>
                          <a:lnTo>
                            <a:pt x="2734" y="1979"/>
                          </a:lnTo>
                          <a:lnTo>
                            <a:pt x="2737" y="1985"/>
                          </a:lnTo>
                          <a:lnTo>
                            <a:pt x="2739" y="1990"/>
                          </a:lnTo>
                          <a:lnTo>
                            <a:pt x="2743" y="1993"/>
                          </a:lnTo>
                          <a:lnTo>
                            <a:pt x="2747" y="1996"/>
                          </a:lnTo>
                          <a:lnTo>
                            <a:pt x="2752" y="1997"/>
                          </a:lnTo>
                          <a:lnTo>
                            <a:pt x="2758" y="1997"/>
                          </a:lnTo>
                          <a:lnTo>
                            <a:pt x="2758" y="1997"/>
                          </a:lnTo>
                          <a:lnTo>
                            <a:pt x="2768" y="1997"/>
                          </a:lnTo>
                          <a:lnTo>
                            <a:pt x="2778" y="1995"/>
                          </a:lnTo>
                          <a:lnTo>
                            <a:pt x="2786" y="1991"/>
                          </a:lnTo>
                          <a:lnTo>
                            <a:pt x="2795" y="1986"/>
                          </a:lnTo>
                          <a:lnTo>
                            <a:pt x="2788" y="2043"/>
                          </a:lnTo>
                          <a:close/>
                          <a:moveTo>
                            <a:pt x="3384" y="1873"/>
                          </a:moveTo>
                          <a:lnTo>
                            <a:pt x="3384" y="1873"/>
                          </a:lnTo>
                          <a:lnTo>
                            <a:pt x="3376" y="1867"/>
                          </a:lnTo>
                          <a:lnTo>
                            <a:pt x="3366" y="1863"/>
                          </a:lnTo>
                          <a:lnTo>
                            <a:pt x="3355" y="1861"/>
                          </a:lnTo>
                          <a:lnTo>
                            <a:pt x="3344" y="1860"/>
                          </a:lnTo>
                          <a:lnTo>
                            <a:pt x="3344" y="1860"/>
                          </a:lnTo>
                          <a:lnTo>
                            <a:pt x="3334" y="1861"/>
                          </a:lnTo>
                          <a:lnTo>
                            <a:pt x="3325" y="1863"/>
                          </a:lnTo>
                          <a:lnTo>
                            <a:pt x="3317" y="1868"/>
                          </a:lnTo>
                          <a:lnTo>
                            <a:pt x="3311" y="1874"/>
                          </a:lnTo>
                          <a:lnTo>
                            <a:pt x="3306" y="1882"/>
                          </a:lnTo>
                          <a:lnTo>
                            <a:pt x="3304" y="1891"/>
                          </a:lnTo>
                          <a:lnTo>
                            <a:pt x="3302" y="1904"/>
                          </a:lnTo>
                          <a:lnTo>
                            <a:pt x="3300" y="1917"/>
                          </a:lnTo>
                          <a:lnTo>
                            <a:pt x="3300" y="2049"/>
                          </a:lnTo>
                          <a:lnTo>
                            <a:pt x="3241" y="2049"/>
                          </a:lnTo>
                          <a:lnTo>
                            <a:pt x="3241" y="1805"/>
                          </a:lnTo>
                          <a:lnTo>
                            <a:pt x="3300" y="1805"/>
                          </a:lnTo>
                          <a:lnTo>
                            <a:pt x="3300" y="1826"/>
                          </a:lnTo>
                          <a:lnTo>
                            <a:pt x="3300" y="1826"/>
                          </a:lnTo>
                          <a:lnTo>
                            <a:pt x="3306" y="1820"/>
                          </a:lnTo>
                          <a:lnTo>
                            <a:pt x="3313" y="1814"/>
                          </a:lnTo>
                          <a:lnTo>
                            <a:pt x="3319" y="1810"/>
                          </a:lnTo>
                          <a:lnTo>
                            <a:pt x="3326" y="1806"/>
                          </a:lnTo>
                          <a:lnTo>
                            <a:pt x="3332" y="1803"/>
                          </a:lnTo>
                          <a:lnTo>
                            <a:pt x="3339" y="1801"/>
                          </a:lnTo>
                          <a:lnTo>
                            <a:pt x="3347" y="1800"/>
                          </a:lnTo>
                          <a:lnTo>
                            <a:pt x="3355" y="1799"/>
                          </a:lnTo>
                          <a:lnTo>
                            <a:pt x="3355" y="1799"/>
                          </a:lnTo>
                          <a:lnTo>
                            <a:pt x="3367" y="1800"/>
                          </a:lnTo>
                          <a:lnTo>
                            <a:pt x="3379" y="1804"/>
                          </a:lnTo>
                          <a:lnTo>
                            <a:pt x="3390" y="1807"/>
                          </a:lnTo>
                          <a:lnTo>
                            <a:pt x="3400" y="1814"/>
                          </a:lnTo>
                          <a:lnTo>
                            <a:pt x="3384" y="1873"/>
                          </a:lnTo>
                          <a:close/>
                          <a:moveTo>
                            <a:pt x="653" y="1747"/>
                          </a:moveTo>
                          <a:lnTo>
                            <a:pt x="653" y="1770"/>
                          </a:lnTo>
                          <a:lnTo>
                            <a:pt x="592" y="1770"/>
                          </a:lnTo>
                          <a:lnTo>
                            <a:pt x="592" y="1709"/>
                          </a:lnTo>
                          <a:lnTo>
                            <a:pt x="653" y="1709"/>
                          </a:lnTo>
                          <a:lnTo>
                            <a:pt x="653" y="1747"/>
                          </a:lnTo>
                          <a:close/>
                          <a:moveTo>
                            <a:pt x="1073" y="1805"/>
                          </a:moveTo>
                          <a:lnTo>
                            <a:pt x="1134" y="1805"/>
                          </a:lnTo>
                          <a:lnTo>
                            <a:pt x="1134" y="1930"/>
                          </a:lnTo>
                          <a:lnTo>
                            <a:pt x="1134" y="2049"/>
                          </a:lnTo>
                          <a:lnTo>
                            <a:pt x="1073" y="2049"/>
                          </a:lnTo>
                          <a:lnTo>
                            <a:pt x="1073" y="1805"/>
                          </a:lnTo>
                          <a:close/>
                          <a:moveTo>
                            <a:pt x="1134" y="1739"/>
                          </a:moveTo>
                          <a:lnTo>
                            <a:pt x="1134" y="1770"/>
                          </a:lnTo>
                          <a:lnTo>
                            <a:pt x="1073" y="1770"/>
                          </a:lnTo>
                          <a:lnTo>
                            <a:pt x="1073" y="1709"/>
                          </a:lnTo>
                          <a:lnTo>
                            <a:pt x="1134" y="1709"/>
                          </a:lnTo>
                          <a:lnTo>
                            <a:pt x="1134" y="1739"/>
                          </a:lnTo>
                          <a:close/>
                          <a:moveTo>
                            <a:pt x="2796" y="2250"/>
                          </a:moveTo>
                          <a:lnTo>
                            <a:pt x="2796" y="2250"/>
                          </a:lnTo>
                          <a:lnTo>
                            <a:pt x="2790" y="2245"/>
                          </a:lnTo>
                          <a:lnTo>
                            <a:pt x="2784" y="2240"/>
                          </a:lnTo>
                          <a:lnTo>
                            <a:pt x="2778" y="2237"/>
                          </a:lnTo>
                          <a:lnTo>
                            <a:pt x="2771" y="2233"/>
                          </a:lnTo>
                          <a:lnTo>
                            <a:pt x="2764" y="2231"/>
                          </a:lnTo>
                          <a:lnTo>
                            <a:pt x="2757" y="2229"/>
                          </a:lnTo>
                          <a:lnTo>
                            <a:pt x="2741" y="2227"/>
                          </a:lnTo>
                          <a:lnTo>
                            <a:pt x="2741" y="2227"/>
                          </a:lnTo>
                          <a:lnTo>
                            <a:pt x="2730" y="2228"/>
                          </a:lnTo>
                          <a:lnTo>
                            <a:pt x="2721" y="2229"/>
                          </a:lnTo>
                          <a:lnTo>
                            <a:pt x="2711" y="2233"/>
                          </a:lnTo>
                          <a:lnTo>
                            <a:pt x="2701" y="2237"/>
                          </a:lnTo>
                          <a:lnTo>
                            <a:pt x="2693" y="2241"/>
                          </a:lnTo>
                          <a:lnTo>
                            <a:pt x="2685" y="2246"/>
                          </a:lnTo>
                          <a:lnTo>
                            <a:pt x="2678" y="2254"/>
                          </a:lnTo>
                          <a:lnTo>
                            <a:pt x="2671" y="2261"/>
                          </a:lnTo>
                          <a:lnTo>
                            <a:pt x="2666" y="2269"/>
                          </a:lnTo>
                          <a:lnTo>
                            <a:pt x="2660" y="2279"/>
                          </a:lnTo>
                          <a:lnTo>
                            <a:pt x="2656" y="2289"/>
                          </a:lnTo>
                          <a:lnTo>
                            <a:pt x="2653" y="2301"/>
                          </a:lnTo>
                          <a:lnTo>
                            <a:pt x="2649" y="2312"/>
                          </a:lnTo>
                          <a:lnTo>
                            <a:pt x="2648" y="2325"/>
                          </a:lnTo>
                          <a:lnTo>
                            <a:pt x="2647" y="2339"/>
                          </a:lnTo>
                          <a:lnTo>
                            <a:pt x="2645" y="2353"/>
                          </a:lnTo>
                          <a:lnTo>
                            <a:pt x="2645" y="2353"/>
                          </a:lnTo>
                          <a:lnTo>
                            <a:pt x="2647" y="2368"/>
                          </a:lnTo>
                          <a:lnTo>
                            <a:pt x="2648" y="2381"/>
                          </a:lnTo>
                          <a:lnTo>
                            <a:pt x="2649" y="2395"/>
                          </a:lnTo>
                          <a:lnTo>
                            <a:pt x="2653" y="2408"/>
                          </a:lnTo>
                          <a:lnTo>
                            <a:pt x="2655" y="2419"/>
                          </a:lnTo>
                          <a:lnTo>
                            <a:pt x="2660" y="2430"/>
                          </a:lnTo>
                          <a:lnTo>
                            <a:pt x="2665" y="2440"/>
                          </a:lnTo>
                          <a:lnTo>
                            <a:pt x="2671" y="2448"/>
                          </a:lnTo>
                          <a:lnTo>
                            <a:pt x="2677" y="2457"/>
                          </a:lnTo>
                          <a:lnTo>
                            <a:pt x="2684" y="2463"/>
                          </a:lnTo>
                          <a:lnTo>
                            <a:pt x="2692" y="2469"/>
                          </a:lnTo>
                          <a:lnTo>
                            <a:pt x="2700" y="2474"/>
                          </a:lnTo>
                          <a:lnTo>
                            <a:pt x="2710" y="2479"/>
                          </a:lnTo>
                          <a:lnTo>
                            <a:pt x="2720" y="2481"/>
                          </a:lnTo>
                          <a:lnTo>
                            <a:pt x="2729" y="2482"/>
                          </a:lnTo>
                          <a:lnTo>
                            <a:pt x="2740" y="2483"/>
                          </a:lnTo>
                          <a:lnTo>
                            <a:pt x="2740" y="2483"/>
                          </a:lnTo>
                          <a:lnTo>
                            <a:pt x="2747" y="2482"/>
                          </a:lnTo>
                          <a:lnTo>
                            <a:pt x="2756" y="2481"/>
                          </a:lnTo>
                          <a:lnTo>
                            <a:pt x="2763" y="2480"/>
                          </a:lnTo>
                          <a:lnTo>
                            <a:pt x="2769" y="2477"/>
                          </a:lnTo>
                          <a:lnTo>
                            <a:pt x="2777" y="2474"/>
                          </a:lnTo>
                          <a:lnTo>
                            <a:pt x="2784" y="2470"/>
                          </a:lnTo>
                          <a:lnTo>
                            <a:pt x="2790" y="2465"/>
                          </a:lnTo>
                          <a:lnTo>
                            <a:pt x="2796" y="2459"/>
                          </a:lnTo>
                          <a:lnTo>
                            <a:pt x="2796" y="2477"/>
                          </a:lnTo>
                          <a:lnTo>
                            <a:pt x="2857" y="2477"/>
                          </a:lnTo>
                          <a:lnTo>
                            <a:pt x="2857" y="2131"/>
                          </a:lnTo>
                          <a:lnTo>
                            <a:pt x="2796" y="2161"/>
                          </a:lnTo>
                          <a:lnTo>
                            <a:pt x="2796" y="2250"/>
                          </a:lnTo>
                          <a:close/>
                          <a:moveTo>
                            <a:pt x="2754" y="2427"/>
                          </a:moveTo>
                          <a:lnTo>
                            <a:pt x="2754" y="2427"/>
                          </a:lnTo>
                          <a:lnTo>
                            <a:pt x="2745" y="2426"/>
                          </a:lnTo>
                          <a:lnTo>
                            <a:pt x="2738" y="2424"/>
                          </a:lnTo>
                          <a:lnTo>
                            <a:pt x="2729" y="2420"/>
                          </a:lnTo>
                          <a:lnTo>
                            <a:pt x="2722" y="2413"/>
                          </a:lnTo>
                          <a:lnTo>
                            <a:pt x="2716" y="2403"/>
                          </a:lnTo>
                          <a:lnTo>
                            <a:pt x="2711" y="2390"/>
                          </a:lnTo>
                          <a:lnTo>
                            <a:pt x="2709" y="2373"/>
                          </a:lnTo>
                          <a:lnTo>
                            <a:pt x="2707" y="2351"/>
                          </a:lnTo>
                          <a:lnTo>
                            <a:pt x="2707" y="2351"/>
                          </a:lnTo>
                          <a:lnTo>
                            <a:pt x="2709" y="2333"/>
                          </a:lnTo>
                          <a:lnTo>
                            <a:pt x="2711" y="2317"/>
                          </a:lnTo>
                          <a:lnTo>
                            <a:pt x="2716" y="2305"/>
                          </a:lnTo>
                          <a:lnTo>
                            <a:pt x="2722" y="2296"/>
                          </a:lnTo>
                          <a:lnTo>
                            <a:pt x="2729" y="2290"/>
                          </a:lnTo>
                          <a:lnTo>
                            <a:pt x="2737" y="2285"/>
                          </a:lnTo>
                          <a:lnTo>
                            <a:pt x="2745" y="2284"/>
                          </a:lnTo>
                          <a:lnTo>
                            <a:pt x="2752" y="2283"/>
                          </a:lnTo>
                          <a:lnTo>
                            <a:pt x="2752" y="2283"/>
                          </a:lnTo>
                          <a:lnTo>
                            <a:pt x="2761" y="2284"/>
                          </a:lnTo>
                          <a:lnTo>
                            <a:pt x="2768" y="2285"/>
                          </a:lnTo>
                          <a:lnTo>
                            <a:pt x="2774" y="2288"/>
                          </a:lnTo>
                          <a:lnTo>
                            <a:pt x="2780" y="2291"/>
                          </a:lnTo>
                          <a:lnTo>
                            <a:pt x="2785" y="2295"/>
                          </a:lnTo>
                          <a:lnTo>
                            <a:pt x="2790" y="2299"/>
                          </a:lnTo>
                          <a:lnTo>
                            <a:pt x="2796" y="2307"/>
                          </a:lnTo>
                          <a:lnTo>
                            <a:pt x="2796" y="2403"/>
                          </a:lnTo>
                          <a:lnTo>
                            <a:pt x="2796" y="2403"/>
                          </a:lnTo>
                          <a:lnTo>
                            <a:pt x="2789" y="2412"/>
                          </a:lnTo>
                          <a:lnTo>
                            <a:pt x="2780" y="2419"/>
                          </a:lnTo>
                          <a:lnTo>
                            <a:pt x="2774" y="2423"/>
                          </a:lnTo>
                          <a:lnTo>
                            <a:pt x="2768" y="2425"/>
                          </a:lnTo>
                          <a:lnTo>
                            <a:pt x="2761" y="2426"/>
                          </a:lnTo>
                          <a:lnTo>
                            <a:pt x="2754" y="2427"/>
                          </a:lnTo>
                          <a:lnTo>
                            <a:pt x="2754" y="2427"/>
                          </a:lnTo>
                          <a:close/>
                          <a:moveTo>
                            <a:pt x="740" y="2301"/>
                          </a:moveTo>
                          <a:lnTo>
                            <a:pt x="740" y="2301"/>
                          </a:lnTo>
                          <a:lnTo>
                            <a:pt x="732" y="2296"/>
                          </a:lnTo>
                          <a:lnTo>
                            <a:pt x="722" y="2291"/>
                          </a:lnTo>
                          <a:lnTo>
                            <a:pt x="711" y="2289"/>
                          </a:lnTo>
                          <a:lnTo>
                            <a:pt x="700" y="2288"/>
                          </a:lnTo>
                          <a:lnTo>
                            <a:pt x="700" y="2288"/>
                          </a:lnTo>
                          <a:lnTo>
                            <a:pt x="690" y="2289"/>
                          </a:lnTo>
                          <a:lnTo>
                            <a:pt x="680" y="2291"/>
                          </a:lnTo>
                          <a:lnTo>
                            <a:pt x="673" y="2296"/>
                          </a:lnTo>
                          <a:lnTo>
                            <a:pt x="667" y="2302"/>
                          </a:lnTo>
                          <a:lnTo>
                            <a:pt x="662" y="2310"/>
                          </a:lnTo>
                          <a:lnTo>
                            <a:pt x="660" y="2319"/>
                          </a:lnTo>
                          <a:lnTo>
                            <a:pt x="657" y="2331"/>
                          </a:lnTo>
                          <a:lnTo>
                            <a:pt x="656" y="2345"/>
                          </a:lnTo>
                          <a:lnTo>
                            <a:pt x="656" y="2477"/>
                          </a:lnTo>
                          <a:lnTo>
                            <a:pt x="597" y="2477"/>
                          </a:lnTo>
                          <a:lnTo>
                            <a:pt x="597" y="2233"/>
                          </a:lnTo>
                          <a:lnTo>
                            <a:pt x="656" y="2233"/>
                          </a:lnTo>
                          <a:lnTo>
                            <a:pt x="656" y="2254"/>
                          </a:lnTo>
                          <a:lnTo>
                            <a:pt x="656" y="2254"/>
                          </a:lnTo>
                          <a:lnTo>
                            <a:pt x="662" y="2248"/>
                          </a:lnTo>
                          <a:lnTo>
                            <a:pt x="668" y="2241"/>
                          </a:lnTo>
                          <a:lnTo>
                            <a:pt x="674" y="2238"/>
                          </a:lnTo>
                          <a:lnTo>
                            <a:pt x="682" y="2234"/>
                          </a:lnTo>
                          <a:lnTo>
                            <a:pt x="688" y="2231"/>
                          </a:lnTo>
                          <a:lnTo>
                            <a:pt x="695" y="2229"/>
                          </a:lnTo>
                          <a:lnTo>
                            <a:pt x="704" y="2228"/>
                          </a:lnTo>
                          <a:lnTo>
                            <a:pt x="711" y="2227"/>
                          </a:lnTo>
                          <a:lnTo>
                            <a:pt x="711" y="2227"/>
                          </a:lnTo>
                          <a:lnTo>
                            <a:pt x="723" y="2228"/>
                          </a:lnTo>
                          <a:lnTo>
                            <a:pt x="735" y="2232"/>
                          </a:lnTo>
                          <a:lnTo>
                            <a:pt x="747" y="2237"/>
                          </a:lnTo>
                          <a:lnTo>
                            <a:pt x="757" y="2243"/>
                          </a:lnTo>
                          <a:lnTo>
                            <a:pt x="740" y="2301"/>
                          </a:lnTo>
                          <a:close/>
                          <a:moveTo>
                            <a:pt x="265" y="2233"/>
                          </a:moveTo>
                          <a:lnTo>
                            <a:pt x="324" y="2233"/>
                          </a:lnTo>
                          <a:lnTo>
                            <a:pt x="255" y="2477"/>
                          </a:lnTo>
                          <a:lnTo>
                            <a:pt x="203" y="2477"/>
                          </a:lnTo>
                          <a:lnTo>
                            <a:pt x="176" y="2376"/>
                          </a:lnTo>
                          <a:lnTo>
                            <a:pt x="176" y="2376"/>
                          </a:lnTo>
                          <a:lnTo>
                            <a:pt x="163" y="2323"/>
                          </a:lnTo>
                          <a:lnTo>
                            <a:pt x="163" y="2323"/>
                          </a:lnTo>
                          <a:lnTo>
                            <a:pt x="157" y="2348"/>
                          </a:lnTo>
                          <a:lnTo>
                            <a:pt x="149" y="2378"/>
                          </a:lnTo>
                          <a:lnTo>
                            <a:pt x="122" y="2477"/>
                          </a:lnTo>
                          <a:lnTo>
                            <a:pt x="69" y="2477"/>
                          </a:lnTo>
                          <a:lnTo>
                            <a:pt x="69" y="2476"/>
                          </a:lnTo>
                          <a:lnTo>
                            <a:pt x="0" y="2233"/>
                          </a:lnTo>
                          <a:lnTo>
                            <a:pt x="63" y="2233"/>
                          </a:lnTo>
                          <a:lnTo>
                            <a:pt x="85" y="2324"/>
                          </a:lnTo>
                          <a:lnTo>
                            <a:pt x="85" y="2324"/>
                          </a:lnTo>
                          <a:lnTo>
                            <a:pt x="91" y="2353"/>
                          </a:lnTo>
                          <a:lnTo>
                            <a:pt x="97" y="2384"/>
                          </a:lnTo>
                          <a:lnTo>
                            <a:pt x="97" y="2384"/>
                          </a:lnTo>
                          <a:lnTo>
                            <a:pt x="105" y="2353"/>
                          </a:lnTo>
                          <a:lnTo>
                            <a:pt x="112" y="2323"/>
                          </a:lnTo>
                          <a:lnTo>
                            <a:pt x="137" y="2233"/>
                          </a:lnTo>
                          <a:lnTo>
                            <a:pt x="190" y="2233"/>
                          </a:lnTo>
                          <a:lnTo>
                            <a:pt x="215" y="2323"/>
                          </a:lnTo>
                          <a:lnTo>
                            <a:pt x="215" y="2323"/>
                          </a:lnTo>
                          <a:lnTo>
                            <a:pt x="222" y="2352"/>
                          </a:lnTo>
                          <a:lnTo>
                            <a:pt x="230" y="2385"/>
                          </a:lnTo>
                          <a:lnTo>
                            <a:pt x="230" y="2385"/>
                          </a:lnTo>
                          <a:lnTo>
                            <a:pt x="235" y="2357"/>
                          </a:lnTo>
                          <a:lnTo>
                            <a:pt x="242" y="2323"/>
                          </a:lnTo>
                          <a:lnTo>
                            <a:pt x="265" y="2233"/>
                          </a:lnTo>
                          <a:close/>
                          <a:moveTo>
                            <a:pt x="447" y="2227"/>
                          </a:moveTo>
                          <a:lnTo>
                            <a:pt x="447" y="2227"/>
                          </a:lnTo>
                          <a:lnTo>
                            <a:pt x="436" y="2228"/>
                          </a:lnTo>
                          <a:lnTo>
                            <a:pt x="424" y="2229"/>
                          </a:lnTo>
                          <a:lnTo>
                            <a:pt x="413" y="2233"/>
                          </a:lnTo>
                          <a:lnTo>
                            <a:pt x="403" y="2237"/>
                          </a:lnTo>
                          <a:lnTo>
                            <a:pt x="394" y="2241"/>
                          </a:lnTo>
                          <a:lnTo>
                            <a:pt x="384" y="2248"/>
                          </a:lnTo>
                          <a:lnTo>
                            <a:pt x="375" y="2255"/>
                          </a:lnTo>
                          <a:lnTo>
                            <a:pt x="368" y="2263"/>
                          </a:lnTo>
                          <a:lnTo>
                            <a:pt x="361" y="2272"/>
                          </a:lnTo>
                          <a:lnTo>
                            <a:pt x="355" y="2282"/>
                          </a:lnTo>
                          <a:lnTo>
                            <a:pt x="349" y="2293"/>
                          </a:lnTo>
                          <a:lnTo>
                            <a:pt x="345" y="2303"/>
                          </a:lnTo>
                          <a:lnTo>
                            <a:pt x="341" y="2316"/>
                          </a:lnTo>
                          <a:lnTo>
                            <a:pt x="339" y="2328"/>
                          </a:lnTo>
                          <a:lnTo>
                            <a:pt x="337" y="2341"/>
                          </a:lnTo>
                          <a:lnTo>
                            <a:pt x="337" y="2356"/>
                          </a:lnTo>
                          <a:lnTo>
                            <a:pt x="337" y="2356"/>
                          </a:lnTo>
                          <a:lnTo>
                            <a:pt x="337" y="2369"/>
                          </a:lnTo>
                          <a:lnTo>
                            <a:pt x="339" y="2382"/>
                          </a:lnTo>
                          <a:lnTo>
                            <a:pt x="341" y="2395"/>
                          </a:lnTo>
                          <a:lnTo>
                            <a:pt x="345" y="2407"/>
                          </a:lnTo>
                          <a:lnTo>
                            <a:pt x="349" y="2418"/>
                          </a:lnTo>
                          <a:lnTo>
                            <a:pt x="355" y="2429"/>
                          </a:lnTo>
                          <a:lnTo>
                            <a:pt x="361" y="2438"/>
                          </a:lnTo>
                          <a:lnTo>
                            <a:pt x="368" y="2447"/>
                          </a:lnTo>
                          <a:lnTo>
                            <a:pt x="375" y="2455"/>
                          </a:lnTo>
                          <a:lnTo>
                            <a:pt x="384" y="2463"/>
                          </a:lnTo>
                          <a:lnTo>
                            <a:pt x="394" y="2469"/>
                          </a:lnTo>
                          <a:lnTo>
                            <a:pt x="403" y="2474"/>
                          </a:lnTo>
                          <a:lnTo>
                            <a:pt x="413" y="2477"/>
                          </a:lnTo>
                          <a:lnTo>
                            <a:pt x="424" y="2481"/>
                          </a:lnTo>
                          <a:lnTo>
                            <a:pt x="436" y="2482"/>
                          </a:lnTo>
                          <a:lnTo>
                            <a:pt x="447" y="2483"/>
                          </a:lnTo>
                          <a:lnTo>
                            <a:pt x="447" y="2483"/>
                          </a:lnTo>
                          <a:lnTo>
                            <a:pt x="459" y="2482"/>
                          </a:lnTo>
                          <a:lnTo>
                            <a:pt x="471" y="2481"/>
                          </a:lnTo>
                          <a:lnTo>
                            <a:pt x="482" y="2477"/>
                          </a:lnTo>
                          <a:lnTo>
                            <a:pt x="492" y="2474"/>
                          </a:lnTo>
                          <a:lnTo>
                            <a:pt x="502" y="2469"/>
                          </a:lnTo>
                          <a:lnTo>
                            <a:pt x="512" y="2463"/>
                          </a:lnTo>
                          <a:lnTo>
                            <a:pt x="520" y="2455"/>
                          </a:lnTo>
                          <a:lnTo>
                            <a:pt x="527" y="2447"/>
                          </a:lnTo>
                          <a:lnTo>
                            <a:pt x="535" y="2438"/>
                          </a:lnTo>
                          <a:lnTo>
                            <a:pt x="541" y="2429"/>
                          </a:lnTo>
                          <a:lnTo>
                            <a:pt x="546" y="2418"/>
                          </a:lnTo>
                          <a:lnTo>
                            <a:pt x="550" y="2407"/>
                          </a:lnTo>
                          <a:lnTo>
                            <a:pt x="554" y="2395"/>
                          </a:lnTo>
                          <a:lnTo>
                            <a:pt x="557" y="2382"/>
                          </a:lnTo>
                          <a:lnTo>
                            <a:pt x="559" y="2369"/>
                          </a:lnTo>
                          <a:lnTo>
                            <a:pt x="559" y="2356"/>
                          </a:lnTo>
                          <a:lnTo>
                            <a:pt x="559" y="2356"/>
                          </a:lnTo>
                          <a:lnTo>
                            <a:pt x="559" y="2341"/>
                          </a:lnTo>
                          <a:lnTo>
                            <a:pt x="557" y="2328"/>
                          </a:lnTo>
                          <a:lnTo>
                            <a:pt x="554" y="2316"/>
                          </a:lnTo>
                          <a:lnTo>
                            <a:pt x="550" y="2303"/>
                          </a:lnTo>
                          <a:lnTo>
                            <a:pt x="546" y="2293"/>
                          </a:lnTo>
                          <a:lnTo>
                            <a:pt x="541" y="2282"/>
                          </a:lnTo>
                          <a:lnTo>
                            <a:pt x="535" y="2272"/>
                          </a:lnTo>
                          <a:lnTo>
                            <a:pt x="527" y="2263"/>
                          </a:lnTo>
                          <a:lnTo>
                            <a:pt x="520" y="2255"/>
                          </a:lnTo>
                          <a:lnTo>
                            <a:pt x="512" y="2248"/>
                          </a:lnTo>
                          <a:lnTo>
                            <a:pt x="502" y="2241"/>
                          </a:lnTo>
                          <a:lnTo>
                            <a:pt x="492" y="2237"/>
                          </a:lnTo>
                          <a:lnTo>
                            <a:pt x="482" y="2233"/>
                          </a:lnTo>
                          <a:lnTo>
                            <a:pt x="471" y="2229"/>
                          </a:lnTo>
                          <a:lnTo>
                            <a:pt x="459" y="2228"/>
                          </a:lnTo>
                          <a:lnTo>
                            <a:pt x="447" y="2227"/>
                          </a:lnTo>
                          <a:lnTo>
                            <a:pt x="447" y="2227"/>
                          </a:lnTo>
                          <a:close/>
                          <a:moveTo>
                            <a:pt x="447" y="2426"/>
                          </a:moveTo>
                          <a:lnTo>
                            <a:pt x="447" y="2426"/>
                          </a:lnTo>
                          <a:lnTo>
                            <a:pt x="436" y="2425"/>
                          </a:lnTo>
                          <a:lnTo>
                            <a:pt x="427" y="2421"/>
                          </a:lnTo>
                          <a:lnTo>
                            <a:pt x="419" y="2415"/>
                          </a:lnTo>
                          <a:lnTo>
                            <a:pt x="412" y="2407"/>
                          </a:lnTo>
                          <a:lnTo>
                            <a:pt x="406" y="2397"/>
                          </a:lnTo>
                          <a:lnTo>
                            <a:pt x="401" y="2385"/>
                          </a:lnTo>
                          <a:lnTo>
                            <a:pt x="399" y="2370"/>
                          </a:lnTo>
                          <a:lnTo>
                            <a:pt x="399" y="2356"/>
                          </a:lnTo>
                          <a:lnTo>
                            <a:pt x="399" y="2356"/>
                          </a:lnTo>
                          <a:lnTo>
                            <a:pt x="399" y="2340"/>
                          </a:lnTo>
                          <a:lnTo>
                            <a:pt x="401" y="2325"/>
                          </a:lnTo>
                          <a:lnTo>
                            <a:pt x="406" y="2314"/>
                          </a:lnTo>
                          <a:lnTo>
                            <a:pt x="412" y="2303"/>
                          </a:lnTo>
                          <a:lnTo>
                            <a:pt x="419" y="2295"/>
                          </a:lnTo>
                          <a:lnTo>
                            <a:pt x="427" y="2289"/>
                          </a:lnTo>
                          <a:lnTo>
                            <a:pt x="436" y="2285"/>
                          </a:lnTo>
                          <a:lnTo>
                            <a:pt x="447" y="2284"/>
                          </a:lnTo>
                          <a:lnTo>
                            <a:pt x="447" y="2284"/>
                          </a:lnTo>
                          <a:lnTo>
                            <a:pt x="458" y="2285"/>
                          </a:lnTo>
                          <a:lnTo>
                            <a:pt x="468" y="2289"/>
                          </a:lnTo>
                          <a:lnTo>
                            <a:pt x="476" y="2295"/>
                          </a:lnTo>
                          <a:lnTo>
                            <a:pt x="484" y="2303"/>
                          </a:lnTo>
                          <a:lnTo>
                            <a:pt x="490" y="2314"/>
                          </a:lnTo>
                          <a:lnTo>
                            <a:pt x="493" y="2325"/>
                          </a:lnTo>
                          <a:lnTo>
                            <a:pt x="496" y="2340"/>
                          </a:lnTo>
                          <a:lnTo>
                            <a:pt x="497" y="2356"/>
                          </a:lnTo>
                          <a:lnTo>
                            <a:pt x="497" y="2356"/>
                          </a:lnTo>
                          <a:lnTo>
                            <a:pt x="496" y="2370"/>
                          </a:lnTo>
                          <a:lnTo>
                            <a:pt x="493" y="2385"/>
                          </a:lnTo>
                          <a:lnTo>
                            <a:pt x="490" y="2397"/>
                          </a:lnTo>
                          <a:lnTo>
                            <a:pt x="484" y="2407"/>
                          </a:lnTo>
                          <a:lnTo>
                            <a:pt x="476" y="2415"/>
                          </a:lnTo>
                          <a:lnTo>
                            <a:pt x="468" y="2421"/>
                          </a:lnTo>
                          <a:lnTo>
                            <a:pt x="458" y="2425"/>
                          </a:lnTo>
                          <a:lnTo>
                            <a:pt x="447" y="2426"/>
                          </a:lnTo>
                          <a:lnTo>
                            <a:pt x="447" y="2426"/>
                          </a:lnTo>
                          <a:close/>
                          <a:moveTo>
                            <a:pt x="2498" y="2301"/>
                          </a:moveTo>
                          <a:lnTo>
                            <a:pt x="2498" y="2301"/>
                          </a:lnTo>
                          <a:lnTo>
                            <a:pt x="2489" y="2296"/>
                          </a:lnTo>
                          <a:lnTo>
                            <a:pt x="2479" y="2291"/>
                          </a:lnTo>
                          <a:lnTo>
                            <a:pt x="2468" y="2289"/>
                          </a:lnTo>
                          <a:lnTo>
                            <a:pt x="2458" y="2288"/>
                          </a:lnTo>
                          <a:lnTo>
                            <a:pt x="2458" y="2288"/>
                          </a:lnTo>
                          <a:lnTo>
                            <a:pt x="2447" y="2289"/>
                          </a:lnTo>
                          <a:lnTo>
                            <a:pt x="2439" y="2291"/>
                          </a:lnTo>
                          <a:lnTo>
                            <a:pt x="2432" y="2296"/>
                          </a:lnTo>
                          <a:lnTo>
                            <a:pt x="2425" y="2302"/>
                          </a:lnTo>
                          <a:lnTo>
                            <a:pt x="2421" y="2310"/>
                          </a:lnTo>
                          <a:lnTo>
                            <a:pt x="2417" y="2319"/>
                          </a:lnTo>
                          <a:lnTo>
                            <a:pt x="2415" y="2331"/>
                          </a:lnTo>
                          <a:lnTo>
                            <a:pt x="2415" y="2345"/>
                          </a:lnTo>
                          <a:lnTo>
                            <a:pt x="2415" y="2477"/>
                          </a:lnTo>
                          <a:lnTo>
                            <a:pt x="2354" y="2477"/>
                          </a:lnTo>
                          <a:lnTo>
                            <a:pt x="2354" y="2233"/>
                          </a:lnTo>
                          <a:lnTo>
                            <a:pt x="2415" y="2233"/>
                          </a:lnTo>
                          <a:lnTo>
                            <a:pt x="2415" y="2254"/>
                          </a:lnTo>
                          <a:lnTo>
                            <a:pt x="2415" y="2254"/>
                          </a:lnTo>
                          <a:lnTo>
                            <a:pt x="2419" y="2248"/>
                          </a:lnTo>
                          <a:lnTo>
                            <a:pt x="2425" y="2241"/>
                          </a:lnTo>
                          <a:lnTo>
                            <a:pt x="2432" y="2238"/>
                          </a:lnTo>
                          <a:lnTo>
                            <a:pt x="2439" y="2234"/>
                          </a:lnTo>
                          <a:lnTo>
                            <a:pt x="2446" y="2231"/>
                          </a:lnTo>
                          <a:lnTo>
                            <a:pt x="2453" y="2229"/>
                          </a:lnTo>
                          <a:lnTo>
                            <a:pt x="2461" y="2228"/>
                          </a:lnTo>
                          <a:lnTo>
                            <a:pt x="2468" y="2227"/>
                          </a:lnTo>
                          <a:lnTo>
                            <a:pt x="2468" y="2227"/>
                          </a:lnTo>
                          <a:lnTo>
                            <a:pt x="2480" y="2228"/>
                          </a:lnTo>
                          <a:lnTo>
                            <a:pt x="2492" y="2232"/>
                          </a:lnTo>
                          <a:lnTo>
                            <a:pt x="2504" y="2237"/>
                          </a:lnTo>
                          <a:lnTo>
                            <a:pt x="2514" y="2243"/>
                          </a:lnTo>
                          <a:lnTo>
                            <a:pt x="2498" y="2301"/>
                          </a:lnTo>
                          <a:close/>
                          <a:moveTo>
                            <a:pt x="2022" y="2233"/>
                          </a:moveTo>
                          <a:lnTo>
                            <a:pt x="2082" y="2233"/>
                          </a:lnTo>
                          <a:lnTo>
                            <a:pt x="2012" y="2477"/>
                          </a:lnTo>
                          <a:lnTo>
                            <a:pt x="1960" y="2477"/>
                          </a:lnTo>
                          <a:lnTo>
                            <a:pt x="1933" y="2376"/>
                          </a:lnTo>
                          <a:lnTo>
                            <a:pt x="1933" y="2376"/>
                          </a:lnTo>
                          <a:lnTo>
                            <a:pt x="1920" y="2323"/>
                          </a:lnTo>
                          <a:lnTo>
                            <a:pt x="1920" y="2323"/>
                          </a:lnTo>
                          <a:lnTo>
                            <a:pt x="1914" y="2348"/>
                          </a:lnTo>
                          <a:lnTo>
                            <a:pt x="1907" y="2378"/>
                          </a:lnTo>
                          <a:lnTo>
                            <a:pt x="1880" y="2477"/>
                          </a:lnTo>
                          <a:lnTo>
                            <a:pt x="1828" y="2477"/>
                          </a:lnTo>
                          <a:lnTo>
                            <a:pt x="1826" y="2476"/>
                          </a:lnTo>
                          <a:lnTo>
                            <a:pt x="1758" y="2233"/>
                          </a:lnTo>
                          <a:lnTo>
                            <a:pt x="1820" y="2233"/>
                          </a:lnTo>
                          <a:lnTo>
                            <a:pt x="1843" y="2324"/>
                          </a:lnTo>
                          <a:lnTo>
                            <a:pt x="1843" y="2324"/>
                          </a:lnTo>
                          <a:lnTo>
                            <a:pt x="1849" y="2353"/>
                          </a:lnTo>
                          <a:lnTo>
                            <a:pt x="1856" y="2384"/>
                          </a:lnTo>
                          <a:lnTo>
                            <a:pt x="1856" y="2384"/>
                          </a:lnTo>
                          <a:lnTo>
                            <a:pt x="1862" y="2353"/>
                          </a:lnTo>
                          <a:lnTo>
                            <a:pt x="1870" y="2323"/>
                          </a:lnTo>
                          <a:lnTo>
                            <a:pt x="1896" y="2233"/>
                          </a:lnTo>
                          <a:lnTo>
                            <a:pt x="1947" y="2233"/>
                          </a:lnTo>
                          <a:lnTo>
                            <a:pt x="1972" y="2323"/>
                          </a:lnTo>
                          <a:lnTo>
                            <a:pt x="1972" y="2323"/>
                          </a:lnTo>
                          <a:lnTo>
                            <a:pt x="1979" y="2352"/>
                          </a:lnTo>
                          <a:lnTo>
                            <a:pt x="1987" y="2385"/>
                          </a:lnTo>
                          <a:lnTo>
                            <a:pt x="1987" y="2385"/>
                          </a:lnTo>
                          <a:lnTo>
                            <a:pt x="1993" y="2357"/>
                          </a:lnTo>
                          <a:lnTo>
                            <a:pt x="2000" y="2323"/>
                          </a:lnTo>
                          <a:lnTo>
                            <a:pt x="2022" y="2233"/>
                          </a:lnTo>
                          <a:close/>
                          <a:moveTo>
                            <a:pt x="2204" y="2227"/>
                          </a:moveTo>
                          <a:lnTo>
                            <a:pt x="2204" y="2227"/>
                          </a:lnTo>
                          <a:lnTo>
                            <a:pt x="2193" y="2228"/>
                          </a:lnTo>
                          <a:lnTo>
                            <a:pt x="2181" y="2229"/>
                          </a:lnTo>
                          <a:lnTo>
                            <a:pt x="2170" y="2233"/>
                          </a:lnTo>
                          <a:lnTo>
                            <a:pt x="2161" y="2237"/>
                          </a:lnTo>
                          <a:lnTo>
                            <a:pt x="2151" y="2241"/>
                          </a:lnTo>
                          <a:lnTo>
                            <a:pt x="2141" y="2249"/>
                          </a:lnTo>
                          <a:lnTo>
                            <a:pt x="2133" y="2255"/>
                          </a:lnTo>
                          <a:lnTo>
                            <a:pt x="2125" y="2263"/>
                          </a:lnTo>
                          <a:lnTo>
                            <a:pt x="2118" y="2272"/>
                          </a:lnTo>
                          <a:lnTo>
                            <a:pt x="2112" y="2282"/>
                          </a:lnTo>
                          <a:lnTo>
                            <a:pt x="2106" y="2293"/>
                          </a:lnTo>
                          <a:lnTo>
                            <a:pt x="2102" y="2303"/>
                          </a:lnTo>
                          <a:lnTo>
                            <a:pt x="2099" y="2316"/>
                          </a:lnTo>
                          <a:lnTo>
                            <a:pt x="2095" y="2329"/>
                          </a:lnTo>
                          <a:lnTo>
                            <a:pt x="2094" y="2341"/>
                          </a:lnTo>
                          <a:lnTo>
                            <a:pt x="2094" y="2356"/>
                          </a:lnTo>
                          <a:lnTo>
                            <a:pt x="2094" y="2356"/>
                          </a:lnTo>
                          <a:lnTo>
                            <a:pt x="2094" y="2369"/>
                          </a:lnTo>
                          <a:lnTo>
                            <a:pt x="2095" y="2382"/>
                          </a:lnTo>
                          <a:lnTo>
                            <a:pt x="2099" y="2395"/>
                          </a:lnTo>
                          <a:lnTo>
                            <a:pt x="2102" y="2407"/>
                          </a:lnTo>
                          <a:lnTo>
                            <a:pt x="2106" y="2418"/>
                          </a:lnTo>
                          <a:lnTo>
                            <a:pt x="2112" y="2429"/>
                          </a:lnTo>
                          <a:lnTo>
                            <a:pt x="2118" y="2438"/>
                          </a:lnTo>
                          <a:lnTo>
                            <a:pt x="2125" y="2447"/>
                          </a:lnTo>
                          <a:lnTo>
                            <a:pt x="2133" y="2455"/>
                          </a:lnTo>
                          <a:lnTo>
                            <a:pt x="2141" y="2463"/>
                          </a:lnTo>
                          <a:lnTo>
                            <a:pt x="2151" y="2469"/>
                          </a:lnTo>
                          <a:lnTo>
                            <a:pt x="2161" y="2474"/>
                          </a:lnTo>
                          <a:lnTo>
                            <a:pt x="2170" y="2477"/>
                          </a:lnTo>
                          <a:lnTo>
                            <a:pt x="2181" y="2481"/>
                          </a:lnTo>
                          <a:lnTo>
                            <a:pt x="2193" y="2482"/>
                          </a:lnTo>
                          <a:lnTo>
                            <a:pt x="2204" y="2483"/>
                          </a:lnTo>
                          <a:lnTo>
                            <a:pt x="2204" y="2483"/>
                          </a:lnTo>
                          <a:lnTo>
                            <a:pt x="2216" y="2482"/>
                          </a:lnTo>
                          <a:lnTo>
                            <a:pt x="2229" y="2481"/>
                          </a:lnTo>
                          <a:lnTo>
                            <a:pt x="2240" y="2477"/>
                          </a:lnTo>
                          <a:lnTo>
                            <a:pt x="2249" y="2474"/>
                          </a:lnTo>
                          <a:lnTo>
                            <a:pt x="2259" y="2469"/>
                          </a:lnTo>
                          <a:lnTo>
                            <a:pt x="2269" y="2463"/>
                          </a:lnTo>
                          <a:lnTo>
                            <a:pt x="2277" y="2455"/>
                          </a:lnTo>
                          <a:lnTo>
                            <a:pt x="2284" y="2447"/>
                          </a:lnTo>
                          <a:lnTo>
                            <a:pt x="2292" y="2438"/>
                          </a:lnTo>
                          <a:lnTo>
                            <a:pt x="2298" y="2429"/>
                          </a:lnTo>
                          <a:lnTo>
                            <a:pt x="2303" y="2418"/>
                          </a:lnTo>
                          <a:lnTo>
                            <a:pt x="2308" y="2407"/>
                          </a:lnTo>
                          <a:lnTo>
                            <a:pt x="2311" y="2395"/>
                          </a:lnTo>
                          <a:lnTo>
                            <a:pt x="2314" y="2382"/>
                          </a:lnTo>
                          <a:lnTo>
                            <a:pt x="2316" y="2369"/>
                          </a:lnTo>
                          <a:lnTo>
                            <a:pt x="2316" y="2356"/>
                          </a:lnTo>
                          <a:lnTo>
                            <a:pt x="2316" y="2356"/>
                          </a:lnTo>
                          <a:lnTo>
                            <a:pt x="2316" y="2341"/>
                          </a:lnTo>
                          <a:lnTo>
                            <a:pt x="2314" y="2329"/>
                          </a:lnTo>
                          <a:lnTo>
                            <a:pt x="2311" y="2316"/>
                          </a:lnTo>
                          <a:lnTo>
                            <a:pt x="2308" y="2303"/>
                          </a:lnTo>
                          <a:lnTo>
                            <a:pt x="2303" y="2293"/>
                          </a:lnTo>
                          <a:lnTo>
                            <a:pt x="2298" y="2282"/>
                          </a:lnTo>
                          <a:lnTo>
                            <a:pt x="2292" y="2272"/>
                          </a:lnTo>
                          <a:lnTo>
                            <a:pt x="2284" y="2263"/>
                          </a:lnTo>
                          <a:lnTo>
                            <a:pt x="2277" y="2255"/>
                          </a:lnTo>
                          <a:lnTo>
                            <a:pt x="2269" y="2249"/>
                          </a:lnTo>
                          <a:lnTo>
                            <a:pt x="2259" y="2241"/>
                          </a:lnTo>
                          <a:lnTo>
                            <a:pt x="2249" y="2237"/>
                          </a:lnTo>
                          <a:lnTo>
                            <a:pt x="2240" y="2233"/>
                          </a:lnTo>
                          <a:lnTo>
                            <a:pt x="2229" y="2229"/>
                          </a:lnTo>
                          <a:lnTo>
                            <a:pt x="2216" y="2228"/>
                          </a:lnTo>
                          <a:lnTo>
                            <a:pt x="2204" y="2227"/>
                          </a:lnTo>
                          <a:lnTo>
                            <a:pt x="2204" y="2227"/>
                          </a:lnTo>
                          <a:close/>
                          <a:moveTo>
                            <a:pt x="2204" y="2426"/>
                          </a:moveTo>
                          <a:lnTo>
                            <a:pt x="2204" y="2426"/>
                          </a:lnTo>
                          <a:lnTo>
                            <a:pt x="2193" y="2425"/>
                          </a:lnTo>
                          <a:lnTo>
                            <a:pt x="2185" y="2421"/>
                          </a:lnTo>
                          <a:lnTo>
                            <a:pt x="2176" y="2415"/>
                          </a:lnTo>
                          <a:lnTo>
                            <a:pt x="2169" y="2407"/>
                          </a:lnTo>
                          <a:lnTo>
                            <a:pt x="2163" y="2397"/>
                          </a:lnTo>
                          <a:lnTo>
                            <a:pt x="2158" y="2385"/>
                          </a:lnTo>
                          <a:lnTo>
                            <a:pt x="2156" y="2370"/>
                          </a:lnTo>
                          <a:lnTo>
                            <a:pt x="2156" y="2356"/>
                          </a:lnTo>
                          <a:lnTo>
                            <a:pt x="2156" y="2356"/>
                          </a:lnTo>
                          <a:lnTo>
                            <a:pt x="2156" y="2340"/>
                          </a:lnTo>
                          <a:lnTo>
                            <a:pt x="2158" y="2327"/>
                          </a:lnTo>
                          <a:lnTo>
                            <a:pt x="2163" y="2314"/>
                          </a:lnTo>
                          <a:lnTo>
                            <a:pt x="2169" y="2303"/>
                          </a:lnTo>
                          <a:lnTo>
                            <a:pt x="2176" y="2295"/>
                          </a:lnTo>
                          <a:lnTo>
                            <a:pt x="2185" y="2289"/>
                          </a:lnTo>
                          <a:lnTo>
                            <a:pt x="2193" y="2285"/>
                          </a:lnTo>
                          <a:lnTo>
                            <a:pt x="2204" y="2284"/>
                          </a:lnTo>
                          <a:lnTo>
                            <a:pt x="2204" y="2284"/>
                          </a:lnTo>
                          <a:lnTo>
                            <a:pt x="2215" y="2285"/>
                          </a:lnTo>
                          <a:lnTo>
                            <a:pt x="2225" y="2289"/>
                          </a:lnTo>
                          <a:lnTo>
                            <a:pt x="2233" y="2295"/>
                          </a:lnTo>
                          <a:lnTo>
                            <a:pt x="2241" y="2303"/>
                          </a:lnTo>
                          <a:lnTo>
                            <a:pt x="2247" y="2314"/>
                          </a:lnTo>
                          <a:lnTo>
                            <a:pt x="2250" y="2327"/>
                          </a:lnTo>
                          <a:lnTo>
                            <a:pt x="2253" y="2340"/>
                          </a:lnTo>
                          <a:lnTo>
                            <a:pt x="2254" y="2356"/>
                          </a:lnTo>
                          <a:lnTo>
                            <a:pt x="2254" y="2356"/>
                          </a:lnTo>
                          <a:lnTo>
                            <a:pt x="2253" y="2370"/>
                          </a:lnTo>
                          <a:lnTo>
                            <a:pt x="2250" y="2385"/>
                          </a:lnTo>
                          <a:lnTo>
                            <a:pt x="2247" y="2397"/>
                          </a:lnTo>
                          <a:lnTo>
                            <a:pt x="2241" y="2407"/>
                          </a:lnTo>
                          <a:lnTo>
                            <a:pt x="2233" y="2415"/>
                          </a:lnTo>
                          <a:lnTo>
                            <a:pt x="2225" y="2421"/>
                          </a:lnTo>
                          <a:lnTo>
                            <a:pt x="2215" y="2425"/>
                          </a:lnTo>
                          <a:lnTo>
                            <a:pt x="2204" y="2426"/>
                          </a:lnTo>
                          <a:lnTo>
                            <a:pt x="2204" y="2426"/>
                          </a:lnTo>
                          <a:close/>
                          <a:moveTo>
                            <a:pt x="921" y="2313"/>
                          </a:moveTo>
                          <a:lnTo>
                            <a:pt x="995" y="2477"/>
                          </a:lnTo>
                          <a:lnTo>
                            <a:pt x="928" y="2477"/>
                          </a:lnTo>
                          <a:lnTo>
                            <a:pt x="877" y="2364"/>
                          </a:lnTo>
                          <a:lnTo>
                            <a:pt x="845" y="2404"/>
                          </a:lnTo>
                          <a:lnTo>
                            <a:pt x="845" y="2477"/>
                          </a:lnTo>
                          <a:lnTo>
                            <a:pt x="785" y="2477"/>
                          </a:lnTo>
                          <a:lnTo>
                            <a:pt x="785" y="2161"/>
                          </a:lnTo>
                          <a:lnTo>
                            <a:pt x="845" y="2131"/>
                          </a:lnTo>
                          <a:lnTo>
                            <a:pt x="845" y="2327"/>
                          </a:lnTo>
                          <a:lnTo>
                            <a:pt x="845" y="2327"/>
                          </a:lnTo>
                          <a:lnTo>
                            <a:pt x="868" y="2295"/>
                          </a:lnTo>
                          <a:lnTo>
                            <a:pt x="916" y="2233"/>
                          </a:lnTo>
                          <a:lnTo>
                            <a:pt x="987" y="2233"/>
                          </a:lnTo>
                          <a:lnTo>
                            <a:pt x="921" y="2313"/>
                          </a:lnTo>
                          <a:close/>
                          <a:moveTo>
                            <a:pt x="1208" y="2477"/>
                          </a:moveTo>
                          <a:lnTo>
                            <a:pt x="1147" y="2477"/>
                          </a:lnTo>
                          <a:lnTo>
                            <a:pt x="1147" y="2233"/>
                          </a:lnTo>
                          <a:lnTo>
                            <a:pt x="1208" y="2233"/>
                          </a:lnTo>
                          <a:lnTo>
                            <a:pt x="1208" y="2254"/>
                          </a:lnTo>
                          <a:lnTo>
                            <a:pt x="1208" y="2254"/>
                          </a:lnTo>
                          <a:lnTo>
                            <a:pt x="1214" y="2248"/>
                          </a:lnTo>
                          <a:lnTo>
                            <a:pt x="1220" y="2243"/>
                          </a:lnTo>
                          <a:lnTo>
                            <a:pt x="1227" y="2238"/>
                          </a:lnTo>
                          <a:lnTo>
                            <a:pt x="1235" y="2234"/>
                          </a:lnTo>
                          <a:lnTo>
                            <a:pt x="1243" y="2232"/>
                          </a:lnTo>
                          <a:lnTo>
                            <a:pt x="1252" y="2229"/>
                          </a:lnTo>
                          <a:lnTo>
                            <a:pt x="1260" y="2228"/>
                          </a:lnTo>
                          <a:lnTo>
                            <a:pt x="1270" y="2227"/>
                          </a:lnTo>
                          <a:lnTo>
                            <a:pt x="1270" y="2227"/>
                          </a:lnTo>
                          <a:lnTo>
                            <a:pt x="1281" y="2228"/>
                          </a:lnTo>
                          <a:lnTo>
                            <a:pt x="1290" y="2229"/>
                          </a:lnTo>
                          <a:lnTo>
                            <a:pt x="1299" y="2232"/>
                          </a:lnTo>
                          <a:lnTo>
                            <a:pt x="1309" y="2234"/>
                          </a:lnTo>
                          <a:lnTo>
                            <a:pt x="1316" y="2239"/>
                          </a:lnTo>
                          <a:lnTo>
                            <a:pt x="1323" y="2244"/>
                          </a:lnTo>
                          <a:lnTo>
                            <a:pt x="1331" y="2249"/>
                          </a:lnTo>
                          <a:lnTo>
                            <a:pt x="1337" y="2256"/>
                          </a:lnTo>
                          <a:lnTo>
                            <a:pt x="1342" y="2263"/>
                          </a:lnTo>
                          <a:lnTo>
                            <a:pt x="1346" y="2272"/>
                          </a:lnTo>
                          <a:lnTo>
                            <a:pt x="1350" y="2280"/>
                          </a:lnTo>
                          <a:lnTo>
                            <a:pt x="1354" y="2291"/>
                          </a:lnTo>
                          <a:lnTo>
                            <a:pt x="1356" y="2302"/>
                          </a:lnTo>
                          <a:lnTo>
                            <a:pt x="1357" y="2313"/>
                          </a:lnTo>
                          <a:lnTo>
                            <a:pt x="1359" y="2325"/>
                          </a:lnTo>
                          <a:lnTo>
                            <a:pt x="1360" y="2339"/>
                          </a:lnTo>
                          <a:lnTo>
                            <a:pt x="1360" y="2477"/>
                          </a:lnTo>
                          <a:lnTo>
                            <a:pt x="1299" y="2477"/>
                          </a:lnTo>
                          <a:lnTo>
                            <a:pt x="1299" y="2342"/>
                          </a:lnTo>
                          <a:lnTo>
                            <a:pt x="1299" y="2342"/>
                          </a:lnTo>
                          <a:lnTo>
                            <a:pt x="1298" y="2329"/>
                          </a:lnTo>
                          <a:lnTo>
                            <a:pt x="1297" y="2316"/>
                          </a:lnTo>
                          <a:lnTo>
                            <a:pt x="1293" y="2306"/>
                          </a:lnTo>
                          <a:lnTo>
                            <a:pt x="1288" y="2297"/>
                          </a:lnTo>
                          <a:lnTo>
                            <a:pt x="1282" y="2291"/>
                          </a:lnTo>
                          <a:lnTo>
                            <a:pt x="1275" y="2286"/>
                          </a:lnTo>
                          <a:lnTo>
                            <a:pt x="1265" y="2284"/>
                          </a:lnTo>
                          <a:lnTo>
                            <a:pt x="1254" y="2283"/>
                          </a:lnTo>
                          <a:lnTo>
                            <a:pt x="1254" y="2283"/>
                          </a:lnTo>
                          <a:lnTo>
                            <a:pt x="1244" y="2284"/>
                          </a:lnTo>
                          <a:lnTo>
                            <a:pt x="1235" y="2286"/>
                          </a:lnTo>
                          <a:lnTo>
                            <a:pt x="1226" y="2291"/>
                          </a:lnTo>
                          <a:lnTo>
                            <a:pt x="1220" y="2299"/>
                          </a:lnTo>
                          <a:lnTo>
                            <a:pt x="1215" y="2306"/>
                          </a:lnTo>
                          <a:lnTo>
                            <a:pt x="1212" y="2317"/>
                          </a:lnTo>
                          <a:lnTo>
                            <a:pt x="1209" y="2329"/>
                          </a:lnTo>
                          <a:lnTo>
                            <a:pt x="1208" y="2342"/>
                          </a:lnTo>
                          <a:lnTo>
                            <a:pt x="1208" y="2477"/>
                          </a:lnTo>
                          <a:close/>
                          <a:moveTo>
                            <a:pt x="1551" y="2250"/>
                          </a:moveTo>
                          <a:lnTo>
                            <a:pt x="1551" y="2250"/>
                          </a:lnTo>
                          <a:lnTo>
                            <a:pt x="1544" y="2245"/>
                          </a:lnTo>
                          <a:lnTo>
                            <a:pt x="1538" y="2240"/>
                          </a:lnTo>
                          <a:lnTo>
                            <a:pt x="1532" y="2237"/>
                          </a:lnTo>
                          <a:lnTo>
                            <a:pt x="1525" y="2233"/>
                          </a:lnTo>
                          <a:lnTo>
                            <a:pt x="1518" y="2231"/>
                          </a:lnTo>
                          <a:lnTo>
                            <a:pt x="1510" y="2229"/>
                          </a:lnTo>
                          <a:lnTo>
                            <a:pt x="1503" y="2228"/>
                          </a:lnTo>
                          <a:lnTo>
                            <a:pt x="1496" y="2227"/>
                          </a:lnTo>
                          <a:lnTo>
                            <a:pt x="1496" y="2227"/>
                          </a:lnTo>
                          <a:lnTo>
                            <a:pt x="1485" y="2228"/>
                          </a:lnTo>
                          <a:lnTo>
                            <a:pt x="1475" y="2229"/>
                          </a:lnTo>
                          <a:lnTo>
                            <a:pt x="1465" y="2232"/>
                          </a:lnTo>
                          <a:lnTo>
                            <a:pt x="1456" y="2237"/>
                          </a:lnTo>
                          <a:lnTo>
                            <a:pt x="1447" y="2240"/>
                          </a:lnTo>
                          <a:lnTo>
                            <a:pt x="1440" y="2246"/>
                          </a:lnTo>
                          <a:lnTo>
                            <a:pt x="1433" y="2254"/>
                          </a:lnTo>
                          <a:lnTo>
                            <a:pt x="1425" y="2261"/>
                          </a:lnTo>
                          <a:lnTo>
                            <a:pt x="1419" y="2269"/>
                          </a:lnTo>
                          <a:lnTo>
                            <a:pt x="1414" y="2279"/>
                          </a:lnTo>
                          <a:lnTo>
                            <a:pt x="1410" y="2289"/>
                          </a:lnTo>
                          <a:lnTo>
                            <a:pt x="1406" y="2301"/>
                          </a:lnTo>
                          <a:lnTo>
                            <a:pt x="1404" y="2312"/>
                          </a:lnTo>
                          <a:lnTo>
                            <a:pt x="1401" y="2325"/>
                          </a:lnTo>
                          <a:lnTo>
                            <a:pt x="1400" y="2339"/>
                          </a:lnTo>
                          <a:lnTo>
                            <a:pt x="1400" y="2352"/>
                          </a:lnTo>
                          <a:lnTo>
                            <a:pt x="1400" y="2352"/>
                          </a:lnTo>
                          <a:lnTo>
                            <a:pt x="1400" y="2368"/>
                          </a:lnTo>
                          <a:lnTo>
                            <a:pt x="1401" y="2381"/>
                          </a:lnTo>
                          <a:lnTo>
                            <a:pt x="1404" y="2395"/>
                          </a:lnTo>
                          <a:lnTo>
                            <a:pt x="1406" y="2408"/>
                          </a:lnTo>
                          <a:lnTo>
                            <a:pt x="1410" y="2419"/>
                          </a:lnTo>
                          <a:lnTo>
                            <a:pt x="1414" y="2430"/>
                          </a:lnTo>
                          <a:lnTo>
                            <a:pt x="1419" y="2440"/>
                          </a:lnTo>
                          <a:lnTo>
                            <a:pt x="1425" y="2448"/>
                          </a:lnTo>
                          <a:lnTo>
                            <a:pt x="1431" y="2457"/>
                          </a:lnTo>
                          <a:lnTo>
                            <a:pt x="1439" y="2463"/>
                          </a:lnTo>
                          <a:lnTo>
                            <a:pt x="1446" y="2469"/>
                          </a:lnTo>
                          <a:lnTo>
                            <a:pt x="1455" y="2474"/>
                          </a:lnTo>
                          <a:lnTo>
                            <a:pt x="1464" y="2477"/>
                          </a:lnTo>
                          <a:lnTo>
                            <a:pt x="1474" y="2481"/>
                          </a:lnTo>
                          <a:lnTo>
                            <a:pt x="1484" y="2482"/>
                          </a:lnTo>
                          <a:lnTo>
                            <a:pt x="1495" y="2483"/>
                          </a:lnTo>
                          <a:lnTo>
                            <a:pt x="1495" y="2483"/>
                          </a:lnTo>
                          <a:lnTo>
                            <a:pt x="1502" y="2482"/>
                          </a:lnTo>
                          <a:lnTo>
                            <a:pt x="1510" y="2481"/>
                          </a:lnTo>
                          <a:lnTo>
                            <a:pt x="1518" y="2480"/>
                          </a:lnTo>
                          <a:lnTo>
                            <a:pt x="1525" y="2477"/>
                          </a:lnTo>
                          <a:lnTo>
                            <a:pt x="1531" y="2474"/>
                          </a:lnTo>
                          <a:lnTo>
                            <a:pt x="1538" y="2470"/>
                          </a:lnTo>
                          <a:lnTo>
                            <a:pt x="1544" y="2465"/>
                          </a:lnTo>
                          <a:lnTo>
                            <a:pt x="1551" y="2459"/>
                          </a:lnTo>
                          <a:lnTo>
                            <a:pt x="1551" y="2465"/>
                          </a:lnTo>
                          <a:lnTo>
                            <a:pt x="1551" y="2465"/>
                          </a:lnTo>
                          <a:lnTo>
                            <a:pt x="1551" y="2475"/>
                          </a:lnTo>
                          <a:lnTo>
                            <a:pt x="1549" y="2486"/>
                          </a:lnTo>
                          <a:lnTo>
                            <a:pt x="1546" y="2497"/>
                          </a:lnTo>
                          <a:lnTo>
                            <a:pt x="1543" y="2502"/>
                          </a:lnTo>
                          <a:lnTo>
                            <a:pt x="1541" y="2506"/>
                          </a:lnTo>
                          <a:lnTo>
                            <a:pt x="1536" y="2511"/>
                          </a:lnTo>
                          <a:lnTo>
                            <a:pt x="1531" y="2516"/>
                          </a:lnTo>
                          <a:lnTo>
                            <a:pt x="1525" y="2520"/>
                          </a:lnTo>
                          <a:lnTo>
                            <a:pt x="1518" y="2524"/>
                          </a:lnTo>
                          <a:lnTo>
                            <a:pt x="1508" y="2526"/>
                          </a:lnTo>
                          <a:lnTo>
                            <a:pt x="1498" y="2528"/>
                          </a:lnTo>
                          <a:lnTo>
                            <a:pt x="1486" y="2530"/>
                          </a:lnTo>
                          <a:lnTo>
                            <a:pt x="1472" y="2530"/>
                          </a:lnTo>
                          <a:lnTo>
                            <a:pt x="1469" y="2530"/>
                          </a:lnTo>
                          <a:lnTo>
                            <a:pt x="1491" y="2577"/>
                          </a:lnTo>
                          <a:lnTo>
                            <a:pt x="1492" y="2577"/>
                          </a:lnTo>
                          <a:lnTo>
                            <a:pt x="1492" y="2577"/>
                          </a:lnTo>
                          <a:lnTo>
                            <a:pt x="1507" y="2577"/>
                          </a:lnTo>
                          <a:lnTo>
                            <a:pt x="1520" y="2576"/>
                          </a:lnTo>
                          <a:lnTo>
                            <a:pt x="1532" y="2572"/>
                          </a:lnTo>
                          <a:lnTo>
                            <a:pt x="1544" y="2570"/>
                          </a:lnTo>
                          <a:lnTo>
                            <a:pt x="1555" y="2565"/>
                          </a:lnTo>
                          <a:lnTo>
                            <a:pt x="1565" y="2560"/>
                          </a:lnTo>
                          <a:lnTo>
                            <a:pt x="1574" y="2554"/>
                          </a:lnTo>
                          <a:lnTo>
                            <a:pt x="1581" y="2547"/>
                          </a:lnTo>
                          <a:lnTo>
                            <a:pt x="1588" y="2538"/>
                          </a:lnTo>
                          <a:lnTo>
                            <a:pt x="1594" y="2530"/>
                          </a:lnTo>
                          <a:lnTo>
                            <a:pt x="1599" y="2519"/>
                          </a:lnTo>
                          <a:lnTo>
                            <a:pt x="1603" y="2508"/>
                          </a:lnTo>
                          <a:lnTo>
                            <a:pt x="1606" y="2497"/>
                          </a:lnTo>
                          <a:lnTo>
                            <a:pt x="1609" y="2483"/>
                          </a:lnTo>
                          <a:lnTo>
                            <a:pt x="1610" y="2470"/>
                          </a:lnTo>
                          <a:lnTo>
                            <a:pt x="1610" y="2455"/>
                          </a:lnTo>
                          <a:lnTo>
                            <a:pt x="1610" y="2233"/>
                          </a:lnTo>
                          <a:lnTo>
                            <a:pt x="1551" y="2233"/>
                          </a:lnTo>
                          <a:lnTo>
                            <a:pt x="1551" y="2250"/>
                          </a:lnTo>
                          <a:close/>
                          <a:moveTo>
                            <a:pt x="1551" y="2307"/>
                          </a:moveTo>
                          <a:lnTo>
                            <a:pt x="1551" y="2403"/>
                          </a:lnTo>
                          <a:lnTo>
                            <a:pt x="1551" y="2403"/>
                          </a:lnTo>
                          <a:lnTo>
                            <a:pt x="1542" y="2412"/>
                          </a:lnTo>
                          <a:lnTo>
                            <a:pt x="1534" y="2420"/>
                          </a:lnTo>
                          <a:lnTo>
                            <a:pt x="1527" y="2423"/>
                          </a:lnTo>
                          <a:lnTo>
                            <a:pt x="1521" y="2425"/>
                          </a:lnTo>
                          <a:lnTo>
                            <a:pt x="1515" y="2426"/>
                          </a:lnTo>
                          <a:lnTo>
                            <a:pt x="1507" y="2427"/>
                          </a:lnTo>
                          <a:lnTo>
                            <a:pt x="1507" y="2427"/>
                          </a:lnTo>
                          <a:lnTo>
                            <a:pt x="1499" y="2426"/>
                          </a:lnTo>
                          <a:lnTo>
                            <a:pt x="1491" y="2424"/>
                          </a:lnTo>
                          <a:lnTo>
                            <a:pt x="1484" y="2420"/>
                          </a:lnTo>
                          <a:lnTo>
                            <a:pt x="1476" y="2413"/>
                          </a:lnTo>
                          <a:lnTo>
                            <a:pt x="1470" y="2403"/>
                          </a:lnTo>
                          <a:lnTo>
                            <a:pt x="1465" y="2390"/>
                          </a:lnTo>
                          <a:lnTo>
                            <a:pt x="1463" y="2373"/>
                          </a:lnTo>
                          <a:lnTo>
                            <a:pt x="1462" y="2351"/>
                          </a:lnTo>
                          <a:lnTo>
                            <a:pt x="1462" y="2351"/>
                          </a:lnTo>
                          <a:lnTo>
                            <a:pt x="1463" y="2333"/>
                          </a:lnTo>
                          <a:lnTo>
                            <a:pt x="1465" y="2317"/>
                          </a:lnTo>
                          <a:lnTo>
                            <a:pt x="1470" y="2305"/>
                          </a:lnTo>
                          <a:lnTo>
                            <a:pt x="1476" y="2296"/>
                          </a:lnTo>
                          <a:lnTo>
                            <a:pt x="1484" y="2290"/>
                          </a:lnTo>
                          <a:lnTo>
                            <a:pt x="1491" y="2285"/>
                          </a:lnTo>
                          <a:lnTo>
                            <a:pt x="1499" y="2284"/>
                          </a:lnTo>
                          <a:lnTo>
                            <a:pt x="1507" y="2283"/>
                          </a:lnTo>
                          <a:lnTo>
                            <a:pt x="1507" y="2283"/>
                          </a:lnTo>
                          <a:lnTo>
                            <a:pt x="1515" y="2284"/>
                          </a:lnTo>
                          <a:lnTo>
                            <a:pt x="1523" y="2285"/>
                          </a:lnTo>
                          <a:lnTo>
                            <a:pt x="1529" y="2288"/>
                          </a:lnTo>
                          <a:lnTo>
                            <a:pt x="1535" y="2291"/>
                          </a:lnTo>
                          <a:lnTo>
                            <a:pt x="1540" y="2295"/>
                          </a:lnTo>
                          <a:lnTo>
                            <a:pt x="1543" y="2299"/>
                          </a:lnTo>
                          <a:lnTo>
                            <a:pt x="1551" y="2307"/>
                          </a:lnTo>
                          <a:lnTo>
                            <a:pt x="1551" y="2307"/>
                          </a:lnTo>
                          <a:close/>
                          <a:moveTo>
                            <a:pt x="1033" y="2233"/>
                          </a:moveTo>
                          <a:lnTo>
                            <a:pt x="1094" y="2233"/>
                          </a:lnTo>
                          <a:lnTo>
                            <a:pt x="1094" y="2341"/>
                          </a:lnTo>
                          <a:lnTo>
                            <a:pt x="1094" y="2477"/>
                          </a:lnTo>
                          <a:lnTo>
                            <a:pt x="1033" y="2477"/>
                          </a:lnTo>
                          <a:lnTo>
                            <a:pt x="1033" y="2233"/>
                          </a:lnTo>
                          <a:close/>
                          <a:moveTo>
                            <a:pt x="1094" y="2167"/>
                          </a:moveTo>
                          <a:lnTo>
                            <a:pt x="1094" y="2198"/>
                          </a:lnTo>
                          <a:lnTo>
                            <a:pt x="1033" y="2198"/>
                          </a:lnTo>
                          <a:lnTo>
                            <a:pt x="1033" y="2137"/>
                          </a:lnTo>
                          <a:lnTo>
                            <a:pt x="1094" y="2137"/>
                          </a:lnTo>
                          <a:lnTo>
                            <a:pt x="1094" y="2167"/>
                          </a:lnTo>
                          <a:close/>
                          <a:moveTo>
                            <a:pt x="2542" y="2161"/>
                          </a:moveTo>
                          <a:lnTo>
                            <a:pt x="2603" y="2131"/>
                          </a:lnTo>
                          <a:lnTo>
                            <a:pt x="2603" y="2352"/>
                          </a:lnTo>
                          <a:lnTo>
                            <a:pt x="2603" y="2477"/>
                          </a:lnTo>
                          <a:lnTo>
                            <a:pt x="2542" y="2477"/>
                          </a:lnTo>
                          <a:lnTo>
                            <a:pt x="2542" y="2161"/>
                          </a:lnTo>
                          <a:close/>
                          <a:moveTo>
                            <a:pt x="437" y="834"/>
                          </a:moveTo>
                          <a:lnTo>
                            <a:pt x="936" y="834"/>
                          </a:lnTo>
                          <a:lnTo>
                            <a:pt x="936" y="544"/>
                          </a:lnTo>
                          <a:lnTo>
                            <a:pt x="437" y="544"/>
                          </a:lnTo>
                          <a:lnTo>
                            <a:pt x="437" y="317"/>
                          </a:lnTo>
                          <a:lnTo>
                            <a:pt x="989" y="317"/>
                          </a:lnTo>
                          <a:lnTo>
                            <a:pt x="806" y="0"/>
                          </a:lnTo>
                          <a:lnTo>
                            <a:pt x="24" y="0"/>
                          </a:lnTo>
                          <a:lnTo>
                            <a:pt x="24" y="1378"/>
                          </a:lnTo>
                          <a:lnTo>
                            <a:pt x="1126" y="1378"/>
                          </a:lnTo>
                          <a:lnTo>
                            <a:pt x="1126" y="1061"/>
                          </a:lnTo>
                          <a:lnTo>
                            <a:pt x="437" y="1061"/>
                          </a:lnTo>
                          <a:lnTo>
                            <a:pt x="437" y="834"/>
                          </a:lnTo>
                          <a:close/>
                          <a:moveTo>
                            <a:pt x="1860" y="0"/>
                          </a:moveTo>
                          <a:lnTo>
                            <a:pt x="1626" y="450"/>
                          </a:lnTo>
                          <a:lnTo>
                            <a:pt x="1393" y="0"/>
                          </a:lnTo>
                          <a:lnTo>
                            <a:pt x="936" y="0"/>
                          </a:lnTo>
                          <a:lnTo>
                            <a:pt x="1417" y="834"/>
                          </a:lnTo>
                          <a:lnTo>
                            <a:pt x="1417" y="1378"/>
                          </a:lnTo>
                          <a:lnTo>
                            <a:pt x="1829" y="1378"/>
                          </a:lnTo>
                          <a:lnTo>
                            <a:pt x="1829" y="834"/>
                          </a:lnTo>
                          <a:lnTo>
                            <a:pt x="2311" y="0"/>
                          </a:lnTo>
                          <a:lnTo>
                            <a:pt x="186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</p:grpSp>
              <p:sp>
                <p:nvSpPr>
                  <p:cNvPr id="57" name="Content Placeholder 5">
                    <a:extLst>
                      <a:ext uri="{FF2B5EF4-FFF2-40B4-BE49-F238E27FC236}">
                        <a16:creationId xmlns:a16="http://schemas.microsoft.com/office/drawing/2014/main" id="{92FC5329-2B1C-4A0B-8B82-77E6FA176F47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4368" y="75105"/>
                    <a:ext cx="1458345" cy="152383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b="1" kern="0">
                        <a:solidFill>
                          <a:srgbClr val="FFE600"/>
                        </a:solidFill>
                        <a:latin typeface="EYInterstate Bold" panose="02000803030000020004" pitchFamily="2" charset="0"/>
                        <a:ea typeface="+mn-ea"/>
                        <a:cs typeface="+mn-cs"/>
                      </a:rPr>
                      <a:t>Context, Scope and Objectives</a:t>
                    </a:r>
                  </a:p>
                </p:txBody>
              </p:sp>
              <p:sp>
                <p:nvSpPr>
                  <p:cNvPr id="58" name="Content Placeholder 5">
                    <a:extLst>
                      <a:ext uri="{FF2B5EF4-FFF2-40B4-BE49-F238E27FC236}">
                        <a16:creationId xmlns:a16="http://schemas.microsoft.com/office/drawing/2014/main" id="{9C5AE306-4378-4C54-A090-9EA7BA67949E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11986" y="51130"/>
                    <a:ext cx="1206296" cy="200331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+mj-lt"/>
                      <a:buNone/>
                      <a:tabLst>
                        <a:tab pos="4876815" algn="r"/>
                      </a:tabLst>
                    </a:pPr>
                    <a:r>
                      <a:rPr lang="en-US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Key Success Factors &amp; Challenges </a:t>
                    </a:r>
                  </a:p>
                </p:txBody>
              </p:sp>
              <p:sp>
                <p:nvSpPr>
                  <p:cNvPr id="59" name="Content Placeholder 5">
                    <a:extLst>
                      <a:ext uri="{FF2B5EF4-FFF2-40B4-BE49-F238E27FC236}">
                        <a16:creationId xmlns:a16="http://schemas.microsoft.com/office/drawing/2014/main" id="{8C060724-B98C-4A4C-911E-DBDF6758EE5A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11169709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Appendices</a:t>
                    </a:r>
                  </a:p>
                </p:txBody>
              </p:sp>
              <p:sp>
                <p:nvSpPr>
                  <p:cNvPr id="60" name="Content Placeholder 5">
                    <a:extLst>
                      <a:ext uri="{FF2B5EF4-FFF2-40B4-BE49-F238E27FC236}">
                        <a16:creationId xmlns:a16="http://schemas.microsoft.com/office/drawing/2014/main" id="{6B4F0570-2DE1-42A5-9054-2E78F0CF9582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5947426" y="83518"/>
                    <a:ext cx="1023162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Proposed</a:t>
                    </a: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 Approach</a:t>
                    </a:r>
                  </a:p>
                </p:txBody>
              </p:sp>
              <p:sp>
                <p:nvSpPr>
                  <p:cNvPr id="61" name="Content Placeholder 5">
                    <a:extLst>
                      <a:ext uri="{FF2B5EF4-FFF2-40B4-BE49-F238E27FC236}">
                        <a16:creationId xmlns:a16="http://schemas.microsoft.com/office/drawing/2014/main" id="{5EAFA82C-CE0E-4F0C-A398-B5786A0F7648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7262461" y="75105"/>
                    <a:ext cx="1138227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Team &amp; </a:t>
                    </a: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Goverance</a:t>
                    </a:r>
                    <a:endParaRPr lang="fr-FR" sz="800" kern="0">
                      <a:solidFill>
                        <a:schemeClr val="bg2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Content Placeholder 5">
                    <a:extLst>
                      <a:ext uri="{FF2B5EF4-FFF2-40B4-BE49-F238E27FC236}">
                        <a16:creationId xmlns:a16="http://schemas.microsoft.com/office/drawing/2014/main" id="{5F816FFD-476B-4DFA-A549-524A6444ECDD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4484077" y="75105"/>
                    <a:ext cx="1097554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Scope &amp; Assumptions</a:t>
                    </a:r>
                  </a:p>
                </p:txBody>
              </p:sp>
              <p:sp>
                <p:nvSpPr>
                  <p:cNvPr id="63" name="Content Placeholder 5">
                    <a:extLst>
                      <a:ext uri="{FF2B5EF4-FFF2-40B4-BE49-F238E27FC236}">
                        <a16:creationId xmlns:a16="http://schemas.microsoft.com/office/drawing/2014/main" id="{DB0BEEE4-94D1-4C4D-9403-B7869423FFE8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8757114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Teams Profiles</a:t>
                    </a:r>
                  </a:p>
                </p:txBody>
              </p:sp>
              <p:sp>
                <p:nvSpPr>
                  <p:cNvPr id="64" name="Content Placeholder 5">
                    <a:extLst>
                      <a:ext uri="{FF2B5EF4-FFF2-40B4-BE49-F238E27FC236}">
                        <a16:creationId xmlns:a16="http://schemas.microsoft.com/office/drawing/2014/main" id="{11E826C7-DF4A-4D15-B3A7-BE996C352BC8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9963409" y="75105"/>
                    <a:ext cx="866515" cy="176356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Key Credentials</a:t>
                    </a:r>
                  </a:p>
                </p:txBody>
              </p:sp>
            </p:grpSp>
          </p:grpSp>
          <p:sp>
            <p:nvSpPr>
              <p:cNvPr id="53" name="Content Placeholder 5">
                <a:extLst>
                  <a:ext uri="{FF2B5EF4-FFF2-40B4-BE49-F238E27FC236}">
                    <a16:creationId xmlns:a16="http://schemas.microsoft.com/office/drawing/2014/main" id="{7DB1AAEC-D8A4-467D-9B9B-68756A8AC3B2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1608265" y="75105"/>
                <a:ext cx="1097554" cy="135989"/>
              </a:xfrm>
              <a:prstGeom prst="rect">
                <a:avLst/>
              </a:prstGeom>
            </p:spPr>
            <p:txBody>
              <a:bodyPr anchor="ctr"/>
              <a:lstStyle>
                <a:lvl1pPr algn="l" defTabSz="995363" rtl="0" fontAlgn="base">
                  <a:lnSpc>
                    <a:spcPts val="2100"/>
                  </a:lnSpc>
                  <a:spcBef>
                    <a:spcPct val="0"/>
                  </a:spcBef>
                  <a:spcAft>
                    <a:spcPct val="40000"/>
                  </a:spcAft>
                  <a:defRPr sz="1400" b="0">
                    <a:solidFill>
                      <a:srgbClr val="646464"/>
                    </a:solidFill>
                    <a:latin typeface="+mj-lt"/>
                    <a:ea typeface="+mn-ea"/>
                    <a:cs typeface="+mn-cs"/>
                  </a:defRPr>
                </a:lvl1pPr>
                <a:lvl2pPr marL="1588" algn="l" defTabSz="995363" rtl="0"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lang="en-US" sz="1200" b="1" dirty="0" smtClean="0">
                    <a:solidFill>
                      <a:srgbClr val="646464"/>
                    </a:solidFill>
                    <a:latin typeface="+mn-lt"/>
                  </a:defRPr>
                </a:lvl2pPr>
                <a:lvl3pPr marL="3175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sz="1000">
                    <a:solidFill>
                      <a:srgbClr val="000000"/>
                    </a:solidFill>
                    <a:latin typeface="+mn-lt"/>
                  </a:defRPr>
                </a:lvl3pPr>
                <a:lvl4pPr marL="152400" indent="-147638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FFD200"/>
                  </a:buClr>
                  <a:buSzPct val="75000"/>
                  <a:buFont typeface="Arial" charset="0"/>
                  <a:buChar char="►"/>
                  <a:defRPr sz="1000">
                    <a:solidFill>
                      <a:srgbClr val="000000"/>
                    </a:solidFill>
                    <a:latin typeface="+mn-lt"/>
                  </a:defRPr>
                </a:lvl4pPr>
                <a:lvl5pPr marL="2968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5pPr>
                <a:lvl6pPr marL="7540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6pPr>
                <a:lvl7pPr marL="12112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7pPr>
                <a:lvl8pPr marL="16684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8pPr>
                <a:lvl9pPr marL="21256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lvl="2" indent="0" algn="ctr" defTabSz="8293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140000"/>
                  <a:buFont typeface="Arial" charset="0"/>
                  <a:buNone/>
                  <a:tabLst>
                    <a:tab pos="4876815" algn="r"/>
                  </a:tabLst>
                </a:pPr>
                <a:r>
                  <a:rPr lang="fr-FR" sz="800" kern="0">
                    <a:solidFill>
                      <a:schemeClr val="bg2"/>
                    </a:solidFill>
                    <a:latin typeface="EYInterstate Light" panose="02000506000000020004" pitchFamily="2" charset="0"/>
                    <a:ea typeface="+mn-ea"/>
                    <a:cs typeface="+mn-cs"/>
                  </a:rPr>
                  <a:t>Scope &amp; Assumptions</a:t>
                </a:r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74BFD9E-12DF-4FC7-8254-513AB048A664}"/>
                </a:ext>
              </a:extLst>
            </p:cNvPr>
            <p:cNvSpPr/>
            <p:nvPr userDrawn="1"/>
          </p:nvSpPr>
          <p:spPr>
            <a:xfrm>
              <a:off x="0" y="0"/>
              <a:ext cx="12192000" cy="350540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>
                <a:solidFill>
                  <a:schemeClr val="tx1"/>
                </a:solidFill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CD601FE0-925E-4B2A-A3C7-8FE752058D1E}"/>
                </a:ext>
              </a:extLst>
            </p:cNvPr>
            <p:cNvGrpSpPr/>
            <p:nvPr userDrawn="1"/>
          </p:nvGrpSpPr>
          <p:grpSpPr>
            <a:xfrm>
              <a:off x="81557" y="51129"/>
              <a:ext cx="167539" cy="200331"/>
              <a:chOff x="784680" y="68072"/>
              <a:chExt cx="167539" cy="200331"/>
            </a:xfrm>
          </p:grpSpPr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9490A40C-45F2-4FCC-914A-ED6B6A194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680" y="68072"/>
                <a:ext cx="134278" cy="50020"/>
              </a:xfrm>
              <a:custGeom>
                <a:avLst/>
                <a:gdLst>
                  <a:gd name="T0" fmla="*/ 2723 w 2723"/>
                  <a:gd name="T1" fmla="*/ 0 h 994"/>
                  <a:gd name="T2" fmla="*/ 0 w 2723"/>
                  <a:gd name="T3" fmla="*/ 994 h 994"/>
                  <a:gd name="T4" fmla="*/ 2723 w 2723"/>
                  <a:gd name="T5" fmla="*/ 513 h 994"/>
                  <a:gd name="T6" fmla="*/ 2723 w 2723"/>
                  <a:gd name="T7" fmla="*/ 0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23" h="994">
                    <a:moveTo>
                      <a:pt x="2723" y="0"/>
                    </a:moveTo>
                    <a:lnTo>
                      <a:pt x="0" y="994"/>
                    </a:lnTo>
                    <a:lnTo>
                      <a:pt x="2723" y="513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rgbClr val="F7D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75EA027C-6148-472B-AA0B-B375CC5E06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680" y="138954"/>
                <a:ext cx="167539" cy="129449"/>
              </a:xfrm>
              <a:custGeom>
                <a:avLst/>
                <a:gdLst>
                  <a:gd name="T0" fmla="*/ 256 w 3400"/>
                  <a:gd name="T1" fmla="*/ 1749 h 2577"/>
                  <a:gd name="T2" fmla="*/ 278 w 3400"/>
                  <a:gd name="T3" fmla="*/ 1978 h 2577"/>
                  <a:gd name="T4" fmla="*/ 166 w 3400"/>
                  <a:gd name="T5" fmla="*/ 1993 h 2577"/>
                  <a:gd name="T6" fmla="*/ 386 w 3400"/>
                  <a:gd name="T7" fmla="*/ 1940 h 2577"/>
                  <a:gd name="T8" fmla="*/ 458 w 3400"/>
                  <a:gd name="T9" fmla="*/ 2046 h 2577"/>
                  <a:gd name="T10" fmla="*/ 1255 w 3400"/>
                  <a:gd name="T11" fmla="*/ 1820 h 2577"/>
                  <a:gd name="T12" fmla="*/ 1339 w 3400"/>
                  <a:gd name="T13" fmla="*/ 1914 h 2577"/>
                  <a:gd name="T14" fmla="*/ 767 w 3400"/>
                  <a:gd name="T15" fmla="*/ 1703 h 2577"/>
                  <a:gd name="T16" fmla="*/ 813 w 3400"/>
                  <a:gd name="T17" fmla="*/ 1884 h 2577"/>
                  <a:gd name="T18" fmla="*/ 947 w 3400"/>
                  <a:gd name="T19" fmla="*/ 2042 h 2577"/>
                  <a:gd name="T20" fmla="*/ 916 w 3400"/>
                  <a:gd name="T21" fmla="*/ 1855 h 2577"/>
                  <a:gd name="T22" fmla="*/ 2225 w 3400"/>
                  <a:gd name="T23" fmla="*/ 2049 h 2577"/>
                  <a:gd name="T24" fmla="*/ 2376 w 3400"/>
                  <a:gd name="T25" fmla="*/ 1924 h 2577"/>
                  <a:gd name="T26" fmla="*/ 2312 w 3400"/>
                  <a:gd name="T27" fmla="*/ 1906 h 2577"/>
                  <a:gd name="T28" fmla="*/ 2267 w 3400"/>
                  <a:gd name="T29" fmla="*/ 1855 h 2577"/>
                  <a:gd name="T30" fmla="*/ 1441 w 3400"/>
                  <a:gd name="T31" fmla="*/ 1911 h 2577"/>
                  <a:gd name="T32" fmla="*/ 1591 w 3400"/>
                  <a:gd name="T33" fmla="*/ 2031 h 2577"/>
                  <a:gd name="T34" fmla="*/ 1622 w 3400"/>
                  <a:gd name="T35" fmla="*/ 2119 h 2577"/>
                  <a:gd name="T36" fmla="*/ 1507 w 3400"/>
                  <a:gd name="T37" fmla="*/ 1962 h 2577"/>
                  <a:gd name="T38" fmla="*/ 1902 w 3400"/>
                  <a:gd name="T39" fmla="*/ 1848 h 2577"/>
                  <a:gd name="T40" fmla="*/ 1797 w 3400"/>
                  <a:gd name="T41" fmla="*/ 1958 h 2577"/>
                  <a:gd name="T42" fmla="*/ 2006 w 3400"/>
                  <a:gd name="T43" fmla="*/ 1884 h 2577"/>
                  <a:gd name="T44" fmla="*/ 1857 w 3400"/>
                  <a:gd name="T45" fmla="*/ 1968 h 2577"/>
                  <a:gd name="T46" fmla="*/ 1881 w 3400"/>
                  <a:gd name="T47" fmla="*/ 2002 h 2577"/>
                  <a:gd name="T48" fmla="*/ 2467 w 3400"/>
                  <a:gd name="T49" fmla="*/ 1946 h 2577"/>
                  <a:gd name="T50" fmla="*/ 2452 w 3400"/>
                  <a:gd name="T51" fmla="*/ 1821 h 2577"/>
                  <a:gd name="T52" fmla="*/ 2521 w 3400"/>
                  <a:gd name="T53" fmla="*/ 2055 h 2577"/>
                  <a:gd name="T54" fmla="*/ 2555 w 3400"/>
                  <a:gd name="T55" fmla="*/ 1883 h 2577"/>
                  <a:gd name="T56" fmla="*/ 3202 w 3400"/>
                  <a:gd name="T57" fmla="*/ 1928 h 2577"/>
                  <a:gd name="T58" fmla="*/ 3006 w 3400"/>
                  <a:gd name="T59" fmla="*/ 1854 h 2577"/>
                  <a:gd name="T60" fmla="*/ 3140 w 3400"/>
                  <a:gd name="T61" fmla="*/ 2049 h 2577"/>
                  <a:gd name="T62" fmla="*/ 2905 w 3400"/>
                  <a:gd name="T63" fmla="*/ 1964 h 2577"/>
                  <a:gd name="T64" fmla="*/ 2868 w 3400"/>
                  <a:gd name="T65" fmla="*/ 2041 h 2577"/>
                  <a:gd name="T66" fmla="*/ 2713 w 3400"/>
                  <a:gd name="T67" fmla="*/ 2051 h 2577"/>
                  <a:gd name="T68" fmla="*/ 2747 w 3400"/>
                  <a:gd name="T69" fmla="*/ 1996 h 2577"/>
                  <a:gd name="T70" fmla="*/ 3300 w 3400"/>
                  <a:gd name="T71" fmla="*/ 1805 h 2577"/>
                  <a:gd name="T72" fmla="*/ 1073 w 3400"/>
                  <a:gd name="T73" fmla="*/ 2049 h 2577"/>
                  <a:gd name="T74" fmla="*/ 2660 w 3400"/>
                  <a:gd name="T75" fmla="*/ 2279 h 2577"/>
                  <a:gd name="T76" fmla="*/ 2763 w 3400"/>
                  <a:gd name="T77" fmla="*/ 2480 h 2577"/>
                  <a:gd name="T78" fmla="*/ 2737 w 3400"/>
                  <a:gd name="T79" fmla="*/ 2285 h 2577"/>
                  <a:gd name="T80" fmla="*/ 690 w 3400"/>
                  <a:gd name="T81" fmla="*/ 2289 h 2577"/>
                  <a:gd name="T82" fmla="*/ 740 w 3400"/>
                  <a:gd name="T83" fmla="*/ 2301 h 2577"/>
                  <a:gd name="T84" fmla="*/ 222 w 3400"/>
                  <a:gd name="T85" fmla="*/ 2352 h 2577"/>
                  <a:gd name="T86" fmla="*/ 341 w 3400"/>
                  <a:gd name="T87" fmla="*/ 2395 h 2577"/>
                  <a:gd name="T88" fmla="*/ 554 w 3400"/>
                  <a:gd name="T89" fmla="*/ 2395 h 2577"/>
                  <a:gd name="T90" fmla="*/ 412 w 3400"/>
                  <a:gd name="T91" fmla="*/ 2407 h 2577"/>
                  <a:gd name="T92" fmla="*/ 484 w 3400"/>
                  <a:gd name="T93" fmla="*/ 2407 h 2577"/>
                  <a:gd name="T94" fmla="*/ 2419 w 3400"/>
                  <a:gd name="T95" fmla="*/ 2248 h 2577"/>
                  <a:gd name="T96" fmla="*/ 1758 w 3400"/>
                  <a:gd name="T97" fmla="*/ 2233 h 2577"/>
                  <a:gd name="T98" fmla="*/ 2133 w 3400"/>
                  <a:gd name="T99" fmla="*/ 2255 h 2577"/>
                  <a:gd name="T100" fmla="*/ 2204 w 3400"/>
                  <a:gd name="T101" fmla="*/ 2483 h 2577"/>
                  <a:gd name="T102" fmla="*/ 2269 w 3400"/>
                  <a:gd name="T103" fmla="*/ 2249 h 2577"/>
                  <a:gd name="T104" fmla="*/ 2204 w 3400"/>
                  <a:gd name="T105" fmla="*/ 2284 h 2577"/>
                  <a:gd name="T106" fmla="*/ 845 w 3400"/>
                  <a:gd name="T107" fmla="*/ 2131 h 2577"/>
                  <a:gd name="T108" fmla="*/ 1323 w 3400"/>
                  <a:gd name="T109" fmla="*/ 2244 h 2577"/>
                  <a:gd name="T110" fmla="*/ 1220 w 3400"/>
                  <a:gd name="T111" fmla="*/ 2299 h 2577"/>
                  <a:gd name="T112" fmla="*/ 1410 w 3400"/>
                  <a:gd name="T113" fmla="*/ 2289 h 2577"/>
                  <a:gd name="T114" fmla="*/ 1525 w 3400"/>
                  <a:gd name="T115" fmla="*/ 2477 h 2577"/>
                  <a:gd name="T116" fmla="*/ 1544 w 3400"/>
                  <a:gd name="T117" fmla="*/ 2570 h 2577"/>
                  <a:gd name="T118" fmla="*/ 1491 w 3400"/>
                  <a:gd name="T119" fmla="*/ 2424 h 2577"/>
                  <a:gd name="T120" fmla="*/ 1094 w 3400"/>
                  <a:gd name="T121" fmla="*/ 2341 h 2577"/>
                  <a:gd name="T122" fmla="*/ 437 w 3400"/>
                  <a:gd name="T123" fmla="*/ 1061 h 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00" h="2577">
                    <a:moveTo>
                      <a:pt x="283" y="1942"/>
                    </a:moveTo>
                    <a:lnTo>
                      <a:pt x="283" y="1942"/>
                    </a:lnTo>
                    <a:lnTo>
                      <a:pt x="283" y="1934"/>
                    </a:lnTo>
                    <a:lnTo>
                      <a:pt x="282" y="1927"/>
                    </a:lnTo>
                    <a:lnTo>
                      <a:pt x="278" y="1912"/>
                    </a:lnTo>
                    <a:lnTo>
                      <a:pt x="272" y="1900"/>
                    </a:lnTo>
                    <a:lnTo>
                      <a:pt x="265" y="1890"/>
                    </a:lnTo>
                    <a:lnTo>
                      <a:pt x="256" y="1883"/>
                    </a:lnTo>
                    <a:lnTo>
                      <a:pt x="248" y="1877"/>
                    </a:lnTo>
                    <a:lnTo>
                      <a:pt x="241" y="1872"/>
                    </a:lnTo>
                    <a:lnTo>
                      <a:pt x="233" y="1868"/>
                    </a:lnTo>
                    <a:lnTo>
                      <a:pt x="233" y="1868"/>
                    </a:lnTo>
                    <a:lnTo>
                      <a:pt x="242" y="1862"/>
                    </a:lnTo>
                    <a:lnTo>
                      <a:pt x="249" y="1856"/>
                    </a:lnTo>
                    <a:lnTo>
                      <a:pt x="255" y="1849"/>
                    </a:lnTo>
                    <a:lnTo>
                      <a:pt x="261" y="1840"/>
                    </a:lnTo>
                    <a:lnTo>
                      <a:pt x="266" y="1832"/>
                    </a:lnTo>
                    <a:lnTo>
                      <a:pt x="269" y="1822"/>
                    </a:lnTo>
                    <a:lnTo>
                      <a:pt x="271" y="1812"/>
                    </a:lnTo>
                    <a:lnTo>
                      <a:pt x="271" y="1801"/>
                    </a:lnTo>
                    <a:lnTo>
                      <a:pt x="271" y="1801"/>
                    </a:lnTo>
                    <a:lnTo>
                      <a:pt x="271" y="1792"/>
                    </a:lnTo>
                    <a:lnTo>
                      <a:pt x="270" y="1782"/>
                    </a:lnTo>
                    <a:lnTo>
                      <a:pt x="267" y="1773"/>
                    </a:lnTo>
                    <a:lnTo>
                      <a:pt x="265" y="1765"/>
                    </a:lnTo>
                    <a:lnTo>
                      <a:pt x="261" y="1756"/>
                    </a:lnTo>
                    <a:lnTo>
                      <a:pt x="256" y="1749"/>
                    </a:lnTo>
                    <a:lnTo>
                      <a:pt x="250" y="1743"/>
                    </a:lnTo>
                    <a:lnTo>
                      <a:pt x="244" y="1737"/>
                    </a:lnTo>
                    <a:lnTo>
                      <a:pt x="237" y="1732"/>
                    </a:lnTo>
                    <a:lnTo>
                      <a:pt x="230" y="1727"/>
                    </a:lnTo>
                    <a:lnTo>
                      <a:pt x="221" y="1724"/>
                    </a:lnTo>
                    <a:lnTo>
                      <a:pt x="211" y="1720"/>
                    </a:lnTo>
                    <a:lnTo>
                      <a:pt x="202" y="1718"/>
                    </a:lnTo>
                    <a:lnTo>
                      <a:pt x="191" y="1715"/>
                    </a:lnTo>
                    <a:lnTo>
                      <a:pt x="180" y="1715"/>
                    </a:lnTo>
                    <a:lnTo>
                      <a:pt x="168" y="1714"/>
                    </a:lnTo>
                    <a:lnTo>
                      <a:pt x="24" y="1714"/>
                    </a:lnTo>
                    <a:lnTo>
                      <a:pt x="24" y="2049"/>
                    </a:lnTo>
                    <a:lnTo>
                      <a:pt x="166" y="2049"/>
                    </a:lnTo>
                    <a:lnTo>
                      <a:pt x="166" y="2049"/>
                    </a:lnTo>
                    <a:lnTo>
                      <a:pt x="180" y="2049"/>
                    </a:lnTo>
                    <a:lnTo>
                      <a:pt x="192" y="2048"/>
                    </a:lnTo>
                    <a:lnTo>
                      <a:pt x="204" y="2046"/>
                    </a:lnTo>
                    <a:lnTo>
                      <a:pt x="215" y="2042"/>
                    </a:lnTo>
                    <a:lnTo>
                      <a:pt x="226" y="2038"/>
                    </a:lnTo>
                    <a:lnTo>
                      <a:pt x="236" y="2034"/>
                    </a:lnTo>
                    <a:lnTo>
                      <a:pt x="244" y="2028"/>
                    </a:lnTo>
                    <a:lnTo>
                      <a:pt x="252" y="2021"/>
                    </a:lnTo>
                    <a:lnTo>
                      <a:pt x="259" y="2014"/>
                    </a:lnTo>
                    <a:lnTo>
                      <a:pt x="265" y="2006"/>
                    </a:lnTo>
                    <a:lnTo>
                      <a:pt x="271" y="1997"/>
                    </a:lnTo>
                    <a:lnTo>
                      <a:pt x="275" y="1987"/>
                    </a:lnTo>
                    <a:lnTo>
                      <a:pt x="278" y="1978"/>
                    </a:lnTo>
                    <a:lnTo>
                      <a:pt x="281" y="1967"/>
                    </a:lnTo>
                    <a:lnTo>
                      <a:pt x="282" y="1955"/>
                    </a:lnTo>
                    <a:lnTo>
                      <a:pt x="283" y="1942"/>
                    </a:lnTo>
                    <a:lnTo>
                      <a:pt x="283" y="1942"/>
                    </a:lnTo>
                    <a:close/>
                    <a:moveTo>
                      <a:pt x="166" y="1993"/>
                    </a:moveTo>
                    <a:lnTo>
                      <a:pt x="86" y="1993"/>
                    </a:lnTo>
                    <a:lnTo>
                      <a:pt x="86" y="1897"/>
                    </a:lnTo>
                    <a:lnTo>
                      <a:pt x="166" y="1897"/>
                    </a:lnTo>
                    <a:lnTo>
                      <a:pt x="166" y="1897"/>
                    </a:lnTo>
                    <a:lnTo>
                      <a:pt x="179" y="1899"/>
                    </a:lnTo>
                    <a:lnTo>
                      <a:pt x="188" y="1900"/>
                    </a:lnTo>
                    <a:lnTo>
                      <a:pt x="197" y="1904"/>
                    </a:lnTo>
                    <a:lnTo>
                      <a:pt x="204" y="1910"/>
                    </a:lnTo>
                    <a:lnTo>
                      <a:pt x="210" y="1916"/>
                    </a:lnTo>
                    <a:lnTo>
                      <a:pt x="214" y="1924"/>
                    </a:lnTo>
                    <a:lnTo>
                      <a:pt x="216" y="1934"/>
                    </a:lnTo>
                    <a:lnTo>
                      <a:pt x="218" y="1945"/>
                    </a:lnTo>
                    <a:lnTo>
                      <a:pt x="218" y="1945"/>
                    </a:lnTo>
                    <a:lnTo>
                      <a:pt x="216" y="1956"/>
                    </a:lnTo>
                    <a:lnTo>
                      <a:pt x="214" y="1966"/>
                    </a:lnTo>
                    <a:lnTo>
                      <a:pt x="209" y="1974"/>
                    </a:lnTo>
                    <a:lnTo>
                      <a:pt x="204" y="1980"/>
                    </a:lnTo>
                    <a:lnTo>
                      <a:pt x="197" y="1986"/>
                    </a:lnTo>
                    <a:lnTo>
                      <a:pt x="188" y="1990"/>
                    </a:lnTo>
                    <a:lnTo>
                      <a:pt x="177" y="1992"/>
                    </a:lnTo>
                    <a:lnTo>
                      <a:pt x="166" y="1993"/>
                    </a:lnTo>
                    <a:lnTo>
                      <a:pt x="166" y="1993"/>
                    </a:lnTo>
                    <a:close/>
                    <a:moveTo>
                      <a:pt x="165" y="1843"/>
                    </a:moveTo>
                    <a:lnTo>
                      <a:pt x="86" y="1843"/>
                    </a:lnTo>
                    <a:lnTo>
                      <a:pt x="86" y="1771"/>
                    </a:lnTo>
                    <a:lnTo>
                      <a:pt x="163" y="1771"/>
                    </a:lnTo>
                    <a:lnTo>
                      <a:pt x="163" y="1771"/>
                    </a:lnTo>
                    <a:lnTo>
                      <a:pt x="173" y="1772"/>
                    </a:lnTo>
                    <a:lnTo>
                      <a:pt x="182" y="1773"/>
                    </a:lnTo>
                    <a:lnTo>
                      <a:pt x="190" y="1776"/>
                    </a:lnTo>
                    <a:lnTo>
                      <a:pt x="196" y="1780"/>
                    </a:lnTo>
                    <a:lnTo>
                      <a:pt x="201" y="1786"/>
                    </a:lnTo>
                    <a:lnTo>
                      <a:pt x="204" y="1792"/>
                    </a:lnTo>
                    <a:lnTo>
                      <a:pt x="205" y="1799"/>
                    </a:lnTo>
                    <a:lnTo>
                      <a:pt x="207" y="1807"/>
                    </a:lnTo>
                    <a:lnTo>
                      <a:pt x="207" y="1807"/>
                    </a:lnTo>
                    <a:lnTo>
                      <a:pt x="207" y="1814"/>
                    </a:lnTo>
                    <a:lnTo>
                      <a:pt x="205" y="1820"/>
                    </a:lnTo>
                    <a:lnTo>
                      <a:pt x="203" y="1826"/>
                    </a:lnTo>
                    <a:lnTo>
                      <a:pt x="199" y="1831"/>
                    </a:lnTo>
                    <a:lnTo>
                      <a:pt x="193" y="1835"/>
                    </a:lnTo>
                    <a:lnTo>
                      <a:pt x="186" y="1839"/>
                    </a:lnTo>
                    <a:lnTo>
                      <a:pt x="177" y="1842"/>
                    </a:lnTo>
                    <a:lnTo>
                      <a:pt x="165" y="1843"/>
                    </a:lnTo>
                    <a:lnTo>
                      <a:pt x="165" y="1843"/>
                    </a:lnTo>
                    <a:close/>
                    <a:moveTo>
                      <a:pt x="326" y="1944"/>
                    </a:moveTo>
                    <a:lnTo>
                      <a:pt x="326" y="1805"/>
                    </a:lnTo>
                    <a:lnTo>
                      <a:pt x="386" y="1805"/>
                    </a:lnTo>
                    <a:lnTo>
                      <a:pt x="386" y="1940"/>
                    </a:lnTo>
                    <a:lnTo>
                      <a:pt x="386" y="1940"/>
                    </a:lnTo>
                    <a:lnTo>
                      <a:pt x="386" y="1953"/>
                    </a:lnTo>
                    <a:lnTo>
                      <a:pt x="389" y="1967"/>
                    </a:lnTo>
                    <a:lnTo>
                      <a:pt x="392" y="1976"/>
                    </a:lnTo>
                    <a:lnTo>
                      <a:pt x="397" y="1985"/>
                    </a:lnTo>
                    <a:lnTo>
                      <a:pt x="403" y="1991"/>
                    </a:lnTo>
                    <a:lnTo>
                      <a:pt x="411" y="1996"/>
                    </a:lnTo>
                    <a:lnTo>
                      <a:pt x="420" y="1998"/>
                    </a:lnTo>
                    <a:lnTo>
                      <a:pt x="431" y="2000"/>
                    </a:lnTo>
                    <a:lnTo>
                      <a:pt x="431" y="2000"/>
                    </a:lnTo>
                    <a:lnTo>
                      <a:pt x="442" y="1998"/>
                    </a:lnTo>
                    <a:lnTo>
                      <a:pt x="451" y="1996"/>
                    </a:lnTo>
                    <a:lnTo>
                      <a:pt x="459" y="1991"/>
                    </a:lnTo>
                    <a:lnTo>
                      <a:pt x="465" y="1985"/>
                    </a:lnTo>
                    <a:lnTo>
                      <a:pt x="470" y="1976"/>
                    </a:lnTo>
                    <a:lnTo>
                      <a:pt x="474" y="1966"/>
                    </a:lnTo>
                    <a:lnTo>
                      <a:pt x="476" y="1953"/>
                    </a:lnTo>
                    <a:lnTo>
                      <a:pt x="476" y="1940"/>
                    </a:lnTo>
                    <a:lnTo>
                      <a:pt x="476" y="1805"/>
                    </a:lnTo>
                    <a:lnTo>
                      <a:pt x="537" y="1805"/>
                    </a:lnTo>
                    <a:lnTo>
                      <a:pt x="537" y="2049"/>
                    </a:lnTo>
                    <a:lnTo>
                      <a:pt x="476" y="2049"/>
                    </a:lnTo>
                    <a:lnTo>
                      <a:pt x="476" y="2030"/>
                    </a:lnTo>
                    <a:lnTo>
                      <a:pt x="476" y="2030"/>
                    </a:lnTo>
                    <a:lnTo>
                      <a:pt x="471" y="2036"/>
                    </a:lnTo>
                    <a:lnTo>
                      <a:pt x="464" y="2041"/>
                    </a:lnTo>
                    <a:lnTo>
                      <a:pt x="458" y="2046"/>
                    </a:lnTo>
                    <a:lnTo>
                      <a:pt x="451" y="2048"/>
                    </a:lnTo>
                    <a:lnTo>
                      <a:pt x="444" y="2052"/>
                    </a:lnTo>
                    <a:lnTo>
                      <a:pt x="435" y="2053"/>
                    </a:lnTo>
                    <a:lnTo>
                      <a:pt x="427" y="2054"/>
                    </a:lnTo>
                    <a:lnTo>
                      <a:pt x="418" y="2055"/>
                    </a:lnTo>
                    <a:lnTo>
                      <a:pt x="418" y="2055"/>
                    </a:lnTo>
                    <a:lnTo>
                      <a:pt x="403" y="2054"/>
                    </a:lnTo>
                    <a:lnTo>
                      <a:pt x="391" y="2052"/>
                    </a:lnTo>
                    <a:lnTo>
                      <a:pt x="380" y="2048"/>
                    </a:lnTo>
                    <a:lnTo>
                      <a:pt x="369" y="2043"/>
                    </a:lnTo>
                    <a:lnTo>
                      <a:pt x="361" y="2037"/>
                    </a:lnTo>
                    <a:lnTo>
                      <a:pt x="354" y="2031"/>
                    </a:lnTo>
                    <a:lnTo>
                      <a:pt x="348" y="2023"/>
                    </a:lnTo>
                    <a:lnTo>
                      <a:pt x="341" y="2014"/>
                    </a:lnTo>
                    <a:lnTo>
                      <a:pt x="338" y="2006"/>
                    </a:lnTo>
                    <a:lnTo>
                      <a:pt x="334" y="1997"/>
                    </a:lnTo>
                    <a:lnTo>
                      <a:pt x="329" y="1978"/>
                    </a:lnTo>
                    <a:lnTo>
                      <a:pt x="327" y="1959"/>
                    </a:lnTo>
                    <a:lnTo>
                      <a:pt x="326" y="1944"/>
                    </a:lnTo>
                    <a:lnTo>
                      <a:pt x="326" y="1944"/>
                    </a:lnTo>
                    <a:close/>
                    <a:moveTo>
                      <a:pt x="1249" y="2049"/>
                    </a:moveTo>
                    <a:lnTo>
                      <a:pt x="1188" y="2049"/>
                    </a:lnTo>
                    <a:lnTo>
                      <a:pt x="1188" y="1805"/>
                    </a:lnTo>
                    <a:lnTo>
                      <a:pt x="1249" y="1805"/>
                    </a:lnTo>
                    <a:lnTo>
                      <a:pt x="1249" y="1826"/>
                    </a:lnTo>
                    <a:lnTo>
                      <a:pt x="1249" y="1826"/>
                    </a:lnTo>
                    <a:lnTo>
                      <a:pt x="1255" y="1820"/>
                    </a:lnTo>
                    <a:lnTo>
                      <a:pt x="1261" y="1814"/>
                    </a:lnTo>
                    <a:lnTo>
                      <a:pt x="1269" y="1810"/>
                    </a:lnTo>
                    <a:lnTo>
                      <a:pt x="1276" y="1806"/>
                    </a:lnTo>
                    <a:lnTo>
                      <a:pt x="1284" y="1803"/>
                    </a:lnTo>
                    <a:lnTo>
                      <a:pt x="1292" y="1801"/>
                    </a:lnTo>
                    <a:lnTo>
                      <a:pt x="1301" y="1800"/>
                    </a:lnTo>
                    <a:lnTo>
                      <a:pt x="1310" y="1799"/>
                    </a:lnTo>
                    <a:lnTo>
                      <a:pt x="1310" y="1799"/>
                    </a:lnTo>
                    <a:lnTo>
                      <a:pt x="1321" y="1800"/>
                    </a:lnTo>
                    <a:lnTo>
                      <a:pt x="1331" y="1801"/>
                    </a:lnTo>
                    <a:lnTo>
                      <a:pt x="1340" y="1804"/>
                    </a:lnTo>
                    <a:lnTo>
                      <a:pt x="1349" y="1806"/>
                    </a:lnTo>
                    <a:lnTo>
                      <a:pt x="1357" y="1810"/>
                    </a:lnTo>
                    <a:lnTo>
                      <a:pt x="1365" y="1816"/>
                    </a:lnTo>
                    <a:lnTo>
                      <a:pt x="1371" y="1821"/>
                    </a:lnTo>
                    <a:lnTo>
                      <a:pt x="1377" y="1828"/>
                    </a:lnTo>
                    <a:lnTo>
                      <a:pt x="1383" y="1835"/>
                    </a:lnTo>
                    <a:lnTo>
                      <a:pt x="1386" y="1844"/>
                    </a:lnTo>
                    <a:lnTo>
                      <a:pt x="1391" y="1852"/>
                    </a:lnTo>
                    <a:lnTo>
                      <a:pt x="1394" y="1862"/>
                    </a:lnTo>
                    <a:lnTo>
                      <a:pt x="1396" y="1873"/>
                    </a:lnTo>
                    <a:lnTo>
                      <a:pt x="1399" y="1885"/>
                    </a:lnTo>
                    <a:lnTo>
                      <a:pt x="1400" y="1897"/>
                    </a:lnTo>
                    <a:lnTo>
                      <a:pt x="1400" y="1911"/>
                    </a:lnTo>
                    <a:lnTo>
                      <a:pt x="1400" y="2049"/>
                    </a:lnTo>
                    <a:lnTo>
                      <a:pt x="1339" y="2049"/>
                    </a:lnTo>
                    <a:lnTo>
                      <a:pt x="1339" y="1914"/>
                    </a:lnTo>
                    <a:lnTo>
                      <a:pt x="1339" y="1914"/>
                    </a:lnTo>
                    <a:lnTo>
                      <a:pt x="1339" y="1900"/>
                    </a:lnTo>
                    <a:lnTo>
                      <a:pt x="1337" y="1888"/>
                    </a:lnTo>
                    <a:lnTo>
                      <a:pt x="1333" y="1878"/>
                    </a:lnTo>
                    <a:lnTo>
                      <a:pt x="1328" y="1869"/>
                    </a:lnTo>
                    <a:lnTo>
                      <a:pt x="1322" y="1863"/>
                    </a:lnTo>
                    <a:lnTo>
                      <a:pt x="1315" y="1859"/>
                    </a:lnTo>
                    <a:lnTo>
                      <a:pt x="1306" y="1856"/>
                    </a:lnTo>
                    <a:lnTo>
                      <a:pt x="1295" y="1855"/>
                    </a:lnTo>
                    <a:lnTo>
                      <a:pt x="1295" y="1855"/>
                    </a:lnTo>
                    <a:lnTo>
                      <a:pt x="1284" y="1856"/>
                    </a:lnTo>
                    <a:lnTo>
                      <a:pt x="1275" y="1859"/>
                    </a:lnTo>
                    <a:lnTo>
                      <a:pt x="1267" y="1863"/>
                    </a:lnTo>
                    <a:lnTo>
                      <a:pt x="1261" y="1869"/>
                    </a:lnTo>
                    <a:lnTo>
                      <a:pt x="1255" y="1878"/>
                    </a:lnTo>
                    <a:lnTo>
                      <a:pt x="1252" y="1889"/>
                    </a:lnTo>
                    <a:lnTo>
                      <a:pt x="1249" y="1901"/>
                    </a:lnTo>
                    <a:lnTo>
                      <a:pt x="1249" y="1914"/>
                    </a:lnTo>
                    <a:lnTo>
                      <a:pt x="1249" y="2049"/>
                    </a:lnTo>
                    <a:close/>
                    <a:moveTo>
                      <a:pt x="653" y="1927"/>
                    </a:moveTo>
                    <a:lnTo>
                      <a:pt x="653" y="2049"/>
                    </a:lnTo>
                    <a:lnTo>
                      <a:pt x="592" y="2049"/>
                    </a:lnTo>
                    <a:lnTo>
                      <a:pt x="592" y="1805"/>
                    </a:lnTo>
                    <a:lnTo>
                      <a:pt x="653" y="1805"/>
                    </a:lnTo>
                    <a:lnTo>
                      <a:pt x="653" y="1927"/>
                    </a:lnTo>
                    <a:close/>
                    <a:moveTo>
                      <a:pt x="706" y="1733"/>
                    </a:moveTo>
                    <a:lnTo>
                      <a:pt x="767" y="1703"/>
                    </a:lnTo>
                    <a:lnTo>
                      <a:pt x="767" y="1924"/>
                    </a:lnTo>
                    <a:lnTo>
                      <a:pt x="767" y="2049"/>
                    </a:lnTo>
                    <a:lnTo>
                      <a:pt x="706" y="2049"/>
                    </a:lnTo>
                    <a:lnTo>
                      <a:pt x="706" y="1733"/>
                    </a:lnTo>
                    <a:close/>
                    <a:moveTo>
                      <a:pt x="959" y="1822"/>
                    </a:moveTo>
                    <a:lnTo>
                      <a:pt x="959" y="1822"/>
                    </a:lnTo>
                    <a:lnTo>
                      <a:pt x="954" y="1816"/>
                    </a:lnTo>
                    <a:lnTo>
                      <a:pt x="948" y="1812"/>
                    </a:lnTo>
                    <a:lnTo>
                      <a:pt x="941" y="1807"/>
                    </a:lnTo>
                    <a:lnTo>
                      <a:pt x="934" y="1805"/>
                    </a:lnTo>
                    <a:lnTo>
                      <a:pt x="927" y="1803"/>
                    </a:lnTo>
                    <a:lnTo>
                      <a:pt x="920" y="1800"/>
                    </a:lnTo>
                    <a:lnTo>
                      <a:pt x="905" y="1799"/>
                    </a:lnTo>
                    <a:lnTo>
                      <a:pt x="905" y="1799"/>
                    </a:lnTo>
                    <a:lnTo>
                      <a:pt x="894" y="1800"/>
                    </a:lnTo>
                    <a:lnTo>
                      <a:pt x="883" y="1801"/>
                    </a:lnTo>
                    <a:lnTo>
                      <a:pt x="874" y="1804"/>
                    </a:lnTo>
                    <a:lnTo>
                      <a:pt x="865" y="1807"/>
                    </a:lnTo>
                    <a:lnTo>
                      <a:pt x="857" y="1812"/>
                    </a:lnTo>
                    <a:lnTo>
                      <a:pt x="848" y="1818"/>
                    </a:lnTo>
                    <a:lnTo>
                      <a:pt x="841" y="1826"/>
                    </a:lnTo>
                    <a:lnTo>
                      <a:pt x="835" y="1833"/>
                    </a:lnTo>
                    <a:lnTo>
                      <a:pt x="829" y="1842"/>
                    </a:lnTo>
                    <a:lnTo>
                      <a:pt x="824" y="1851"/>
                    </a:lnTo>
                    <a:lnTo>
                      <a:pt x="819" y="1861"/>
                    </a:lnTo>
                    <a:lnTo>
                      <a:pt x="815" y="1872"/>
                    </a:lnTo>
                    <a:lnTo>
                      <a:pt x="813" y="1884"/>
                    </a:lnTo>
                    <a:lnTo>
                      <a:pt x="811" y="1897"/>
                    </a:lnTo>
                    <a:lnTo>
                      <a:pt x="809" y="1911"/>
                    </a:lnTo>
                    <a:lnTo>
                      <a:pt x="809" y="1924"/>
                    </a:lnTo>
                    <a:lnTo>
                      <a:pt x="809" y="1924"/>
                    </a:lnTo>
                    <a:lnTo>
                      <a:pt x="809" y="1940"/>
                    </a:lnTo>
                    <a:lnTo>
                      <a:pt x="811" y="1953"/>
                    </a:lnTo>
                    <a:lnTo>
                      <a:pt x="813" y="1967"/>
                    </a:lnTo>
                    <a:lnTo>
                      <a:pt x="815" y="1979"/>
                    </a:lnTo>
                    <a:lnTo>
                      <a:pt x="819" y="1991"/>
                    </a:lnTo>
                    <a:lnTo>
                      <a:pt x="823" y="2002"/>
                    </a:lnTo>
                    <a:lnTo>
                      <a:pt x="828" y="2012"/>
                    </a:lnTo>
                    <a:lnTo>
                      <a:pt x="834" y="2020"/>
                    </a:lnTo>
                    <a:lnTo>
                      <a:pt x="841" y="2029"/>
                    </a:lnTo>
                    <a:lnTo>
                      <a:pt x="847" y="2035"/>
                    </a:lnTo>
                    <a:lnTo>
                      <a:pt x="855" y="2041"/>
                    </a:lnTo>
                    <a:lnTo>
                      <a:pt x="864" y="2046"/>
                    </a:lnTo>
                    <a:lnTo>
                      <a:pt x="872" y="2049"/>
                    </a:lnTo>
                    <a:lnTo>
                      <a:pt x="882" y="2053"/>
                    </a:lnTo>
                    <a:lnTo>
                      <a:pt x="893" y="2054"/>
                    </a:lnTo>
                    <a:lnTo>
                      <a:pt x="904" y="2055"/>
                    </a:lnTo>
                    <a:lnTo>
                      <a:pt x="904" y="2055"/>
                    </a:lnTo>
                    <a:lnTo>
                      <a:pt x="911" y="2054"/>
                    </a:lnTo>
                    <a:lnTo>
                      <a:pt x="919" y="2053"/>
                    </a:lnTo>
                    <a:lnTo>
                      <a:pt x="926" y="2052"/>
                    </a:lnTo>
                    <a:lnTo>
                      <a:pt x="933" y="2049"/>
                    </a:lnTo>
                    <a:lnTo>
                      <a:pt x="939" y="2046"/>
                    </a:lnTo>
                    <a:lnTo>
                      <a:pt x="947" y="2042"/>
                    </a:lnTo>
                    <a:lnTo>
                      <a:pt x="953" y="2037"/>
                    </a:lnTo>
                    <a:lnTo>
                      <a:pt x="959" y="2031"/>
                    </a:lnTo>
                    <a:lnTo>
                      <a:pt x="959" y="2049"/>
                    </a:lnTo>
                    <a:lnTo>
                      <a:pt x="1020" y="2049"/>
                    </a:lnTo>
                    <a:lnTo>
                      <a:pt x="1020" y="1703"/>
                    </a:lnTo>
                    <a:lnTo>
                      <a:pt x="959" y="1733"/>
                    </a:lnTo>
                    <a:lnTo>
                      <a:pt x="959" y="1822"/>
                    </a:lnTo>
                    <a:close/>
                    <a:moveTo>
                      <a:pt x="916" y="2000"/>
                    </a:moveTo>
                    <a:lnTo>
                      <a:pt x="916" y="2000"/>
                    </a:lnTo>
                    <a:lnTo>
                      <a:pt x="909" y="1998"/>
                    </a:lnTo>
                    <a:lnTo>
                      <a:pt x="900" y="1996"/>
                    </a:lnTo>
                    <a:lnTo>
                      <a:pt x="893" y="1992"/>
                    </a:lnTo>
                    <a:lnTo>
                      <a:pt x="886" y="1985"/>
                    </a:lnTo>
                    <a:lnTo>
                      <a:pt x="880" y="1975"/>
                    </a:lnTo>
                    <a:lnTo>
                      <a:pt x="875" y="1962"/>
                    </a:lnTo>
                    <a:lnTo>
                      <a:pt x="871" y="1945"/>
                    </a:lnTo>
                    <a:lnTo>
                      <a:pt x="870" y="1923"/>
                    </a:lnTo>
                    <a:lnTo>
                      <a:pt x="870" y="1923"/>
                    </a:lnTo>
                    <a:lnTo>
                      <a:pt x="871" y="1904"/>
                    </a:lnTo>
                    <a:lnTo>
                      <a:pt x="875" y="1889"/>
                    </a:lnTo>
                    <a:lnTo>
                      <a:pt x="880" y="1877"/>
                    </a:lnTo>
                    <a:lnTo>
                      <a:pt x="886" y="1868"/>
                    </a:lnTo>
                    <a:lnTo>
                      <a:pt x="892" y="1861"/>
                    </a:lnTo>
                    <a:lnTo>
                      <a:pt x="900" y="1857"/>
                    </a:lnTo>
                    <a:lnTo>
                      <a:pt x="908" y="1855"/>
                    </a:lnTo>
                    <a:lnTo>
                      <a:pt x="916" y="1855"/>
                    </a:lnTo>
                    <a:lnTo>
                      <a:pt x="916" y="1855"/>
                    </a:lnTo>
                    <a:lnTo>
                      <a:pt x="924" y="1855"/>
                    </a:lnTo>
                    <a:lnTo>
                      <a:pt x="931" y="1857"/>
                    </a:lnTo>
                    <a:lnTo>
                      <a:pt x="938" y="1860"/>
                    </a:lnTo>
                    <a:lnTo>
                      <a:pt x="943" y="1863"/>
                    </a:lnTo>
                    <a:lnTo>
                      <a:pt x="948" y="1867"/>
                    </a:lnTo>
                    <a:lnTo>
                      <a:pt x="953" y="1871"/>
                    </a:lnTo>
                    <a:lnTo>
                      <a:pt x="959" y="1879"/>
                    </a:lnTo>
                    <a:lnTo>
                      <a:pt x="959" y="1975"/>
                    </a:lnTo>
                    <a:lnTo>
                      <a:pt x="959" y="1975"/>
                    </a:lnTo>
                    <a:lnTo>
                      <a:pt x="951" y="1984"/>
                    </a:lnTo>
                    <a:lnTo>
                      <a:pt x="943" y="1991"/>
                    </a:lnTo>
                    <a:lnTo>
                      <a:pt x="938" y="1995"/>
                    </a:lnTo>
                    <a:lnTo>
                      <a:pt x="931" y="1997"/>
                    </a:lnTo>
                    <a:lnTo>
                      <a:pt x="925" y="1998"/>
                    </a:lnTo>
                    <a:lnTo>
                      <a:pt x="916" y="2000"/>
                    </a:lnTo>
                    <a:lnTo>
                      <a:pt x="916" y="2000"/>
                    </a:lnTo>
                    <a:close/>
                    <a:moveTo>
                      <a:pt x="2278" y="1799"/>
                    </a:moveTo>
                    <a:lnTo>
                      <a:pt x="2278" y="1799"/>
                    </a:lnTo>
                    <a:lnTo>
                      <a:pt x="2272" y="1800"/>
                    </a:lnTo>
                    <a:lnTo>
                      <a:pt x="2265" y="1801"/>
                    </a:lnTo>
                    <a:lnTo>
                      <a:pt x="2250" y="1805"/>
                    </a:lnTo>
                    <a:lnTo>
                      <a:pt x="2237" y="1812"/>
                    </a:lnTo>
                    <a:lnTo>
                      <a:pt x="2225" y="1822"/>
                    </a:lnTo>
                    <a:lnTo>
                      <a:pt x="2225" y="1709"/>
                    </a:lnTo>
                    <a:lnTo>
                      <a:pt x="2164" y="1739"/>
                    </a:lnTo>
                    <a:lnTo>
                      <a:pt x="2164" y="2049"/>
                    </a:lnTo>
                    <a:lnTo>
                      <a:pt x="2225" y="2049"/>
                    </a:lnTo>
                    <a:lnTo>
                      <a:pt x="2225" y="2031"/>
                    </a:lnTo>
                    <a:lnTo>
                      <a:pt x="2225" y="2031"/>
                    </a:lnTo>
                    <a:lnTo>
                      <a:pt x="2230" y="2037"/>
                    </a:lnTo>
                    <a:lnTo>
                      <a:pt x="2237" y="2042"/>
                    </a:lnTo>
                    <a:lnTo>
                      <a:pt x="2243" y="2046"/>
                    </a:lnTo>
                    <a:lnTo>
                      <a:pt x="2250" y="2049"/>
                    </a:lnTo>
                    <a:lnTo>
                      <a:pt x="2257" y="2052"/>
                    </a:lnTo>
                    <a:lnTo>
                      <a:pt x="2265" y="2053"/>
                    </a:lnTo>
                    <a:lnTo>
                      <a:pt x="2272" y="2054"/>
                    </a:lnTo>
                    <a:lnTo>
                      <a:pt x="2280" y="2055"/>
                    </a:lnTo>
                    <a:lnTo>
                      <a:pt x="2280" y="2055"/>
                    </a:lnTo>
                    <a:lnTo>
                      <a:pt x="2291" y="2054"/>
                    </a:lnTo>
                    <a:lnTo>
                      <a:pt x="2302" y="2053"/>
                    </a:lnTo>
                    <a:lnTo>
                      <a:pt x="2311" y="2051"/>
                    </a:lnTo>
                    <a:lnTo>
                      <a:pt x="2321" y="2046"/>
                    </a:lnTo>
                    <a:lnTo>
                      <a:pt x="2329" y="2041"/>
                    </a:lnTo>
                    <a:lnTo>
                      <a:pt x="2337" y="2036"/>
                    </a:lnTo>
                    <a:lnTo>
                      <a:pt x="2344" y="2029"/>
                    </a:lnTo>
                    <a:lnTo>
                      <a:pt x="2350" y="2021"/>
                    </a:lnTo>
                    <a:lnTo>
                      <a:pt x="2356" y="2012"/>
                    </a:lnTo>
                    <a:lnTo>
                      <a:pt x="2361" y="2002"/>
                    </a:lnTo>
                    <a:lnTo>
                      <a:pt x="2365" y="1991"/>
                    </a:lnTo>
                    <a:lnTo>
                      <a:pt x="2368" y="1980"/>
                    </a:lnTo>
                    <a:lnTo>
                      <a:pt x="2372" y="1968"/>
                    </a:lnTo>
                    <a:lnTo>
                      <a:pt x="2373" y="1955"/>
                    </a:lnTo>
                    <a:lnTo>
                      <a:pt x="2374" y="1940"/>
                    </a:lnTo>
                    <a:lnTo>
                      <a:pt x="2376" y="1924"/>
                    </a:lnTo>
                    <a:lnTo>
                      <a:pt x="2376" y="1924"/>
                    </a:lnTo>
                    <a:lnTo>
                      <a:pt x="2374" y="1911"/>
                    </a:lnTo>
                    <a:lnTo>
                      <a:pt x="2373" y="1897"/>
                    </a:lnTo>
                    <a:lnTo>
                      <a:pt x="2371" y="1884"/>
                    </a:lnTo>
                    <a:lnTo>
                      <a:pt x="2368" y="1872"/>
                    </a:lnTo>
                    <a:lnTo>
                      <a:pt x="2365" y="1861"/>
                    </a:lnTo>
                    <a:lnTo>
                      <a:pt x="2360" y="1851"/>
                    </a:lnTo>
                    <a:lnTo>
                      <a:pt x="2355" y="1842"/>
                    </a:lnTo>
                    <a:lnTo>
                      <a:pt x="2349" y="1833"/>
                    </a:lnTo>
                    <a:lnTo>
                      <a:pt x="2343" y="1826"/>
                    </a:lnTo>
                    <a:lnTo>
                      <a:pt x="2336" y="1818"/>
                    </a:lnTo>
                    <a:lnTo>
                      <a:pt x="2327" y="1812"/>
                    </a:lnTo>
                    <a:lnTo>
                      <a:pt x="2319" y="1807"/>
                    </a:lnTo>
                    <a:lnTo>
                      <a:pt x="2310" y="1804"/>
                    </a:lnTo>
                    <a:lnTo>
                      <a:pt x="2300" y="1801"/>
                    </a:lnTo>
                    <a:lnTo>
                      <a:pt x="2289" y="1800"/>
                    </a:lnTo>
                    <a:lnTo>
                      <a:pt x="2278" y="1799"/>
                    </a:lnTo>
                    <a:lnTo>
                      <a:pt x="2278" y="1799"/>
                    </a:lnTo>
                    <a:close/>
                    <a:moveTo>
                      <a:pt x="2267" y="1855"/>
                    </a:moveTo>
                    <a:lnTo>
                      <a:pt x="2267" y="1855"/>
                    </a:lnTo>
                    <a:lnTo>
                      <a:pt x="2276" y="1856"/>
                    </a:lnTo>
                    <a:lnTo>
                      <a:pt x="2284" y="1859"/>
                    </a:lnTo>
                    <a:lnTo>
                      <a:pt x="2292" y="1863"/>
                    </a:lnTo>
                    <a:lnTo>
                      <a:pt x="2299" y="1871"/>
                    </a:lnTo>
                    <a:lnTo>
                      <a:pt x="2305" y="1879"/>
                    </a:lnTo>
                    <a:lnTo>
                      <a:pt x="2309" y="1891"/>
                    </a:lnTo>
                    <a:lnTo>
                      <a:pt x="2312" y="1906"/>
                    </a:lnTo>
                    <a:lnTo>
                      <a:pt x="2314" y="1923"/>
                    </a:lnTo>
                    <a:lnTo>
                      <a:pt x="2314" y="1923"/>
                    </a:lnTo>
                    <a:lnTo>
                      <a:pt x="2312" y="1941"/>
                    </a:lnTo>
                    <a:lnTo>
                      <a:pt x="2310" y="1957"/>
                    </a:lnTo>
                    <a:lnTo>
                      <a:pt x="2308" y="1969"/>
                    </a:lnTo>
                    <a:lnTo>
                      <a:pt x="2303" y="1980"/>
                    </a:lnTo>
                    <a:lnTo>
                      <a:pt x="2295" y="1989"/>
                    </a:lnTo>
                    <a:lnTo>
                      <a:pt x="2288" y="1995"/>
                    </a:lnTo>
                    <a:lnTo>
                      <a:pt x="2280" y="1998"/>
                    </a:lnTo>
                    <a:lnTo>
                      <a:pt x="2269" y="2000"/>
                    </a:lnTo>
                    <a:lnTo>
                      <a:pt x="2269" y="2000"/>
                    </a:lnTo>
                    <a:lnTo>
                      <a:pt x="2260" y="1998"/>
                    </a:lnTo>
                    <a:lnTo>
                      <a:pt x="2253" y="1997"/>
                    </a:lnTo>
                    <a:lnTo>
                      <a:pt x="2247" y="1993"/>
                    </a:lnTo>
                    <a:lnTo>
                      <a:pt x="2241" y="1991"/>
                    </a:lnTo>
                    <a:lnTo>
                      <a:pt x="2231" y="1983"/>
                    </a:lnTo>
                    <a:lnTo>
                      <a:pt x="2225" y="1976"/>
                    </a:lnTo>
                    <a:lnTo>
                      <a:pt x="2225" y="1879"/>
                    </a:lnTo>
                    <a:lnTo>
                      <a:pt x="2225" y="1879"/>
                    </a:lnTo>
                    <a:lnTo>
                      <a:pt x="2229" y="1874"/>
                    </a:lnTo>
                    <a:lnTo>
                      <a:pt x="2233" y="1869"/>
                    </a:lnTo>
                    <a:lnTo>
                      <a:pt x="2238" y="1865"/>
                    </a:lnTo>
                    <a:lnTo>
                      <a:pt x="2243" y="1861"/>
                    </a:lnTo>
                    <a:lnTo>
                      <a:pt x="2249" y="1859"/>
                    </a:lnTo>
                    <a:lnTo>
                      <a:pt x="2255" y="1856"/>
                    </a:lnTo>
                    <a:lnTo>
                      <a:pt x="2261" y="1855"/>
                    </a:lnTo>
                    <a:lnTo>
                      <a:pt x="2267" y="1855"/>
                    </a:lnTo>
                    <a:lnTo>
                      <a:pt x="2267" y="1855"/>
                    </a:lnTo>
                    <a:close/>
                    <a:moveTo>
                      <a:pt x="1591" y="1822"/>
                    </a:moveTo>
                    <a:lnTo>
                      <a:pt x="1591" y="1822"/>
                    </a:lnTo>
                    <a:lnTo>
                      <a:pt x="1586" y="1817"/>
                    </a:lnTo>
                    <a:lnTo>
                      <a:pt x="1580" y="1812"/>
                    </a:lnTo>
                    <a:lnTo>
                      <a:pt x="1572" y="1809"/>
                    </a:lnTo>
                    <a:lnTo>
                      <a:pt x="1566" y="1805"/>
                    </a:lnTo>
                    <a:lnTo>
                      <a:pt x="1559" y="1803"/>
                    </a:lnTo>
                    <a:lnTo>
                      <a:pt x="1552" y="1800"/>
                    </a:lnTo>
                    <a:lnTo>
                      <a:pt x="1544" y="1800"/>
                    </a:lnTo>
                    <a:lnTo>
                      <a:pt x="1537" y="1799"/>
                    </a:lnTo>
                    <a:lnTo>
                      <a:pt x="1537" y="1799"/>
                    </a:lnTo>
                    <a:lnTo>
                      <a:pt x="1526" y="1800"/>
                    </a:lnTo>
                    <a:lnTo>
                      <a:pt x="1515" y="1801"/>
                    </a:lnTo>
                    <a:lnTo>
                      <a:pt x="1506" y="1804"/>
                    </a:lnTo>
                    <a:lnTo>
                      <a:pt x="1497" y="1807"/>
                    </a:lnTo>
                    <a:lnTo>
                      <a:pt x="1489" y="1812"/>
                    </a:lnTo>
                    <a:lnTo>
                      <a:pt x="1480" y="1818"/>
                    </a:lnTo>
                    <a:lnTo>
                      <a:pt x="1473" y="1826"/>
                    </a:lnTo>
                    <a:lnTo>
                      <a:pt x="1467" y="1833"/>
                    </a:lnTo>
                    <a:lnTo>
                      <a:pt x="1461" y="1842"/>
                    </a:lnTo>
                    <a:lnTo>
                      <a:pt x="1456" y="1851"/>
                    </a:lnTo>
                    <a:lnTo>
                      <a:pt x="1451" y="1861"/>
                    </a:lnTo>
                    <a:lnTo>
                      <a:pt x="1447" y="1872"/>
                    </a:lnTo>
                    <a:lnTo>
                      <a:pt x="1445" y="1884"/>
                    </a:lnTo>
                    <a:lnTo>
                      <a:pt x="1442" y="1897"/>
                    </a:lnTo>
                    <a:lnTo>
                      <a:pt x="1441" y="1911"/>
                    </a:lnTo>
                    <a:lnTo>
                      <a:pt x="1441" y="1924"/>
                    </a:lnTo>
                    <a:lnTo>
                      <a:pt x="1441" y="1924"/>
                    </a:lnTo>
                    <a:lnTo>
                      <a:pt x="1441" y="1940"/>
                    </a:lnTo>
                    <a:lnTo>
                      <a:pt x="1442" y="1953"/>
                    </a:lnTo>
                    <a:lnTo>
                      <a:pt x="1445" y="1967"/>
                    </a:lnTo>
                    <a:lnTo>
                      <a:pt x="1447" y="1979"/>
                    </a:lnTo>
                    <a:lnTo>
                      <a:pt x="1451" y="1991"/>
                    </a:lnTo>
                    <a:lnTo>
                      <a:pt x="1455" y="2002"/>
                    </a:lnTo>
                    <a:lnTo>
                      <a:pt x="1461" y="2012"/>
                    </a:lnTo>
                    <a:lnTo>
                      <a:pt x="1465" y="2020"/>
                    </a:lnTo>
                    <a:lnTo>
                      <a:pt x="1473" y="2029"/>
                    </a:lnTo>
                    <a:lnTo>
                      <a:pt x="1479" y="2035"/>
                    </a:lnTo>
                    <a:lnTo>
                      <a:pt x="1487" y="2041"/>
                    </a:lnTo>
                    <a:lnTo>
                      <a:pt x="1496" y="2046"/>
                    </a:lnTo>
                    <a:lnTo>
                      <a:pt x="1504" y="2049"/>
                    </a:lnTo>
                    <a:lnTo>
                      <a:pt x="1514" y="2053"/>
                    </a:lnTo>
                    <a:lnTo>
                      <a:pt x="1525" y="2054"/>
                    </a:lnTo>
                    <a:lnTo>
                      <a:pt x="1536" y="2054"/>
                    </a:lnTo>
                    <a:lnTo>
                      <a:pt x="1536" y="2054"/>
                    </a:lnTo>
                    <a:lnTo>
                      <a:pt x="1543" y="2054"/>
                    </a:lnTo>
                    <a:lnTo>
                      <a:pt x="1551" y="2053"/>
                    </a:lnTo>
                    <a:lnTo>
                      <a:pt x="1558" y="2052"/>
                    </a:lnTo>
                    <a:lnTo>
                      <a:pt x="1565" y="2049"/>
                    </a:lnTo>
                    <a:lnTo>
                      <a:pt x="1572" y="2046"/>
                    </a:lnTo>
                    <a:lnTo>
                      <a:pt x="1578" y="2041"/>
                    </a:lnTo>
                    <a:lnTo>
                      <a:pt x="1585" y="2037"/>
                    </a:lnTo>
                    <a:lnTo>
                      <a:pt x="1591" y="2031"/>
                    </a:lnTo>
                    <a:lnTo>
                      <a:pt x="1591" y="2037"/>
                    </a:lnTo>
                    <a:lnTo>
                      <a:pt x="1591" y="2037"/>
                    </a:lnTo>
                    <a:lnTo>
                      <a:pt x="1591" y="2047"/>
                    </a:lnTo>
                    <a:lnTo>
                      <a:pt x="1589" y="2058"/>
                    </a:lnTo>
                    <a:lnTo>
                      <a:pt x="1587" y="2069"/>
                    </a:lnTo>
                    <a:lnTo>
                      <a:pt x="1585" y="2074"/>
                    </a:lnTo>
                    <a:lnTo>
                      <a:pt x="1581" y="2079"/>
                    </a:lnTo>
                    <a:lnTo>
                      <a:pt x="1577" y="2083"/>
                    </a:lnTo>
                    <a:lnTo>
                      <a:pt x="1572" y="2088"/>
                    </a:lnTo>
                    <a:lnTo>
                      <a:pt x="1565" y="2092"/>
                    </a:lnTo>
                    <a:lnTo>
                      <a:pt x="1558" y="2094"/>
                    </a:lnTo>
                    <a:lnTo>
                      <a:pt x="1549" y="2098"/>
                    </a:lnTo>
                    <a:lnTo>
                      <a:pt x="1538" y="2099"/>
                    </a:lnTo>
                    <a:lnTo>
                      <a:pt x="1526" y="2102"/>
                    </a:lnTo>
                    <a:lnTo>
                      <a:pt x="1513" y="2102"/>
                    </a:lnTo>
                    <a:lnTo>
                      <a:pt x="1510" y="2102"/>
                    </a:lnTo>
                    <a:lnTo>
                      <a:pt x="1531" y="2149"/>
                    </a:lnTo>
                    <a:lnTo>
                      <a:pt x="1532" y="2149"/>
                    </a:lnTo>
                    <a:lnTo>
                      <a:pt x="1532" y="2149"/>
                    </a:lnTo>
                    <a:lnTo>
                      <a:pt x="1547" y="2149"/>
                    </a:lnTo>
                    <a:lnTo>
                      <a:pt x="1560" y="2147"/>
                    </a:lnTo>
                    <a:lnTo>
                      <a:pt x="1574" y="2144"/>
                    </a:lnTo>
                    <a:lnTo>
                      <a:pt x="1585" y="2141"/>
                    </a:lnTo>
                    <a:lnTo>
                      <a:pt x="1595" y="2137"/>
                    </a:lnTo>
                    <a:lnTo>
                      <a:pt x="1605" y="2132"/>
                    </a:lnTo>
                    <a:lnTo>
                      <a:pt x="1614" y="2125"/>
                    </a:lnTo>
                    <a:lnTo>
                      <a:pt x="1622" y="2119"/>
                    </a:lnTo>
                    <a:lnTo>
                      <a:pt x="1630" y="2110"/>
                    </a:lnTo>
                    <a:lnTo>
                      <a:pt x="1634" y="2100"/>
                    </a:lnTo>
                    <a:lnTo>
                      <a:pt x="1640" y="2091"/>
                    </a:lnTo>
                    <a:lnTo>
                      <a:pt x="1644" y="2080"/>
                    </a:lnTo>
                    <a:lnTo>
                      <a:pt x="1648" y="2068"/>
                    </a:lnTo>
                    <a:lnTo>
                      <a:pt x="1650" y="2055"/>
                    </a:lnTo>
                    <a:lnTo>
                      <a:pt x="1651" y="2042"/>
                    </a:lnTo>
                    <a:lnTo>
                      <a:pt x="1651" y="2026"/>
                    </a:lnTo>
                    <a:lnTo>
                      <a:pt x="1651" y="1805"/>
                    </a:lnTo>
                    <a:lnTo>
                      <a:pt x="1591" y="1805"/>
                    </a:lnTo>
                    <a:lnTo>
                      <a:pt x="1591" y="1822"/>
                    </a:lnTo>
                    <a:close/>
                    <a:moveTo>
                      <a:pt x="1591" y="1879"/>
                    </a:moveTo>
                    <a:lnTo>
                      <a:pt x="1591" y="1975"/>
                    </a:lnTo>
                    <a:lnTo>
                      <a:pt x="1591" y="1975"/>
                    </a:lnTo>
                    <a:lnTo>
                      <a:pt x="1583" y="1984"/>
                    </a:lnTo>
                    <a:lnTo>
                      <a:pt x="1574" y="1992"/>
                    </a:lnTo>
                    <a:lnTo>
                      <a:pt x="1569" y="1995"/>
                    </a:lnTo>
                    <a:lnTo>
                      <a:pt x="1563" y="1997"/>
                    </a:lnTo>
                    <a:lnTo>
                      <a:pt x="1555" y="1998"/>
                    </a:lnTo>
                    <a:lnTo>
                      <a:pt x="1548" y="2000"/>
                    </a:lnTo>
                    <a:lnTo>
                      <a:pt x="1548" y="2000"/>
                    </a:lnTo>
                    <a:lnTo>
                      <a:pt x="1540" y="1998"/>
                    </a:lnTo>
                    <a:lnTo>
                      <a:pt x="1532" y="1996"/>
                    </a:lnTo>
                    <a:lnTo>
                      <a:pt x="1524" y="1991"/>
                    </a:lnTo>
                    <a:lnTo>
                      <a:pt x="1518" y="1985"/>
                    </a:lnTo>
                    <a:lnTo>
                      <a:pt x="1512" y="1975"/>
                    </a:lnTo>
                    <a:lnTo>
                      <a:pt x="1507" y="1962"/>
                    </a:lnTo>
                    <a:lnTo>
                      <a:pt x="1503" y="1945"/>
                    </a:lnTo>
                    <a:lnTo>
                      <a:pt x="1502" y="1923"/>
                    </a:lnTo>
                    <a:lnTo>
                      <a:pt x="1502" y="1923"/>
                    </a:lnTo>
                    <a:lnTo>
                      <a:pt x="1503" y="1904"/>
                    </a:lnTo>
                    <a:lnTo>
                      <a:pt x="1507" y="1889"/>
                    </a:lnTo>
                    <a:lnTo>
                      <a:pt x="1512" y="1877"/>
                    </a:lnTo>
                    <a:lnTo>
                      <a:pt x="1518" y="1868"/>
                    </a:lnTo>
                    <a:lnTo>
                      <a:pt x="1524" y="1861"/>
                    </a:lnTo>
                    <a:lnTo>
                      <a:pt x="1532" y="1857"/>
                    </a:lnTo>
                    <a:lnTo>
                      <a:pt x="1540" y="1855"/>
                    </a:lnTo>
                    <a:lnTo>
                      <a:pt x="1548" y="1855"/>
                    </a:lnTo>
                    <a:lnTo>
                      <a:pt x="1548" y="1855"/>
                    </a:lnTo>
                    <a:lnTo>
                      <a:pt x="1555" y="1855"/>
                    </a:lnTo>
                    <a:lnTo>
                      <a:pt x="1563" y="1857"/>
                    </a:lnTo>
                    <a:lnTo>
                      <a:pt x="1570" y="1860"/>
                    </a:lnTo>
                    <a:lnTo>
                      <a:pt x="1575" y="1862"/>
                    </a:lnTo>
                    <a:lnTo>
                      <a:pt x="1580" y="1867"/>
                    </a:lnTo>
                    <a:lnTo>
                      <a:pt x="1585" y="1871"/>
                    </a:lnTo>
                    <a:lnTo>
                      <a:pt x="1591" y="1879"/>
                    </a:lnTo>
                    <a:lnTo>
                      <a:pt x="1591" y="1879"/>
                    </a:lnTo>
                    <a:close/>
                    <a:moveTo>
                      <a:pt x="1840" y="1865"/>
                    </a:moveTo>
                    <a:lnTo>
                      <a:pt x="1840" y="1865"/>
                    </a:lnTo>
                    <a:lnTo>
                      <a:pt x="1854" y="1857"/>
                    </a:lnTo>
                    <a:lnTo>
                      <a:pt x="1869" y="1852"/>
                    </a:lnTo>
                    <a:lnTo>
                      <a:pt x="1885" y="1849"/>
                    </a:lnTo>
                    <a:lnTo>
                      <a:pt x="1902" y="1848"/>
                    </a:lnTo>
                    <a:lnTo>
                      <a:pt x="1902" y="1848"/>
                    </a:lnTo>
                    <a:lnTo>
                      <a:pt x="1913" y="1849"/>
                    </a:lnTo>
                    <a:lnTo>
                      <a:pt x="1921" y="1850"/>
                    </a:lnTo>
                    <a:lnTo>
                      <a:pt x="1928" y="1852"/>
                    </a:lnTo>
                    <a:lnTo>
                      <a:pt x="1935" y="1857"/>
                    </a:lnTo>
                    <a:lnTo>
                      <a:pt x="1939" y="1862"/>
                    </a:lnTo>
                    <a:lnTo>
                      <a:pt x="1943" y="1868"/>
                    </a:lnTo>
                    <a:lnTo>
                      <a:pt x="1945" y="1874"/>
                    </a:lnTo>
                    <a:lnTo>
                      <a:pt x="1945" y="1883"/>
                    </a:lnTo>
                    <a:lnTo>
                      <a:pt x="1945" y="1900"/>
                    </a:lnTo>
                    <a:lnTo>
                      <a:pt x="1945" y="1900"/>
                    </a:lnTo>
                    <a:lnTo>
                      <a:pt x="1935" y="1895"/>
                    </a:lnTo>
                    <a:lnTo>
                      <a:pt x="1921" y="1891"/>
                    </a:lnTo>
                    <a:lnTo>
                      <a:pt x="1908" y="1889"/>
                    </a:lnTo>
                    <a:lnTo>
                      <a:pt x="1893" y="1888"/>
                    </a:lnTo>
                    <a:lnTo>
                      <a:pt x="1893" y="1888"/>
                    </a:lnTo>
                    <a:lnTo>
                      <a:pt x="1876" y="1889"/>
                    </a:lnTo>
                    <a:lnTo>
                      <a:pt x="1859" y="1893"/>
                    </a:lnTo>
                    <a:lnTo>
                      <a:pt x="1843" y="1897"/>
                    </a:lnTo>
                    <a:lnTo>
                      <a:pt x="1835" y="1901"/>
                    </a:lnTo>
                    <a:lnTo>
                      <a:pt x="1828" y="1906"/>
                    </a:lnTo>
                    <a:lnTo>
                      <a:pt x="1822" y="1911"/>
                    </a:lnTo>
                    <a:lnTo>
                      <a:pt x="1815" y="1917"/>
                    </a:lnTo>
                    <a:lnTo>
                      <a:pt x="1809" y="1923"/>
                    </a:lnTo>
                    <a:lnTo>
                      <a:pt x="1805" y="1930"/>
                    </a:lnTo>
                    <a:lnTo>
                      <a:pt x="1801" y="1939"/>
                    </a:lnTo>
                    <a:lnTo>
                      <a:pt x="1798" y="1948"/>
                    </a:lnTo>
                    <a:lnTo>
                      <a:pt x="1797" y="1958"/>
                    </a:lnTo>
                    <a:lnTo>
                      <a:pt x="1796" y="1968"/>
                    </a:lnTo>
                    <a:lnTo>
                      <a:pt x="1796" y="1968"/>
                    </a:lnTo>
                    <a:lnTo>
                      <a:pt x="1797" y="1980"/>
                    </a:lnTo>
                    <a:lnTo>
                      <a:pt x="1798" y="1991"/>
                    </a:lnTo>
                    <a:lnTo>
                      <a:pt x="1801" y="2000"/>
                    </a:lnTo>
                    <a:lnTo>
                      <a:pt x="1805" y="2009"/>
                    </a:lnTo>
                    <a:lnTo>
                      <a:pt x="1808" y="2017"/>
                    </a:lnTo>
                    <a:lnTo>
                      <a:pt x="1814" y="2024"/>
                    </a:lnTo>
                    <a:lnTo>
                      <a:pt x="1819" y="2030"/>
                    </a:lnTo>
                    <a:lnTo>
                      <a:pt x="1826" y="2036"/>
                    </a:lnTo>
                    <a:lnTo>
                      <a:pt x="1832" y="2041"/>
                    </a:lnTo>
                    <a:lnTo>
                      <a:pt x="1840" y="2045"/>
                    </a:lnTo>
                    <a:lnTo>
                      <a:pt x="1856" y="2051"/>
                    </a:lnTo>
                    <a:lnTo>
                      <a:pt x="1871" y="2054"/>
                    </a:lnTo>
                    <a:lnTo>
                      <a:pt x="1887" y="2055"/>
                    </a:lnTo>
                    <a:lnTo>
                      <a:pt x="1887" y="2055"/>
                    </a:lnTo>
                    <a:lnTo>
                      <a:pt x="1901" y="2053"/>
                    </a:lnTo>
                    <a:lnTo>
                      <a:pt x="1909" y="2052"/>
                    </a:lnTo>
                    <a:lnTo>
                      <a:pt x="1916" y="2049"/>
                    </a:lnTo>
                    <a:lnTo>
                      <a:pt x="1925" y="2046"/>
                    </a:lnTo>
                    <a:lnTo>
                      <a:pt x="1932" y="2041"/>
                    </a:lnTo>
                    <a:lnTo>
                      <a:pt x="1939" y="2036"/>
                    </a:lnTo>
                    <a:lnTo>
                      <a:pt x="1945" y="2030"/>
                    </a:lnTo>
                    <a:lnTo>
                      <a:pt x="1945" y="2049"/>
                    </a:lnTo>
                    <a:lnTo>
                      <a:pt x="2006" y="2049"/>
                    </a:lnTo>
                    <a:lnTo>
                      <a:pt x="2006" y="1884"/>
                    </a:lnTo>
                    <a:lnTo>
                      <a:pt x="2006" y="1884"/>
                    </a:lnTo>
                    <a:lnTo>
                      <a:pt x="2006" y="1874"/>
                    </a:lnTo>
                    <a:lnTo>
                      <a:pt x="2005" y="1866"/>
                    </a:lnTo>
                    <a:lnTo>
                      <a:pt x="2003" y="1857"/>
                    </a:lnTo>
                    <a:lnTo>
                      <a:pt x="2000" y="1849"/>
                    </a:lnTo>
                    <a:lnTo>
                      <a:pt x="1995" y="1842"/>
                    </a:lnTo>
                    <a:lnTo>
                      <a:pt x="1992" y="1834"/>
                    </a:lnTo>
                    <a:lnTo>
                      <a:pt x="1986" y="1828"/>
                    </a:lnTo>
                    <a:lnTo>
                      <a:pt x="1979" y="1822"/>
                    </a:lnTo>
                    <a:lnTo>
                      <a:pt x="1973" y="1817"/>
                    </a:lnTo>
                    <a:lnTo>
                      <a:pt x="1966" y="1812"/>
                    </a:lnTo>
                    <a:lnTo>
                      <a:pt x="1958" y="1809"/>
                    </a:lnTo>
                    <a:lnTo>
                      <a:pt x="1949" y="1805"/>
                    </a:lnTo>
                    <a:lnTo>
                      <a:pt x="1939" y="1803"/>
                    </a:lnTo>
                    <a:lnTo>
                      <a:pt x="1930" y="1801"/>
                    </a:lnTo>
                    <a:lnTo>
                      <a:pt x="1919" y="1800"/>
                    </a:lnTo>
                    <a:lnTo>
                      <a:pt x="1908" y="1799"/>
                    </a:lnTo>
                    <a:lnTo>
                      <a:pt x="1908" y="1799"/>
                    </a:lnTo>
                    <a:lnTo>
                      <a:pt x="1894" y="1800"/>
                    </a:lnTo>
                    <a:lnTo>
                      <a:pt x="1883" y="1800"/>
                    </a:lnTo>
                    <a:lnTo>
                      <a:pt x="1871" y="1803"/>
                    </a:lnTo>
                    <a:lnTo>
                      <a:pt x="1859" y="1805"/>
                    </a:lnTo>
                    <a:lnTo>
                      <a:pt x="1848" y="1809"/>
                    </a:lnTo>
                    <a:lnTo>
                      <a:pt x="1837" y="1812"/>
                    </a:lnTo>
                    <a:lnTo>
                      <a:pt x="1826" y="1817"/>
                    </a:lnTo>
                    <a:lnTo>
                      <a:pt x="1815" y="1823"/>
                    </a:lnTo>
                    <a:lnTo>
                      <a:pt x="1840" y="1865"/>
                    </a:lnTo>
                    <a:close/>
                    <a:moveTo>
                      <a:pt x="1857" y="1968"/>
                    </a:moveTo>
                    <a:lnTo>
                      <a:pt x="1857" y="1968"/>
                    </a:lnTo>
                    <a:lnTo>
                      <a:pt x="1857" y="1961"/>
                    </a:lnTo>
                    <a:lnTo>
                      <a:pt x="1859" y="1953"/>
                    </a:lnTo>
                    <a:lnTo>
                      <a:pt x="1863" y="1947"/>
                    </a:lnTo>
                    <a:lnTo>
                      <a:pt x="1868" y="1942"/>
                    </a:lnTo>
                    <a:lnTo>
                      <a:pt x="1874" y="1939"/>
                    </a:lnTo>
                    <a:lnTo>
                      <a:pt x="1881" y="1936"/>
                    </a:lnTo>
                    <a:lnTo>
                      <a:pt x="1890" y="1934"/>
                    </a:lnTo>
                    <a:lnTo>
                      <a:pt x="1898" y="1934"/>
                    </a:lnTo>
                    <a:lnTo>
                      <a:pt x="1898" y="1934"/>
                    </a:lnTo>
                    <a:lnTo>
                      <a:pt x="1911" y="1934"/>
                    </a:lnTo>
                    <a:lnTo>
                      <a:pt x="1924" y="1936"/>
                    </a:lnTo>
                    <a:lnTo>
                      <a:pt x="1935" y="1940"/>
                    </a:lnTo>
                    <a:lnTo>
                      <a:pt x="1945" y="1946"/>
                    </a:lnTo>
                    <a:lnTo>
                      <a:pt x="1945" y="1979"/>
                    </a:lnTo>
                    <a:lnTo>
                      <a:pt x="1945" y="1979"/>
                    </a:lnTo>
                    <a:lnTo>
                      <a:pt x="1943" y="1984"/>
                    </a:lnTo>
                    <a:lnTo>
                      <a:pt x="1938" y="1989"/>
                    </a:lnTo>
                    <a:lnTo>
                      <a:pt x="1933" y="1993"/>
                    </a:lnTo>
                    <a:lnTo>
                      <a:pt x="1927" y="1997"/>
                    </a:lnTo>
                    <a:lnTo>
                      <a:pt x="1921" y="2001"/>
                    </a:lnTo>
                    <a:lnTo>
                      <a:pt x="1914" y="2003"/>
                    </a:lnTo>
                    <a:lnTo>
                      <a:pt x="1907" y="2004"/>
                    </a:lnTo>
                    <a:lnTo>
                      <a:pt x="1898" y="2006"/>
                    </a:lnTo>
                    <a:lnTo>
                      <a:pt x="1898" y="2006"/>
                    </a:lnTo>
                    <a:lnTo>
                      <a:pt x="1890" y="2004"/>
                    </a:lnTo>
                    <a:lnTo>
                      <a:pt x="1881" y="2002"/>
                    </a:lnTo>
                    <a:lnTo>
                      <a:pt x="1874" y="2000"/>
                    </a:lnTo>
                    <a:lnTo>
                      <a:pt x="1868" y="1995"/>
                    </a:lnTo>
                    <a:lnTo>
                      <a:pt x="1863" y="1990"/>
                    </a:lnTo>
                    <a:lnTo>
                      <a:pt x="1859" y="1984"/>
                    </a:lnTo>
                    <a:lnTo>
                      <a:pt x="1858" y="1976"/>
                    </a:lnTo>
                    <a:lnTo>
                      <a:pt x="1857" y="1968"/>
                    </a:lnTo>
                    <a:lnTo>
                      <a:pt x="1857" y="1968"/>
                    </a:lnTo>
                    <a:close/>
                    <a:moveTo>
                      <a:pt x="2569" y="1979"/>
                    </a:moveTo>
                    <a:lnTo>
                      <a:pt x="2569" y="1979"/>
                    </a:lnTo>
                    <a:lnTo>
                      <a:pt x="2560" y="1986"/>
                    </a:lnTo>
                    <a:lnTo>
                      <a:pt x="2549" y="1992"/>
                    </a:lnTo>
                    <a:lnTo>
                      <a:pt x="2543" y="1995"/>
                    </a:lnTo>
                    <a:lnTo>
                      <a:pt x="2536" y="1997"/>
                    </a:lnTo>
                    <a:lnTo>
                      <a:pt x="2529" y="1998"/>
                    </a:lnTo>
                    <a:lnTo>
                      <a:pt x="2521" y="2000"/>
                    </a:lnTo>
                    <a:lnTo>
                      <a:pt x="2521" y="2000"/>
                    </a:lnTo>
                    <a:lnTo>
                      <a:pt x="2515" y="1998"/>
                    </a:lnTo>
                    <a:lnTo>
                      <a:pt x="2508" y="1998"/>
                    </a:lnTo>
                    <a:lnTo>
                      <a:pt x="2500" y="1996"/>
                    </a:lnTo>
                    <a:lnTo>
                      <a:pt x="2490" y="1991"/>
                    </a:lnTo>
                    <a:lnTo>
                      <a:pt x="2481" y="1985"/>
                    </a:lnTo>
                    <a:lnTo>
                      <a:pt x="2478" y="1980"/>
                    </a:lnTo>
                    <a:lnTo>
                      <a:pt x="2474" y="1975"/>
                    </a:lnTo>
                    <a:lnTo>
                      <a:pt x="2472" y="1969"/>
                    </a:lnTo>
                    <a:lnTo>
                      <a:pt x="2469" y="1962"/>
                    </a:lnTo>
                    <a:lnTo>
                      <a:pt x="2468" y="1955"/>
                    </a:lnTo>
                    <a:lnTo>
                      <a:pt x="2467" y="1946"/>
                    </a:lnTo>
                    <a:lnTo>
                      <a:pt x="2616" y="1946"/>
                    </a:lnTo>
                    <a:lnTo>
                      <a:pt x="2616" y="1946"/>
                    </a:lnTo>
                    <a:lnTo>
                      <a:pt x="2617" y="1928"/>
                    </a:lnTo>
                    <a:lnTo>
                      <a:pt x="2617" y="1928"/>
                    </a:lnTo>
                    <a:lnTo>
                      <a:pt x="2617" y="1913"/>
                    </a:lnTo>
                    <a:lnTo>
                      <a:pt x="2615" y="1900"/>
                    </a:lnTo>
                    <a:lnTo>
                      <a:pt x="2614" y="1886"/>
                    </a:lnTo>
                    <a:lnTo>
                      <a:pt x="2610" y="1874"/>
                    </a:lnTo>
                    <a:lnTo>
                      <a:pt x="2607" y="1863"/>
                    </a:lnTo>
                    <a:lnTo>
                      <a:pt x="2602" y="1852"/>
                    </a:lnTo>
                    <a:lnTo>
                      <a:pt x="2596" y="1843"/>
                    </a:lnTo>
                    <a:lnTo>
                      <a:pt x="2589" y="1834"/>
                    </a:lnTo>
                    <a:lnTo>
                      <a:pt x="2582" y="1826"/>
                    </a:lnTo>
                    <a:lnTo>
                      <a:pt x="2575" y="1820"/>
                    </a:lnTo>
                    <a:lnTo>
                      <a:pt x="2566" y="1814"/>
                    </a:lnTo>
                    <a:lnTo>
                      <a:pt x="2557" y="1809"/>
                    </a:lnTo>
                    <a:lnTo>
                      <a:pt x="2547" y="1805"/>
                    </a:lnTo>
                    <a:lnTo>
                      <a:pt x="2537" y="1801"/>
                    </a:lnTo>
                    <a:lnTo>
                      <a:pt x="2526" y="1800"/>
                    </a:lnTo>
                    <a:lnTo>
                      <a:pt x="2514" y="1799"/>
                    </a:lnTo>
                    <a:lnTo>
                      <a:pt x="2514" y="1799"/>
                    </a:lnTo>
                    <a:lnTo>
                      <a:pt x="2503" y="1800"/>
                    </a:lnTo>
                    <a:lnTo>
                      <a:pt x="2492" y="1801"/>
                    </a:lnTo>
                    <a:lnTo>
                      <a:pt x="2481" y="1805"/>
                    </a:lnTo>
                    <a:lnTo>
                      <a:pt x="2470" y="1809"/>
                    </a:lnTo>
                    <a:lnTo>
                      <a:pt x="2461" y="1814"/>
                    </a:lnTo>
                    <a:lnTo>
                      <a:pt x="2452" y="1821"/>
                    </a:lnTo>
                    <a:lnTo>
                      <a:pt x="2444" y="1827"/>
                    </a:lnTo>
                    <a:lnTo>
                      <a:pt x="2436" y="1835"/>
                    </a:lnTo>
                    <a:lnTo>
                      <a:pt x="2429" y="1844"/>
                    </a:lnTo>
                    <a:lnTo>
                      <a:pt x="2423" y="1854"/>
                    </a:lnTo>
                    <a:lnTo>
                      <a:pt x="2418" y="1865"/>
                    </a:lnTo>
                    <a:lnTo>
                      <a:pt x="2413" y="1876"/>
                    </a:lnTo>
                    <a:lnTo>
                      <a:pt x="2410" y="1888"/>
                    </a:lnTo>
                    <a:lnTo>
                      <a:pt x="2407" y="1901"/>
                    </a:lnTo>
                    <a:lnTo>
                      <a:pt x="2406" y="1913"/>
                    </a:lnTo>
                    <a:lnTo>
                      <a:pt x="2405" y="1928"/>
                    </a:lnTo>
                    <a:lnTo>
                      <a:pt x="2405" y="1928"/>
                    </a:lnTo>
                    <a:lnTo>
                      <a:pt x="2406" y="1941"/>
                    </a:lnTo>
                    <a:lnTo>
                      <a:pt x="2407" y="1955"/>
                    </a:lnTo>
                    <a:lnTo>
                      <a:pt x="2410" y="1968"/>
                    </a:lnTo>
                    <a:lnTo>
                      <a:pt x="2413" y="1980"/>
                    </a:lnTo>
                    <a:lnTo>
                      <a:pt x="2418" y="1991"/>
                    </a:lnTo>
                    <a:lnTo>
                      <a:pt x="2423" y="2002"/>
                    </a:lnTo>
                    <a:lnTo>
                      <a:pt x="2429" y="2012"/>
                    </a:lnTo>
                    <a:lnTo>
                      <a:pt x="2436" y="2020"/>
                    </a:lnTo>
                    <a:lnTo>
                      <a:pt x="2445" y="2028"/>
                    </a:lnTo>
                    <a:lnTo>
                      <a:pt x="2453" y="2035"/>
                    </a:lnTo>
                    <a:lnTo>
                      <a:pt x="2463" y="2041"/>
                    </a:lnTo>
                    <a:lnTo>
                      <a:pt x="2473" y="2046"/>
                    </a:lnTo>
                    <a:lnTo>
                      <a:pt x="2484" y="2049"/>
                    </a:lnTo>
                    <a:lnTo>
                      <a:pt x="2496" y="2053"/>
                    </a:lnTo>
                    <a:lnTo>
                      <a:pt x="2508" y="2054"/>
                    </a:lnTo>
                    <a:lnTo>
                      <a:pt x="2521" y="2055"/>
                    </a:lnTo>
                    <a:lnTo>
                      <a:pt x="2521" y="2055"/>
                    </a:lnTo>
                    <a:lnTo>
                      <a:pt x="2534" y="2054"/>
                    </a:lnTo>
                    <a:lnTo>
                      <a:pt x="2545" y="2053"/>
                    </a:lnTo>
                    <a:lnTo>
                      <a:pt x="2557" y="2049"/>
                    </a:lnTo>
                    <a:lnTo>
                      <a:pt x="2568" y="2046"/>
                    </a:lnTo>
                    <a:lnTo>
                      <a:pt x="2579" y="2040"/>
                    </a:lnTo>
                    <a:lnTo>
                      <a:pt x="2588" y="2034"/>
                    </a:lnTo>
                    <a:lnTo>
                      <a:pt x="2598" y="2025"/>
                    </a:lnTo>
                    <a:lnTo>
                      <a:pt x="2608" y="2017"/>
                    </a:lnTo>
                    <a:lnTo>
                      <a:pt x="2569" y="1979"/>
                    </a:lnTo>
                    <a:close/>
                    <a:moveTo>
                      <a:pt x="2468" y="1901"/>
                    </a:moveTo>
                    <a:lnTo>
                      <a:pt x="2468" y="1901"/>
                    </a:lnTo>
                    <a:lnTo>
                      <a:pt x="2469" y="1890"/>
                    </a:lnTo>
                    <a:lnTo>
                      <a:pt x="2472" y="1880"/>
                    </a:lnTo>
                    <a:lnTo>
                      <a:pt x="2475" y="1872"/>
                    </a:lnTo>
                    <a:lnTo>
                      <a:pt x="2481" y="1865"/>
                    </a:lnTo>
                    <a:lnTo>
                      <a:pt x="2487" y="1859"/>
                    </a:lnTo>
                    <a:lnTo>
                      <a:pt x="2495" y="1855"/>
                    </a:lnTo>
                    <a:lnTo>
                      <a:pt x="2503" y="1851"/>
                    </a:lnTo>
                    <a:lnTo>
                      <a:pt x="2513" y="1851"/>
                    </a:lnTo>
                    <a:lnTo>
                      <a:pt x="2513" y="1851"/>
                    </a:lnTo>
                    <a:lnTo>
                      <a:pt x="2524" y="1852"/>
                    </a:lnTo>
                    <a:lnTo>
                      <a:pt x="2534" y="1855"/>
                    </a:lnTo>
                    <a:lnTo>
                      <a:pt x="2541" y="1860"/>
                    </a:lnTo>
                    <a:lnTo>
                      <a:pt x="2547" y="1867"/>
                    </a:lnTo>
                    <a:lnTo>
                      <a:pt x="2552" y="1874"/>
                    </a:lnTo>
                    <a:lnTo>
                      <a:pt x="2555" y="1883"/>
                    </a:lnTo>
                    <a:lnTo>
                      <a:pt x="2558" y="1893"/>
                    </a:lnTo>
                    <a:lnTo>
                      <a:pt x="2559" y="1901"/>
                    </a:lnTo>
                    <a:lnTo>
                      <a:pt x="2468" y="1901"/>
                    </a:lnTo>
                    <a:close/>
                    <a:moveTo>
                      <a:pt x="3153" y="1979"/>
                    </a:moveTo>
                    <a:lnTo>
                      <a:pt x="3153" y="1979"/>
                    </a:lnTo>
                    <a:lnTo>
                      <a:pt x="3144" y="1986"/>
                    </a:lnTo>
                    <a:lnTo>
                      <a:pt x="3134" y="1992"/>
                    </a:lnTo>
                    <a:lnTo>
                      <a:pt x="3127" y="1995"/>
                    </a:lnTo>
                    <a:lnTo>
                      <a:pt x="3121" y="1997"/>
                    </a:lnTo>
                    <a:lnTo>
                      <a:pt x="3113" y="1998"/>
                    </a:lnTo>
                    <a:lnTo>
                      <a:pt x="3105" y="2000"/>
                    </a:lnTo>
                    <a:lnTo>
                      <a:pt x="3105" y="2000"/>
                    </a:lnTo>
                    <a:lnTo>
                      <a:pt x="3099" y="1998"/>
                    </a:lnTo>
                    <a:lnTo>
                      <a:pt x="3091" y="1998"/>
                    </a:lnTo>
                    <a:lnTo>
                      <a:pt x="3083" y="1996"/>
                    </a:lnTo>
                    <a:lnTo>
                      <a:pt x="3074" y="1991"/>
                    </a:lnTo>
                    <a:lnTo>
                      <a:pt x="3066" y="1985"/>
                    </a:lnTo>
                    <a:lnTo>
                      <a:pt x="3062" y="1980"/>
                    </a:lnTo>
                    <a:lnTo>
                      <a:pt x="3059" y="1975"/>
                    </a:lnTo>
                    <a:lnTo>
                      <a:pt x="3056" y="1969"/>
                    </a:lnTo>
                    <a:lnTo>
                      <a:pt x="3054" y="1962"/>
                    </a:lnTo>
                    <a:lnTo>
                      <a:pt x="3051" y="1955"/>
                    </a:lnTo>
                    <a:lnTo>
                      <a:pt x="3050" y="1946"/>
                    </a:lnTo>
                    <a:lnTo>
                      <a:pt x="3201" y="1946"/>
                    </a:lnTo>
                    <a:lnTo>
                      <a:pt x="3201" y="1946"/>
                    </a:lnTo>
                    <a:lnTo>
                      <a:pt x="3202" y="1928"/>
                    </a:lnTo>
                    <a:lnTo>
                      <a:pt x="3202" y="1928"/>
                    </a:lnTo>
                    <a:lnTo>
                      <a:pt x="3201" y="1913"/>
                    </a:lnTo>
                    <a:lnTo>
                      <a:pt x="3199" y="1900"/>
                    </a:lnTo>
                    <a:lnTo>
                      <a:pt x="3197" y="1886"/>
                    </a:lnTo>
                    <a:lnTo>
                      <a:pt x="3195" y="1874"/>
                    </a:lnTo>
                    <a:lnTo>
                      <a:pt x="3190" y="1863"/>
                    </a:lnTo>
                    <a:lnTo>
                      <a:pt x="3185" y="1852"/>
                    </a:lnTo>
                    <a:lnTo>
                      <a:pt x="3180" y="1843"/>
                    </a:lnTo>
                    <a:lnTo>
                      <a:pt x="3174" y="1834"/>
                    </a:lnTo>
                    <a:lnTo>
                      <a:pt x="3167" y="1826"/>
                    </a:lnTo>
                    <a:lnTo>
                      <a:pt x="3158" y="1820"/>
                    </a:lnTo>
                    <a:lnTo>
                      <a:pt x="3150" y="1814"/>
                    </a:lnTo>
                    <a:lnTo>
                      <a:pt x="3141" y="1809"/>
                    </a:lnTo>
                    <a:lnTo>
                      <a:pt x="3131" y="1805"/>
                    </a:lnTo>
                    <a:lnTo>
                      <a:pt x="3121" y="1801"/>
                    </a:lnTo>
                    <a:lnTo>
                      <a:pt x="3110" y="1800"/>
                    </a:lnTo>
                    <a:lnTo>
                      <a:pt x="3099" y="1799"/>
                    </a:lnTo>
                    <a:lnTo>
                      <a:pt x="3099" y="1799"/>
                    </a:lnTo>
                    <a:lnTo>
                      <a:pt x="3086" y="1800"/>
                    </a:lnTo>
                    <a:lnTo>
                      <a:pt x="3076" y="1801"/>
                    </a:lnTo>
                    <a:lnTo>
                      <a:pt x="3065" y="1805"/>
                    </a:lnTo>
                    <a:lnTo>
                      <a:pt x="3055" y="1809"/>
                    </a:lnTo>
                    <a:lnTo>
                      <a:pt x="3045" y="1814"/>
                    </a:lnTo>
                    <a:lnTo>
                      <a:pt x="3035" y="1821"/>
                    </a:lnTo>
                    <a:lnTo>
                      <a:pt x="3028" y="1827"/>
                    </a:lnTo>
                    <a:lnTo>
                      <a:pt x="3020" y="1835"/>
                    </a:lnTo>
                    <a:lnTo>
                      <a:pt x="3012" y="1844"/>
                    </a:lnTo>
                    <a:lnTo>
                      <a:pt x="3006" y="1854"/>
                    </a:lnTo>
                    <a:lnTo>
                      <a:pt x="3001" y="1865"/>
                    </a:lnTo>
                    <a:lnTo>
                      <a:pt x="2997" y="1876"/>
                    </a:lnTo>
                    <a:lnTo>
                      <a:pt x="2994" y="1888"/>
                    </a:lnTo>
                    <a:lnTo>
                      <a:pt x="2990" y="1901"/>
                    </a:lnTo>
                    <a:lnTo>
                      <a:pt x="2989" y="1913"/>
                    </a:lnTo>
                    <a:lnTo>
                      <a:pt x="2989" y="1928"/>
                    </a:lnTo>
                    <a:lnTo>
                      <a:pt x="2989" y="1928"/>
                    </a:lnTo>
                    <a:lnTo>
                      <a:pt x="2989" y="1941"/>
                    </a:lnTo>
                    <a:lnTo>
                      <a:pt x="2990" y="1955"/>
                    </a:lnTo>
                    <a:lnTo>
                      <a:pt x="2993" y="1968"/>
                    </a:lnTo>
                    <a:lnTo>
                      <a:pt x="2997" y="1980"/>
                    </a:lnTo>
                    <a:lnTo>
                      <a:pt x="3001" y="1991"/>
                    </a:lnTo>
                    <a:lnTo>
                      <a:pt x="3008" y="2002"/>
                    </a:lnTo>
                    <a:lnTo>
                      <a:pt x="3014" y="2012"/>
                    </a:lnTo>
                    <a:lnTo>
                      <a:pt x="3021" y="2020"/>
                    </a:lnTo>
                    <a:lnTo>
                      <a:pt x="3028" y="2028"/>
                    </a:lnTo>
                    <a:lnTo>
                      <a:pt x="3037" y="2035"/>
                    </a:lnTo>
                    <a:lnTo>
                      <a:pt x="3046" y="2041"/>
                    </a:lnTo>
                    <a:lnTo>
                      <a:pt x="3057" y="2046"/>
                    </a:lnTo>
                    <a:lnTo>
                      <a:pt x="3068" y="2049"/>
                    </a:lnTo>
                    <a:lnTo>
                      <a:pt x="3079" y="2053"/>
                    </a:lnTo>
                    <a:lnTo>
                      <a:pt x="3093" y="2054"/>
                    </a:lnTo>
                    <a:lnTo>
                      <a:pt x="3105" y="2055"/>
                    </a:lnTo>
                    <a:lnTo>
                      <a:pt x="3105" y="2055"/>
                    </a:lnTo>
                    <a:lnTo>
                      <a:pt x="3117" y="2054"/>
                    </a:lnTo>
                    <a:lnTo>
                      <a:pt x="3129" y="2053"/>
                    </a:lnTo>
                    <a:lnTo>
                      <a:pt x="3140" y="2049"/>
                    </a:lnTo>
                    <a:lnTo>
                      <a:pt x="3151" y="2046"/>
                    </a:lnTo>
                    <a:lnTo>
                      <a:pt x="3162" y="2040"/>
                    </a:lnTo>
                    <a:lnTo>
                      <a:pt x="3173" y="2034"/>
                    </a:lnTo>
                    <a:lnTo>
                      <a:pt x="3182" y="2025"/>
                    </a:lnTo>
                    <a:lnTo>
                      <a:pt x="3191" y="2017"/>
                    </a:lnTo>
                    <a:lnTo>
                      <a:pt x="3153" y="1979"/>
                    </a:lnTo>
                    <a:close/>
                    <a:moveTo>
                      <a:pt x="3051" y="1901"/>
                    </a:moveTo>
                    <a:lnTo>
                      <a:pt x="3051" y="1901"/>
                    </a:lnTo>
                    <a:lnTo>
                      <a:pt x="3052" y="1890"/>
                    </a:lnTo>
                    <a:lnTo>
                      <a:pt x="3056" y="1880"/>
                    </a:lnTo>
                    <a:lnTo>
                      <a:pt x="3060" y="1872"/>
                    </a:lnTo>
                    <a:lnTo>
                      <a:pt x="3065" y="1865"/>
                    </a:lnTo>
                    <a:lnTo>
                      <a:pt x="3072" y="1859"/>
                    </a:lnTo>
                    <a:lnTo>
                      <a:pt x="3079" y="1855"/>
                    </a:lnTo>
                    <a:lnTo>
                      <a:pt x="3088" y="1851"/>
                    </a:lnTo>
                    <a:lnTo>
                      <a:pt x="3097" y="1851"/>
                    </a:lnTo>
                    <a:lnTo>
                      <a:pt x="3097" y="1851"/>
                    </a:lnTo>
                    <a:lnTo>
                      <a:pt x="3108" y="1852"/>
                    </a:lnTo>
                    <a:lnTo>
                      <a:pt x="3117" y="1855"/>
                    </a:lnTo>
                    <a:lnTo>
                      <a:pt x="3125" y="1860"/>
                    </a:lnTo>
                    <a:lnTo>
                      <a:pt x="3131" y="1867"/>
                    </a:lnTo>
                    <a:lnTo>
                      <a:pt x="3136" y="1874"/>
                    </a:lnTo>
                    <a:lnTo>
                      <a:pt x="3140" y="1883"/>
                    </a:lnTo>
                    <a:lnTo>
                      <a:pt x="3142" y="1893"/>
                    </a:lnTo>
                    <a:lnTo>
                      <a:pt x="3144" y="1901"/>
                    </a:lnTo>
                    <a:lnTo>
                      <a:pt x="3051" y="1901"/>
                    </a:lnTo>
                    <a:close/>
                    <a:moveTo>
                      <a:pt x="2905" y="1964"/>
                    </a:moveTo>
                    <a:lnTo>
                      <a:pt x="2905" y="1964"/>
                    </a:lnTo>
                    <a:lnTo>
                      <a:pt x="2905" y="1973"/>
                    </a:lnTo>
                    <a:lnTo>
                      <a:pt x="2907" y="1979"/>
                    </a:lnTo>
                    <a:lnTo>
                      <a:pt x="2909" y="1985"/>
                    </a:lnTo>
                    <a:lnTo>
                      <a:pt x="2912" y="1990"/>
                    </a:lnTo>
                    <a:lnTo>
                      <a:pt x="2915" y="1993"/>
                    </a:lnTo>
                    <a:lnTo>
                      <a:pt x="2920" y="1996"/>
                    </a:lnTo>
                    <a:lnTo>
                      <a:pt x="2925" y="1997"/>
                    </a:lnTo>
                    <a:lnTo>
                      <a:pt x="2932" y="1997"/>
                    </a:lnTo>
                    <a:lnTo>
                      <a:pt x="2932" y="1997"/>
                    </a:lnTo>
                    <a:lnTo>
                      <a:pt x="2941" y="1997"/>
                    </a:lnTo>
                    <a:lnTo>
                      <a:pt x="2950" y="1995"/>
                    </a:lnTo>
                    <a:lnTo>
                      <a:pt x="2960" y="1991"/>
                    </a:lnTo>
                    <a:lnTo>
                      <a:pt x="2969" y="1986"/>
                    </a:lnTo>
                    <a:lnTo>
                      <a:pt x="2961" y="2043"/>
                    </a:lnTo>
                    <a:lnTo>
                      <a:pt x="2961" y="2043"/>
                    </a:lnTo>
                    <a:lnTo>
                      <a:pt x="2950" y="2048"/>
                    </a:lnTo>
                    <a:lnTo>
                      <a:pt x="2937" y="2052"/>
                    </a:lnTo>
                    <a:lnTo>
                      <a:pt x="2924" y="2054"/>
                    </a:lnTo>
                    <a:lnTo>
                      <a:pt x="2910" y="2055"/>
                    </a:lnTo>
                    <a:lnTo>
                      <a:pt x="2910" y="2055"/>
                    </a:lnTo>
                    <a:lnTo>
                      <a:pt x="2902" y="2054"/>
                    </a:lnTo>
                    <a:lnTo>
                      <a:pt x="2893" y="2053"/>
                    </a:lnTo>
                    <a:lnTo>
                      <a:pt x="2886" y="2051"/>
                    </a:lnTo>
                    <a:lnTo>
                      <a:pt x="2880" y="2048"/>
                    </a:lnTo>
                    <a:lnTo>
                      <a:pt x="2874" y="2045"/>
                    </a:lnTo>
                    <a:lnTo>
                      <a:pt x="2868" y="2041"/>
                    </a:lnTo>
                    <a:lnTo>
                      <a:pt x="2864" y="2036"/>
                    </a:lnTo>
                    <a:lnTo>
                      <a:pt x="2859" y="2030"/>
                    </a:lnTo>
                    <a:lnTo>
                      <a:pt x="2853" y="2019"/>
                    </a:lnTo>
                    <a:lnTo>
                      <a:pt x="2848" y="2006"/>
                    </a:lnTo>
                    <a:lnTo>
                      <a:pt x="2846" y="1993"/>
                    </a:lnTo>
                    <a:lnTo>
                      <a:pt x="2845" y="1980"/>
                    </a:lnTo>
                    <a:lnTo>
                      <a:pt x="2845" y="1861"/>
                    </a:lnTo>
                    <a:lnTo>
                      <a:pt x="2807" y="1861"/>
                    </a:lnTo>
                    <a:lnTo>
                      <a:pt x="2807" y="1805"/>
                    </a:lnTo>
                    <a:lnTo>
                      <a:pt x="2845" y="1805"/>
                    </a:lnTo>
                    <a:lnTo>
                      <a:pt x="2845" y="1742"/>
                    </a:lnTo>
                    <a:lnTo>
                      <a:pt x="2905" y="1711"/>
                    </a:lnTo>
                    <a:lnTo>
                      <a:pt x="2905" y="1805"/>
                    </a:lnTo>
                    <a:lnTo>
                      <a:pt x="2960" y="1805"/>
                    </a:lnTo>
                    <a:lnTo>
                      <a:pt x="2960" y="1861"/>
                    </a:lnTo>
                    <a:lnTo>
                      <a:pt x="2905" y="1861"/>
                    </a:lnTo>
                    <a:lnTo>
                      <a:pt x="2905" y="1964"/>
                    </a:lnTo>
                    <a:close/>
                    <a:moveTo>
                      <a:pt x="2788" y="2043"/>
                    </a:moveTo>
                    <a:lnTo>
                      <a:pt x="2788" y="2043"/>
                    </a:lnTo>
                    <a:lnTo>
                      <a:pt x="2777" y="2048"/>
                    </a:lnTo>
                    <a:lnTo>
                      <a:pt x="2764" y="2052"/>
                    </a:lnTo>
                    <a:lnTo>
                      <a:pt x="2751" y="2054"/>
                    </a:lnTo>
                    <a:lnTo>
                      <a:pt x="2738" y="2055"/>
                    </a:lnTo>
                    <a:lnTo>
                      <a:pt x="2738" y="2055"/>
                    </a:lnTo>
                    <a:lnTo>
                      <a:pt x="2728" y="2054"/>
                    </a:lnTo>
                    <a:lnTo>
                      <a:pt x="2721" y="2053"/>
                    </a:lnTo>
                    <a:lnTo>
                      <a:pt x="2713" y="2051"/>
                    </a:lnTo>
                    <a:lnTo>
                      <a:pt x="2706" y="2048"/>
                    </a:lnTo>
                    <a:lnTo>
                      <a:pt x="2701" y="2045"/>
                    </a:lnTo>
                    <a:lnTo>
                      <a:pt x="2695" y="2041"/>
                    </a:lnTo>
                    <a:lnTo>
                      <a:pt x="2690" y="2036"/>
                    </a:lnTo>
                    <a:lnTo>
                      <a:pt x="2687" y="2030"/>
                    </a:lnTo>
                    <a:lnTo>
                      <a:pt x="2679" y="2019"/>
                    </a:lnTo>
                    <a:lnTo>
                      <a:pt x="2676" y="2006"/>
                    </a:lnTo>
                    <a:lnTo>
                      <a:pt x="2672" y="1993"/>
                    </a:lnTo>
                    <a:lnTo>
                      <a:pt x="2672" y="1980"/>
                    </a:lnTo>
                    <a:lnTo>
                      <a:pt x="2672" y="1861"/>
                    </a:lnTo>
                    <a:lnTo>
                      <a:pt x="2634" y="1861"/>
                    </a:lnTo>
                    <a:lnTo>
                      <a:pt x="2634" y="1805"/>
                    </a:lnTo>
                    <a:lnTo>
                      <a:pt x="2672" y="1805"/>
                    </a:lnTo>
                    <a:lnTo>
                      <a:pt x="2672" y="1742"/>
                    </a:lnTo>
                    <a:lnTo>
                      <a:pt x="2733" y="1711"/>
                    </a:lnTo>
                    <a:lnTo>
                      <a:pt x="2733" y="1805"/>
                    </a:lnTo>
                    <a:lnTo>
                      <a:pt x="2784" y="1805"/>
                    </a:lnTo>
                    <a:lnTo>
                      <a:pt x="2784" y="1861"/>
                    </a:lnTo>
                    <a:lnTo>
                      <a:pt x="2733" y="1861"/>
                    </a:lnTo>
                    <a:lnTo>
                      <a:pt x="2733" y="1964"/>
                    </a:lnTo>
                    <a:lnTo>
                      <a:pt x="2733" y="1964"/>
                    </a:lnTo>
                    <a:lnTo>
                      <a:pt x="2733" y="1973"/>
                    </a:lnTo>
                    <a:lnTo>
                      <a:pt x="2734" y="1979"/>
                    </a:lnTo>
                    <a:lnTo>
                      <a:pt x="2737" y="1985"/>
                    </a:lnTo>
                    <a:lnTo>
                      <a:pt x="2739" y="1990"/>
                    </a:lnTo>
                    <a:lnTo>
                      <a:pt x="2743" y="1993"/>
                    </a:lnTo>
                    <a:lnTo>
                      <a:pt x="2747" y="1996"/>
                    </a:lnTo>
                    <a:lnTo>
                      <a:pt x="2752" y="1997"/>
                    </a:lnTo>
                    <a:lnTo>
                      <a:pt x="2758" y="1997"/>
                    </a:lnTo>
                    <a:lnTo>
                      <a:pt x="2758" y="1997"/>
                    </a:lnTo>
                    <a:lnTo>
                      <a:pt x="2768" y="1997"/>
                    </a:lnTo>
                    <a:lnTo>
                      <a:pt x="2778" y="1995"/>
                    </a:lnTo>
                    <a:lnTo>
                      <a:pt x="2786" y="1991"/>
                    </a:lnTo>
                    <a:lnTo>
                      <a:pt x="2795" y="1986"/>
                    </a:lnTo>
                    <a:lnTo>
                      <a:pt x="2788" y="2043"/>
                    </a:lnTo>
                    <a:close/>
                    <a:moveTo>
                      <a:pt x="3384" y="1873"/>
                    </a:moveTo>
                    <a:lnTo>
                      <a:pt x="3384" y="1873"/>
                    </a:lnTo>
                    <a:lnTo>
                      <a:pt x="3376" y="1867"/>
                    </a:lnTo>
                    <a:lnTo>
                      <a:pt x="3366" y="1863"/>
                    </a:lnTo>
                    <a:lnTo>
                      <a:pt x="3355" y="1861"/>
                    </a:lnTo>
                    <a:lnTo>
                      <a:pt x="3344" y="1860"/>
                    </a:lnTo>
                    <a:lnTo>
                      <a:pt x="3344" y="1860"/>
                    </a:lnTo>
                    <a:lnTo>
                      <a:pt x="3334" y="1861"/>
                    </a:lnTo>
                    <a:lnTo>
                      <a:pt x="3325" y="1863"/>
                    </a:lnTo>
                    <a:lnTo>
                      <a:pt x="3317" y="1868"/>
                    </a:lnTo>
                    <a:lnTo>
                      <a:pt x="3311" y="1874"/>
                    </a:lnTo>
                    <a:lnTo>
                      <a:pt x="3306" y="1882"/>
                    </a:lnTo>
                    <a:lnTo>
                      <a:pt x="3304" y="1891"/>
                    </a:lnTo>
                    <a:lnTo>
                      <a:pt x="3302" y="1904"/>
                    </a:lnTo>
                    <a:lnTo>
                      <a:pt x="3300" y="1917"/>
                    </a:lnTo>
                    <a:lnTo>
                      <a:pt x="3300" y="2049"/>
                    </a:lnTo>
                    <a:lnTo>
                      <a:pt x="3241" y="2049"/>
                    </a:lnTo>
                    <a:lnTo>
                      <a:pt x="3241" y="1805"/>
                    </a:lnTo>
                    <a:lnTo>
                      <a:pt x="3300" y="1805"/>
                    </a:lnTo>
                    <a:lnTo>
                      <a:pt x="3300" y="1826"/>
                    </a:lnTo>
                    <a:lnTo>
                      <a:pt x="3300" y="1826"/>
                    </a:lnTo>
                    <a:lnTo>
                      <a:pt x="3306" y="1820"/>
                    </a:lnTo>
                    <a:lnTo>
                      <a:pt x="3313" y="1814"/>
                    </a:lnTo>
                    <a:lnTo>
                      <a:pt x="3319" y="1810"/>
                    </a:lnTo>
                    <a:lnTo>
                      <a:pt x="3326" y="1806"/>
                    </a:lnTo>
                    <a:lnTo>
                      <a:pt x="3332" y="1803"/>
                    </a:lnTo>
                    <a:lnTo>
                      <a:pt x="3339" y="1801"/>
                    </a:lnTo>
                    <a:lnTo>
                      <a:pt x="3347" y="1800"/>
                    </a:lnTo>
                    <a:lnTo>
                      <a:pt x="3355" y="1799"/>
                    </a:lnTo>
                    <a:lnTo>
                      <a:pt x="3355" y="1799"/>
                    </a:lnTo>
                    <a:lnTo>
                      <a:pt x="3367" y="1800"/>
                    </a:lnTo>
                    <a:lnTo>
                      <a:pt x="3379" y="1804"/>
                    </a:lnTo>
                    <a:lnTo>
                      <a:pt x="3390" y="1807"/>
                    </a:lnTo>
                    <a:lnTo>
                      <a:pt x="3400" y="1814"/>
                    </a:lnTo>
                    <a:lnTo>
                      <a:pt x="3384" y="1873"/>
                    </a:lnTo>
                    <a:close/>
                    <a:moveTo>
                      <a:pt x="653" y="1747"/>
                    </a:moveTo>
                    <a:lnTo>
                      <a:pt x="653" y="1770"/>
                    </a:lnTo>
                    <a:lnTo>
                      <a:pt x="592" y="1770"/>
                    </a:lnTo>
                    <a:lnTo>
                      <a:pt x="592" y="1709"/>
                    </a:lnTo>
                    <a:lnTo>
                      <a:pt x="653" y="1709"/>
                    </a:lnTo>
                    <a:lnTo>
                      <a:pt x="653" y="1747"/>
                    </a:lnTo>
                    <a:close/>
                    <a:moveTo>
                      <a:pt x="1073" y="1805"/>
                    </a:moveTo>
                    <a:lnTo>
                      <a:pt x="1134" y="1805"/>
                    </a:lnTo>
                    <a:lnTo>
                      <a:pt x="1134" y="1930"/>
                    </a:lnTo>
                    <a:lnTo>
                      <a:pt x="1134" y="2049"/>
                    </a:lnTo>
                    <a:lnTo>
                      <a:pt x="1073" y="2049"/>
                    </a:lnTo>
                    <a:lnTo>
                      <a:pt x="1073" y="1805"/>
                    </a:lnTo>
                    <a:close/>
                    <a:moveTo>
                      <a:pt x="1134" y="1739"/>
                    </a:moveTo>
                    <a:lnTo>
                      <a:pt x="1134" y="1770"/>
                    </a:lnTo>
                    <a:lnTo>
                      <a:pt x="1073" y="1770"/>
                    </a:lnTo>
                    <a:lnTo>
                      <a:pt x="1073" y="1709"/>
                    </a:lnTo>
                    <a:lnTo>
                      <a:pt x="1134" y="1709"/>
                    </a:lnTo>
                    <a:lnTo>
                      <a:pt x="1134" y="1739"/>
                    </a:lnTo>
                    <a:close/>
                    <a:moveTo>
                      <a:pt x="2796" y="2250"/>
                    </a:moveTo>
                    <a:lnTo>
                      <a:pt x="2796" y="2250"/>
                    </a:lnTo>
                    <a:lnTo>
                      <a:pt x="2790" y="2245"/>
                    </a:lnTo>
                    <a:lnTo>
                      <a:pt x="2784" y="2240"/>
                    </a:lnTo>
                    <a:lnTo>
                      <a:pt x="2778" y="2237"/>
                    </a:lnTo>
                    <a:lnTo>
                      <a:pt x="2771" y="2233"/>
                    </a:lnTo>
                    <a:lnTo>
                      <a:pt x="2764" y="2231"/>
                    </a:lnTo>
                    <a:lnTo>
                      <a:pt x="2757" y="2229"/>
                    </a:lnTo>
                    <a:lnTo>
                      <a:pt x="2741" y="2227"/>
                    </a:lnTo>
                    <a:lnTo>
                      <a:pt x="2741" y="2227"/>
                    </a:lnTo>
                    <a:lnTo>
                      <a:pt x="2730" y="2228"/>
                    </a:lnTo>
                    <a:lnTo>
                      <a:pt x="2721" y="2229"/>
                    </a:lnTo>
                    <a:lnTo>
                      <a:pt x="2711" y="2233"/>
                    </a:lnTo>
                    <a:lnTo>
                      <a:pt x="2701" y="2237"/>
                    </a:lnTo>
                    <a:lnTo>
                      <a:pt x="2693" y="2241"/>
                    </a:lnTo>
                    <a:lnTo>
                      <a:pt x="2685" y="2246"/>
                    </a:lnTo>
                    <a:lnTo>
                      <a:pt x="2678" y="2254"/>
                    </a:lnTo>
                    <a:lnTo>
                      <a:pt x="2671" y="2261"/>
                    </a:lnTo>
                    <a:lnTo>
                      <a:pt x="2666" y="2269"/>
                    </a:lnTo>
                    <a:lnTo>
                      <a:pt x="2660" y="2279"/>
                    </a:lnTo>
                    <a:lnTo>
                      <a:pt x="2656" y="2289"/>
                    </a:lnTo>
                    <a:lnTo>
                      <a:pt x="2653" y="2301"/>
                    </a:lnTo>
                    <a:lnTo>
                      <a:pt x="2649" y="2312"/>
                    </a:lnTo>
                    <a:lnTo>
                      <a:pt x="2648" y="2325"/>
                    </a:lnTo>
                    <a:lnTo>
                      <a:pt x="2647" y="2339"/>
                    </a:lnTo>
                    <a:lnTo>
                      <a:pt x="2645" y="2353"/>
                    </a:lnTo>
                    <a:lnTo>
                      <a:pt x="2645" y="2353"/>
                    </a:lnTo>
                    <a:lnTo>
                      <a:pt x="2647" y="2368"/>
                    </a:lnTo>
                    <a:lnTo>
                      <a:pt x="2648" y="2381"/>
                    </a:lnTo>
                    <a:lnTo>
                      <a:pt x="2649" y="2395"/>
                    </a:lnTo>
                    <a:lnTo>
                      <a:pt x="2653" y="2408"/>
                    </a:lnTo>
                    <a:lnTo>
                      <a:pt x="2655" y="2419"/>
                    </a:lnTo>
                    <a:lnTo>
                      <a:pt x="2660" y="2430"/>
                    </a:lnTo>
                    <a:lnTo>
                      <a:pt x="2665" y="2440"/>
                    </a:lnTo>
                    <a:lnTo>
                      <a:pt x="2671" y="2448"/>
                    </a:lnTo>
                    <a:lnTo>
                      <a:pt x="2677" y="2457"/>
                    </a:lnTo>
                    <a:lnTo>
                      <a:pt x="2684" y="2463"/>
                    </a:lnTo>
                    <a:lnTo>
                      <a:pt x="2692" y="2469"/>
                    </a:lnTo>
                    <a:lnTo>
                      <a:pt x="2700" y="2474"/>
                    </a:lnTo>
                    <a:lnTo>
                      <a:pt x="2710" y="2479"/>
                    </a:lnTo>
                    <a:lnTo>
                      <a:pt x="2720" y="2481"/>
                    </a:lnTo>
                    <a:lnTo>
                      <a:pt x="2729" y="2482"/>
                    </a:lnTo>
                    <a:lnTo>
                      <a:pt x="2740" y="2483"/>
                    </a:lnTo>
                    <a:lnTo>
                      <a:pt x="2740" y="2483"/>
                    </a:lnTo>
                    <a:lnTo>
                      <a:pt x="2747" y="2482"/>
                    </a:lnTo>
                    <a:lnTo>
                      <a:pt x="2756" y="2481"/>
                    </a:lnTo>
                    <a:lnTo>
                      <a:pt x="2763" y="2480"/>
                    </a:lnTo>
                    <a:lnTo>
                      <a:pt x="2769" y="2477"/>
                    </a:lnTo>
                    <a:lnTo>
                      <a:pt x="2777" y="2474"/>
                    </a:lnTo>
                    <a:lnTo>
                      <a:pt x="2784" y="2470"/>
                    </a:lnTo>
                    <a:lnTo>
                      <a:pt x="2790" y="2465"/>
                    </a:lnTo>
                    <a:lnTo>
                      <a:pt x="2796" y="2459"/>
                    </a:lnTo>
                    <a:lnTo>
                      <a:pt x="2796" y="2477"/>
                    </a:lnTo>
                    <a:lnTo>
                      <a:pt x="2857" y="2477"/>
                    </a:lnTo>
                    <a:lnTo>
                      <a:pt x="2857" y="2131"/>
                    </a:lnTo>
                    <a:lnTo>
                      <a:pt x="2796" y="2161"/>
                    </a:lnTo>
                    <a:lnTo>
                      <a:pt x="2796" y="2250"/>
                    </a:lnTo>
                    <a:close/>
                    <a:moveTo>
                      <a:pt x="2754" y="2427"/>
                    </a:moveTo>
                    <a:lnTo>
                      <a:pt x="2754" y="2427"/>
                    </a:lnTo>
                    <a:lnTo>
                      <a:pt x="2745" y="2426"/>
                    </a:lnTo>
                    <a:lnTo>
                      <a:pt x="2738" y="2424"/>
                    </a:lnTo>
                    <a:lnTo>
                      <a:pt x="2729" y="2420"/>
                    </a:lnTo>
                    <a:lnTo>
                      <a:pt x="2722" y="2413"/>
                    </a:lnTo>
                    <a:lnTo>
                      <a:pt x="2716" y="2403"/>
                    </a:lnTo>
                    <a:lnTo>
                      <a:pt x="2711" y="2390"/>
                    </a:lnTo>
                    <a:lnTo>
                      <a:pt x="2709" y="2373"/>
                    </a:lnTo>
                    <a:lnTo>
                      <a:pt x="2707" y="2351"/>
                    </a:lnTo>
                    <a:lnTo>
                      <a:pt x="2707" y="2351"/>
                    </a:lnTo>
                    <a:lnTo>
                      <a:pt x="2709" y="2333"/>
                    </a:lnTo>
                    <a:lnTo>
                      <a:pt x="2711" y="2317"/>
                    </a:lnTo>
                    <a:lnTo>
                      <a:pt x="2716" y="2305"/>
                    </a:lnTo>
                    <a:lnTo>
                      <a:pt x="2722" y="2296"/>
                    </a:lnTo>
                    <a:lnTo>
                      <a:pt x="2729" y="2290"/>
                    </a:lnTo>
                    <a:lnTo>
                      <a:pt x="2737" y="2285"/>
                    </a:lnTo>
                    <a:lnTo>
                      <a:pt x="2745" y="2284"/>
                    </a:lnTo>
                    <a:lnTo>
                      <a:pt x="2752" y="2283"/>
                    </a:lnTo>
                    <a:lnTo>
                      <a:pt x="2752" y="2283"/>
                    </a:lnTo>
                    <a:lnTo>
                      <a:pt x="2761" y="2284"/>
                    </a:lnTo>
                    <a:lnTo>
                      <a:pt x="2768" y="2285"/>
                    </a:lnTo>
                    <a:lnTo>
                      <a:pt x="2774" y="2288"/>
                    </a:lnTo>
                    <a:lnTo>
                      <a:pt x="2780" y="2291"/>
                    </a:lnTo>
                    <a:lnTo>
                      <a:pt x="2785" y="2295"/>
                    </a:lnTo>
                    <a:lnTo>
                      <a:pt x="2790" y="2299"/>
                    </a:lnTo>
                    <a:lnTo>
                      <a:pt x="2796" y="2307"/>
                    </a:lnTo>
                    <a:lnTo>
                      <a:pt x="2796" y="2403"/>
                    </a:lnTo>
                    <a:lnTo>
                      <a:pt x="2796" y="2403"/>
                    </a:lnTo>
                    <a:lnTo>
                      <a:pt x="2789" y="2412"/>
                    </a:lnTo>
                    <a:lnTo>
                      <a:pt x="2780" y="2419"/>
                    </a:lnTo>
                    <a:lnTo>
                      <a:pt x="2774" y="2423"/>
                    </a:lnTo>
                    <a:lnTo>
                      <a:pt x="2768" y="2425"/>
                    </a:lnTo>
                    <a:lnTo>
                      <a:pt x="2761" y="2426"/>
                    </a:lnTo>
                    <a:lnTo>
                      <a:pt x="2754" y="2427"/>
                    </a:lnTo>
                    <a:lnTo>
                      <a:pt x="2754" y="2427"/>
                    </a:lnTo>
                    <a:close/>
                    <a:moveTo>
                      <a:pt x="740" y="2301"/>
                    </a:moveTo>
                    <a:lnTo>
                      <a:pt x="740" y="2301"/>
                    </a:lnTo>
                    <a:lnTo>
                      <a:pt x="732" y="2296"/>
                    </a:lnTo>
                    <a:lnTo>
                      <a:pt x="722" y="2291"/>
                    </a:lnTo>
                    <a:lnTo>
                      <a:pt x="711" y="2289"/>
                    </a:lnTo>
                    <a:lnTo>
                      <a:pt x="700" y="2288"/>
                    </a:lnTo>
                    <a:lnTo>
                      <a:pt x="700" y="2288"/>
                    </a:lnTo>
                    <a:lnTo>
                      <a:pt x="690" y="2289"/>
                    </a:lnTo>
                    <a:lnTo>
                      <a:pt x="680" y="2291"/>
                    </a:lnTo>
                    <a:lnTo>
                      <a:pt x="673" y="2296"/>
                    </a:lnTo>
                    <a:lnTo>
                      <a:pt x="667" y="2302"/>
                    </a:lnTo>
                    <a:lnTo>
                      <a:pt x="662" y="2310"/>
                    </a:lnTo>
                    <a:lnTo>
                      <a:pt x="660" y="2319"/>
                    </a:lnTo>
                    <a:lnTo>
                      <a:pt x="657" y="2331"/>
                    </a:lnTo>
                    <a:lnTo>
                      <a:pt x="656" y="2345"/>
                    </a:lnTo>
                    <a:lnTo>
                      <a:pt x="656" y="2477"/>
                    </a:lnTo>
                    <a:lnTo>
                      <a:pt x="597" y="2477"/>
                    </a:lnTo>
                    <a:lnTo>
                      <a:pt x="597" y="2233"/>
                    </a:lnTo>
                    <a:lnTo>
                      <a:pt x="656" y="2233"/>
                    </a:lnTo>
                    <a:lnTo>
                      <a:pt x="656" y="2254"/>
                    </a:lnTo>
                    <a:lnTo>
                      <a:pt x="656" y="2254"/>
                    </a:lnTo>
                    <a:lnTo>
                      <a:pt x="662" y="2248"/>
                    </a:lnTo>
                    <a:lnTo>
                      <a:pt x="668" y="2241"/>
                    </a:lnTo>
                    <a:lnTo>
                      <a:pt x="674" y="2238"/>
                    </a:lnTo>
                    <a:lnTo>
                      <a:pt x="682" y="2234"/>
                    </a:lnTo>
                    <a:lnTo>
                      <a:pt x="688" y="2231"/>
                    </a:lnTo>
                    <a:lnTo>
                      <a:pt x="695" y="2229"/>
                    </a:lnTo>
                    <a:lnTo>
                      <a:pt x="704" y="2228"/>
                    </a:lnTo>
                    <a:lnTo>
                      <a:pt x="711" y="2227"/>
                    </a:lnTo>
                    <a:lnTo>
                      <a:pt x="711" y="2227"/>
                    </a:lnTo>
                    <a:lnTo>
                      <a:pt x="723" y="2228"/>
                    </a:lnTo>
                    <a:lnTo>
                      <a:pt x="735" y="2232"/>
                    </a:lnTo>
                    <a:lnTo>
                      <a:pt x="747" y="2237"/>
                    </a:lnTo>
                    <a:lnTo>
                      <a:pt x="757" y="2243"/>
                    </a:lnTo>
                    <a:lnTo>
                      <a:pt x="740" y="2301"/>
                    </a:lnTo>
                    <a:close/>
                    <a:moveTo>
                      <a:pt x="265" y="2233"/>
                    </a:moveTo>
                    <a:lnTo>
                      <a:pt x="324" y="2233"/>
                    </a:lnTo>
                    <a:lnTo>
                      <a:pt x="255" y="2477"/>
                    </a:lnTo>
                    <a:lnTo>
                      <a:pt x="203" y="2477"/>
                    </a:lnTo>
                    <a:lnTo>
                      <a:pt x="176" y="2376"/>
                    </a:lnTo>
                    <a:lnTo>
                      <a:pt x="176" y="2376"/>
                    </a:lnTo>
                    <a:lnTo>
                      <a:pt x="163" y="2323"/>
                    </a:lnTo>
                    <a:lnTo>
                      <a:pt x="163" y="2323"/>
                    </a:lnTo>
                    <a:lnTo>
                      <a:pt x="157" y="2348"/>
                    </a:lnTo>
                    <a:lnTo>
                      <a:pt x="149" y="2378"/>
                    </a:lnTo>
                    <a:lnTo>
                      <a:pt x="122" y="2477"/>
                    </a:lnTo>
                    <a:lnTo>
                      <a:pt x="69" y="2477"/>
                    </a:lnTo>
                    <a:lnTo>
                      <a:pt x="69" y="2476"/>
                    </a:lnTo>
                    <a:lnTo>
                      <a:pt x="0" y="2233"/>
                    </a:lnTo>
                    <a:lnTo>
                      <a:pt x="63" y="2233"/>
                    </a:lnTo>
                    <a:lnTo>
                      <a:pt x="85" y="2324"/>
                    </a:lnTo>
                    <a:lnTo>
                      <a:pt x="85" y="2324"/>
                    </a:lnTo>
                    <a:lnTo>
                      <a:pt x="91" y="2353"/>
                    </a:lnTo>
                    <a:lnTo>
                      <a:pt x="97" y="2384"/>
                    </a:lnTo>
                    <a:lnTo>
                      <a:pt x="97" y="2384"/>
                    </a:lnTo>
                    <a:lnTo>
                      <a:pt x="105" y="2353"/>
                    </a:lnTo>
                    <a:lnTo>
                      <a:pt x="112" y="2323"/>
                    </a:lnTo>
                    <a:lnTo>
                      <a:pt x="137" y="2233"/>
                    </a:lnTo>
                    <a:lnTo>
                      <a:pt x="190" y="2233"/>
                    </a:lnTo>
                    <a:lnTo>
                      <a:pt x="215" y="2323"/>
                    </a:lnTo>
                    <a:lnTo>
                      <a:pt x="215" y="2323"/>
                    </a:lnTo>
                    <a:lnTo>
                      <a:pt x="222" y="2352"/>
                    </a:lnTo>
                    <a:lnTo>
                      <a:pt x="230" y="2385"/>
                    </a:lnTo>
                    <a:lnTo>
                      <a:pt x="230" y="2385"/>
                    </a:lnTo>
                    <a:lnTo>
                      <a:pt x="235" y="2357"/>
                    </a:lnTo>
                    <a:lnTo>
                      <a:pt x="242" y="2323"/>
                    </a:lnTo>
                    <a:lnTo>
                      <a:pt x="265" y="2233"/>
                    </a:lnTo>
                    <a:close/>
                    <a:moveTo>
                      <a:pt x="447" y="2227"/>
                    </a:moveTo>
                    <a:lnTo>
                      <a:pt x="447" y="2227"/>
                    </a:lnTo>
                    <a:lnTo>
                      <a:pt x="436" y="2228"/>
                    </a:lnTo>
                    <a:lnTo>
                      <a:pt x="424" y="2229"/>
                    </a:lnTo>
                    <a:lnTo>
                      <a:pt x="413" y="2233"/>
                    </a:lnTo>
                    <a:lnTo>
                      <a:pt x="403" y="2237"/>
                    </a:lnTo>
                    <a:lnTo>
                      <a:pt x="394" y="2241"/>
                    </a:lnTo>
                    <a:lnTo>
                      <a:pt x="384" y="2248"/>
                    </a:lnTo>
                    <a:lnTo>
                      <a:pt x="375" y="2255"/>
                    </a:lnTo>
                    <a:lnTo>
                      <a:pt x="368" y="2263"/>
                    </a:lnTo>
                    <a:lnTo>
                      <a:pt x="361" y="2272"/>
                    </a:lnTo>
                    <a:lnTo>
                      <a:pt x="355" y="2282"/>
                    </a:lnTo>
                    <a:lnTo>
                      <a:pt x="349" y="2293"/>
                    </a:lnTo>
                    <a:lnTo>
                      <a:pt x="345" y="2303"/>
                    </a:lnTo>
                    <a:lnTo>
                      <a:pt x="341" y="2316"/>
                    </a:lnTo>
                    <a:lnTo>
                      <a:pt x="339" y="2328"/>
                    </a:lnTo>
                    <a:lnTo>
                      <a:pt x="337" y="2341"/>
                    </a:lnTo>
                    <a:lnTo>
                      <a:pt x="337" y="2356"/>
                    </a:lnTo>
                    <a:lnTo>
                      <a:pt x="337" y="2356"/>
                    </a:lnTo>
                    <a:lnTo>
                      <a:pt x="337" y="2369"/>
                    </a:lnTo>
                    <a:lnTo>
                      <a:pt x="339" y="2382"/>
                    </a:lnTo>
                    <a:lnTo>
                      <a:pt x="341" y="2395"/>
                    </a:lnTo>
                    <a:lnTo>
                      <a:pt x="345" y="2407"/>
                    </a:lnTo>
                    <a:lnTo>
                      <a:pt x="349" y="2418"/>
                    </a:lnTo>
                    <a:lnTo>
                      <a:pt x="355" y="2429"/>
                    </a:lnTo>
                    <a:lnTo>
                      <a:pt x="361" y="2438"/>
                    </a:lnTo>
                    <a:lnTo>
                      <a:pt x="368" y="2447"/>
                    </a:lnTo>
                    <a:lnTo>
                      <a:pt x="375" y="2455"/>
                    </a:lnTo>
                    <a:lnTo>
                      <a:pt x="384" y="2463"/>
                    </a:lnTo>
                    <a:lnTo>
                      <a:pt x="394" y="2469"/>
                    </a:lnTo>
                    <a:lnTo>
                      <a:pt x="403" y="2474"/>
                    </a:lnTo>
                    <a:lnTo>
                      <a:pt x="413" y="2477"/>
                    </a:lnTo>
                    <a:lnTo>
                      <a:pt x="424" y="2481"/>
                    </a:lnTo>
                    <a:lnTo>
                      <a:pt x="436" y="2482"/>
                    </a:lnTo>
                    <a:lnTo>
                      <a:pt x="447" y="2483"/>
                    </a:lnTo>
                    <a:lnTo>
                      <a:pt x="447" y="2483"/>
                    </a:lnTo>
                    <a:lnTo>
                      <a:pt x="459" y="2482"/>
                    </a:lnTo>
                    <a:lnTo>
                      <a:pt x="471" y="2481"/>
                    </a:lnTo>
                    <a:lnTo>
                      <a:pt x="482" y="2477"/>
                    </a:lnTo>
                    <a:lnTo>
                      <a:pt x="492" y="2474"/>
                    </a:lnTo>
                    <a:lnTo>
                      <a:pt x="502" y="2469"/>
                    </a:lnTo>
                    <a:lnTo>
                      <a:pt x="512" y="2463"/>
                    </a:lnTo>
                    <a:lnTo>
                      <a:pt x="520" y="2455"/>
                    </a:lnTo>
                    <a:lnTo>
                      <a:pt x="527" y="2447"/>
                    </a:lnTo>
                    <a:lnTo>
                      <a:pt x="535" y="2438"/>
                    </a:lnTo>
                    <a:lnTo>
                      <a:pt x="541" y="2429"/>
                    </a:lnTo>
                    <a:lnTo>
                      <a:pt x="546" y="2418"/>
                    </a:lnTo>
                    <a:lnTo>
                      <a:pt x="550" y="2407"/>
                    </a:lnTo>
                    <a:lnTo>
                      <a:pt x="554" y="2395"/>
                    </a:lnTo>
                    <a:lnTo>
                      <a:pt x="557" y="2382"/>
                    </a:lnTo>
                    <a:lnTo>
                      <a:pt x="559" y="2369"/>
                    </a:lnTo>
                    <a:lnTo>
                      <a:pt x="559" y="2356"/>
                    </a:lnTo>
                    <a:lnTo>
                      <a:pt x="559" y="2356"/>
                    </a:lnTo>
                    <a:lnTo>
                      <a:pt x="559" y="2341"/>
                    </a:lnTo>
                    <a:lnTo>
                      <a:pt x="557" y="2328"/>
                    </a:lnTo>
                    <a:lnTo>
                      <a:pt x="554" y="2316"/>
                    </a:lnTo>
                    <a:lnTo>
                      <a:pt x="550" y="2303"/>
                    </a:lnTo>
                    <a:lnTo>
                      <a:pt x="546" y="2293"/>
                    </a:lnTo>
                    <a:lnTo>
                      <a:pt x="541" y="2282"/>
                    </a:lnTo>
                    <a:lnTo>
                      <a:pt x="535" y="2272"/>
                    </a:lnTo>
                    <a:lnTo>
                      <a:pt x="527" y="2263"/>
                    </a:lnTo>
                    <a:lnTo>
                      <a:pt x="520" y="2255"/>
                    </a:lnTo>
                    <a:lnTo>
                      <a:pt x="512" y="2248"/>
                    </a:lnTo>
                    <a:lnTo>
                      <a:pt x="502" y="2241"/>
                    </a:lnTo>
                    <a:lnTo>
                      <a:pt x="492" y="2237"/>
                    </a:lnTo>
                    <a:lnTo>
                      <a:pt x="482" y="2233"/>
                    </a:lnTo>
                    <a:lnTo>
                      <a:pt x="471" y="2229"/>
                    </a:lnTo>
                    <a:lnTo>
                      <a:pt x="459" y="2228"/>
                    </a:lnTo>
                    <a:lnTo>
                      <a:pt x="447" y="2227"/>
                    </a:lnTo>
                    <a:lnTo>
                      <a:pt x="447" y="2227"/>
                    </a:lnTo>
                    <a:close/>
                    <a:moveTo>
                      <a:pt x="447" y="2426"/>
                    </a:moveTo>
                    <a:lnTo>
                      <a:pt x="447" y="2426"/>
                    </a:lnTo>
                    <a:lnTo>
                      <a:pt x="436" y="2425"/>
                    </a:lnTo>
                    <a:lnTo>
                      <a:pt x="427" y="2421"/>
                    </a:lnTo>
                    <a:lnTo>
                      <a:pt x="419" y="2415"/>
                    </a:lnTo>
                    <a:lnTo>
                      <a:pt x="412" y="2407"/>
                    </a:lnTo>
                    <a:lnTo>
                      <a:pt x="406" y="2397"/>
                    </a:lnTo>
                    <a:lnTo>
                      <a:pt x="401" y="2385"/>
                    </a:lnTo>
                    <a:lnTo>
                      <a:pt x="399" y="2370"/>
                    </a:lnTo>
                    <a:lnTo>
                      <a:pt x="399" y="2356"/>
                    </a:lnTo>
                    <a:lnTo>
                      <a:pt x="399" y="2356"/>
                    </a:lnTo>
                    <a:lnTo>
                      <a:pt x="399" y="2340"/>
                    </a:lnTo>
                    <a:lnTo>
                      <a:pt x="401" y="2325"/>
                    </a:lnTo>
                    <a:lnTo>
                      <a:pt x="406" y="2314"/>
                    </a:lnTo>
                    <a:lnTo>
                      <a:pt x="412" y="2303"/>
                    </a:lnTo>
                    <a:lnTo>
                      <a:pt x="419" y="2295"/>
                    </a:lnTo>
                    <a:lnTo>
                      <a:pt x="427" y="2289"/>
                    </a:lnTo>
                    <a:lnTo>
                      <a:pt x="436" y="2285"/>
                    </a:lnTo>
                    <a:lnTo>
                      <a:pt x="447" y="2284"/>
                    </a:lnTo>
                    <a:lnTo>
                      <a:pt x="447" y="2284"/>
                    </a:lnTo>
                    <a:lnTo>
                      <a:pt x="458" y="2285"/>
                    </a:lnTo>
                    <a:lnTo>
                      <a:pt x="468" y="2289"/>
                    </a:lnTo>
                    <a:lnTo>
                      <a:pt x="476" y="2295"/>
                    </a:lnTo>
                    <a:lnTo>
                      <a:pt x="484" y="2303"/>
                    </a:lnTo>
                    <a:lnTo>
                      <a:pt x="490" y="2314"/>
                    </a:lnTo>
                    <a:lnTo>
                      <a:pt x="493" y="2325"/>
                    </a:lnTo>
                    <a:lnTo>
                      <a:pt x="496" y="2340"/>
                    </a:lnTo>
                    <a:lnTo>
                      <a:pt x="497" y="2356"/>
                    </a:lnTo>
                    <a:lnTo>
                      <a:pt x="497" y="2356"/>
                    </a:lnTo>
                    <a:lnTo>
                      <a:pt x="496" y="2370"/>
                    </a:lnTo>
                    <a:lnTo>
                      <a:pt x="493" y="2385"/>
                    </a:lnTo>
                    <a:lnTo>
                      <a:pt x="490" y="2397"/>
                    </a:lnTo>
                    <a:lnTo>
                      <a:pt x="484" y="2407"/>
                    </a:lnTo>
                    <a:lnTo>
                      <a:pt x="476" y="2415"/>
                    </a:lnTo>
                    <a:lnTo>
                      <a:pt x="468" y="2421"/>
                    </a:lnTo>
                    <a:lnTo>
                      <a:pt x="458" y="2425"/>
                    </a:lnTo>
                    <a:lnTo>
                      <a:pt x="447" y="2426"/>
                    </a:lnTo>
                    <a:lnTo>
                      <a:pt x="447" y="2426"/>
                    </a:lnTo>
                    <a:close/>
                    <a:moveTo>
                      <a:pt x="2498" y="2301"/>
                    </a:moveTo>
                    <a:lnTo>
                      <a:pt x="2498" y="2301"/>
                    </a:lnTo>
                    <a:lnTo>
                      <a:pt x="2489" y="2296"/>
                    </a:lnTo>
                    <a:lnTo>
                      <a:pt x="2479" y="2291"/>
                    </a:lnTo>
                    <a:lnTo>
                      <a:pt x="2468" y="2289"/>
                    </a:lnTo>
                    <a:lnTo>
                      <a:pt x="2458" y="2288"/>
                    </a:lnTo>
                    <a:lnTo>
                      <a:pt x="2458" y="2288"/>
                    </a:lnTo>
                    <a:lnTo>
                      <a:pt x="2447" y="2289"/>
                    </a:lnTo>
                    <a:lnTo>
                      <a:pt x="2439" y="2291"/>
                    </a:lnTo>
                    <a:lnTo>
                      <a:pt x="2432" y="2296"/>
                    </a:lnTo>
                    <a:lnTo>
                      <a:pt x="2425" y="2302"/>
                    </a:lnTo>
                    <a:lnTo>
                      <a:pt x="2421" y="2310"/>
                    </a:lnTo>
                    <a:lnTo>
                      <a:pt x="2417" y="2319"/>
                    </a:lnTo>
                    <a:lnTo>
                      <a:pt x="2415" y="2331"/>
                    </a:lnTo>
                    <a:lnTo>
                      <a:pt x="2415" y="2345"/>
                    </a:lnTo>
                    <a:lnTo>
                      <a:pt x="2415" y="2477"/>
                    </a:lnTo>
                    <a:lnTo>
                      <a:pt x="2354" y="2477"/>
                    </a:lnTo>
                    <a:lnTo>
                      <a:pt x="2354" y="2233"/>
                    </a:lnTo>
                    <a:lnTo>
                      <a:pt x="2415" y="2233"/>
                    </a:lnTo>
                    <a:lnTo>
                      <a:pt x="2415" y="2254"/>
                    </a:lnTo>
                    <a:lnTo>
                      <a:pt x="2415" y="2254"/>
                    </a:lnTo>
                    <a:lnTo>
                      <a:pt x="2419" y="2248"/>
                    </a:lnTo>
                    <a:lnTo>
                      <a:pt x="2425" y="2241"/>
                    </a:lnTo>
                    <a:lnTo>
                      <a:pt x="2432" y="2238"/>
                    </a:lnTo>
                    <a:lnTo>
                      <a:pt x="2439" y="2234"/>
                    </a:lnTo>
                    <a:lnTo>
                      <a:pt x="2446" y="2231"/>
                    </a:lnTo>
                    <a:lnTo>
                      <a:pt x="2453" y="2229"/>
                    </a:lnTo>
                    <a:lnTo>
                      <a:pt x="2461" y="2228"/>
                    </a:lnTo>
                    <a:lnTo>
                      <a:pt x="2468" y="2227"/>
                    </a:lnTo>
                    <a:lnTo>
                      <a:pt x="2468" y="2227"/>
                    </a:lnTo>
                    <a:lnTo>
                      <a:pt x="2480" y="2228"/>
                    </a:lnTo>
                    <a:lnTo>
                      <a:pt x="2492" y="2232"/>
                    </a:lnTo>
                    <a:lnTo>
                      <a:pt x="2504" y="2237"/>
                    </a:lnTo>
                    <a:lnTo>
                      <a:pt x="2514" y="2243"/>
                    </a:lnTo>
                    <a:lnTo>
                      <a:pt x="2498" y="2301"/>
                    </a:lnTo>
                    <a:close/>
                    <a:moveTo>
                      <a:pt x="2022" y="2233"/>
                    </a:moveTo>
                    <a:lnTo>
                      <a:pt x="2082" y="2233"/>
                    </a:lnTo>
                    <a:lnTo>
                      <a:pt x="2012" y="2477"/>
                    </a:lnTo>
                    <a:lnTo>
                      <a:pt x="1960" y="2477"/>
                    </a:lnTo>
                    <a:lnTo>
                      <a:pt x="1933" y="2376"/>
                    </a:lnTo>
                    <a:lnTo>
                      <a:pt x="1933" y="2376"/>
                    </a:lnTo>
                    <a:lnTo>
                      <a:pt x="1920" y="2323"/>
                    </a:lnTo>
                    <a:lnTo>
                      <a:pt x="1920" y="2323"/>
                    </a:lnTo>
                    <a:lnTo>
                      <a:pt x="1914" y="2348"/>
                    </a:lnTo>
                    <a:lnTo>
                      <a:pt x="1907" y="2378"/>
                    </a:lnTo>
                    <a:lnTo>
                      <a:pt x="1880" y="2477"/>
                    </a:lnTo>
                    <a:lnTo>
                      <a:pt x="1828" y="2477"/>
                    </a:lnTo>
                    <a:lnTo>
                      <a:pt x="1826" y="2476"/>
                    </a:lnTo>
                    <a:lnTo>
                      <a:pt x="1758" y="2233"/>
                    </a:lnTo>
                    <a:lnTo>
                      <a:pt x="1820" y="2233"/>
                    </a:lnTo>
                    <a:lnTo>
                      <a:pt x="1843" y="2324"/>
                    </a:lnTo>
                    <a:lnTo>
                      <a:pt x="1843" y="2324"/>
                    </a:lnTo>
                    <a:lnTo>
                      <a:pt x="1849" y="2353"/>
                    </a:lnTo>
                    <a:lnTo>
                      <a:pt x="1856" y="2384"/>
                    </a:lnTo>
                    <a:lnTo>
                      <a:pt x="1856" y="2384"/>
                    </a:lnTo>
                    <a:lnTo>
                      <a:pt x="1862" y="2353"/>
                    </a:lnTo>
                    <a:lnTo>
                      <a:pt x="1870" y="2323"/>
                    </a:lnTo>
                    <a:lnTo>
                      <a:pt x="1896" y="2233"/>
                    </a:lnTo>
                    <a:lnTo>
                      <a:pt x="1947" y="2233"/>
                    </a:lnTo>
                    <a:lnTo>
                      <a:pt x="1972" y="2323"/>
                    </a:lnTo>
                    <a:lnTo>
                      <a:pt x="1972" y="2323"/>
                    </a:lnTo>
                    <a:lnTo>
                      <a:pt x="1979" y="2352"/>
                    </a:lnTo>
                    <a:lnTo>
                      <a:pt x="1987" y="2385"/>
                    </a:lnTo>
                    <a:lnTo>
                      <a:pt x="1987" y="2385"/>
                    </a:lnTo>
                    <a:lnTo>
                      <a:pt x="1993" y="2357"/>
                    </a:lnTo>
                    <a:lnTo>
                      <a:pt x="2000" y="2323"/>
                    </a:lnTo>
                    <a:lnTo>
                      <a:pt x="2022" y="2233"/>
                    </a:lnTo>
                    <a:close/>
                    <a:moveTo>
                      <a:pt x="2204" y="2227"/>
                    </a:moveTo>
                    <a:lnTo>
                      <a:pt x="2204" y="2227"/>
                    </a:lnTo>
                    <a:lnTo>
                      <a:pt x="2193" y="2228"/>
                    </a:lnTo>
                    <a:lnTo>
                      <a:pt x="2181" y="2229"/>
                    </a:lnTo>
                    <a:lnTo>
                      <a:pt x="2170" y="2233"/>
                    </a:lnTo>
                    <a:lnTo>
                      <a:pt x="2161" y="2237"/>
                    </a:lnTo>
                    <a:lnTo>
                      <a:pt x="2151" y="2241"/>
                    </a:lnTo>
                    <a:lnTo>
                      <a:pt x="2141" y="2249"/>
                    </a:lnTo>
                    <a:lnTo>
                      <a:pt x="2133" y="2255"/>
                    </a:lnTo>
                    <a:lnTo>
                      <a:pt x="2125" y="2263"/>
                    </a:lnTo>
                    <a:lnTo>
                      <a:pt x="2118" y="2272"/>
                    </a:lnTo>
                    <a:lnTo>
                      <a:pt x="2112" y="2282"/>
                    </a:lnTo>
                    <a:lnTo>
                      <a:pt x="2106" y="2293"/>
                    </a:lnTo>
                    <a:lnTo>
                      <a:pt x="2102" y="2303"/>
                    </a:lnTo>
                    <a:lnTo>
                      <a:pt x="2099" y="2316"/>
                    </a:lnTo>
                    <a:lnTo>
                      <a:pt x="2095" y="2329"/>
                    </a:lnTo>
                    <a:lnTo>
                      <a:pt x="2094" y="2341"/>
                    </a:lnTo>
                    <a:lnTo>
                      <a:pt x="2094" y="2356"/>
                    </a:lnTo>
                    <a:lnTo>
                      <a:pt x="2094" y="2356"/>
                    </a:lnTo>
                    <a:lnTo>
                      <a:pt x="2094" y="2369"/>
                    </a:lnTo>
                    <a:lnTo>
                      <a:pt x="2095" y="2382"/>
                    </a:lnTo>
                    <a:lnTo>
                      <a:pt x="2099" y="2395"/>
                    </a:lnTo>
                    <a:lnTo>
                      <a:pt x="2102" y="2407"/>
                    </a:lnTo>
                    <a:lnTo>
                      <a:pt x="2106" y="2418"/>
                    </a:lnTo>
                    <a:lnTo>
                      <a:pt x="2112" y="2429"/>
                    </a:lnTo>
                    <a:lnTo>
                      <a:pt x="2118" y="2438"/>
                    </a:lnTo>
                    <a:lnTo>
                      <a:pt x="2125" y="2447"/>
                    </a:lnTo>
                    <a:lnTo>
                      <a:pt x="2133" y="2455"/>
                    </a:lnTo>
                    <a:lnTo>
                      <a:pt x="2141" y="2463"/>
                    </a:lnTo>
                    <a:lnTo>
                      <a:pt x="2151" y="2469"/>
                    </a:lnTo>
                    <a:lnTo>
                      <a:pt x="2161" y="2474"/>
                    </a:lnTo>
                    <a:lnTo>
                      <a:pt x="2170" y="2477"/>
                    </a:lnTo>
                    <a:lnTo>
                      <a:pt x="2181" y="2481"/>
                    </a:lnTo>
                    <a:lnTo>
                      <a:pt x="2193" y="2482"/>
                    </a:lnTo>
                    <a:lnTo>
                      <a:pt x="2204" y="2483"/>
                    </a:lnTo>
                    <a:lnTo>
                      <a:pt x="2204" y="2483"/>
                    </a:lnTo>
                    <a:lnTo>
                      <a:pt x="2216" y="2482"/>
                    </a:lnTo>
                    <a:lnTo>
                      <a:pt x="2229" y="2481"/>
                    </a:lnTo>
                    <a:lnTo>
                      <a:pt x="2240" y="2477"/>
                    </a:lnTo>
                    <a:lnTo>
                      <a:pt x="2249" y="2474"/>
                    </a:lnTo>
                    <a:lnTo>
                      <a:pt x="2259" y="2469"/>
                    </a:lnTo>
                    <a:lnTo>
                      <a:pt x="2269" y="2463"/>
                    </a:lnTo>
                    <a:lnTo>
                      <a:pt x="2277" y="2455"/>
                    </a:lnTo>
                    <a:lnTo>
                      <a:pt x="2284" y="2447"/>
                    </a:lnTo>
                    <a:lnTo>
                      <a:pt x="2292" y="2438"/>
                    </a:lnTo>
                    <a:lnTo>
                      <a:pt x="2298" y="2429"/>
                    </a:lnTo>
                    <a:lnTo>
                      <a:pt x="2303" y="2418"/>
                    </a:lnTo>
                    <a:lnTo>
                      <a:pt x="2308" y="2407"/>
                    </a:lnTo>
                    <a:lnTo>
                      <a:pt x="2311" y="2395"/>
                    </a:lnTo>
                    <a:lnTo>
                      <a:pt x="2314" y="2382"/>
                    </a:lnTo>
                    <a:lnTo>
                      <a:pt x="2316" y="2369"/>
                    </a:lnTo>
                    <a:lnTo>
                      <a:pt x="2316" y="2356"/>
                    </a:lnTo>
                    <a:lnTo>
                      <a:pt x="2316" y="2356"/>
                    </a:lnTo>
                    <a:lnTo>
                      <a:pt x="2316" y="2341"/>
                    </a:lnTo>
                    <a:lnTo>
                      <a:pt x="2314" y="2329"/>
                    </a:lnTo>
                    <a:lnTo>
                      <a:pt x="2311" y="2316"/>
                    </a:lnTo>
                    <a:lnTo>
                      <a:pt x="2308" y="2303"/>
                    </a:lnTo>
                    <a:lnTo>
                      <a:pt x="2303" y="2293"/>
                    </a:lnTo>
                    <a:lnTo>
                      <a:pt x="2298" y="2282"/>
                    </a:lnTo>
                    <a:lnTo>
                      <a:pt x="2292" y="2272"/>
                    </a:lnTo>
                    <a:lnTo>
                      <a:pt x="2284" y="2263"/>
                    </a:lnTo>
                    <a:lnTo>
                      <a:pt x="2277" y="2255"/>
                    </a:lnTo>
                    <a:lnTo>
                      <a:pt x="2269" y="2249"/>
                    </a:lnTo>
                    <a:lnTo>
                      <a:pt x="2259" y="2241"/>
                    </a:lnTo>
                    <a:lnTo>
                      <a:pt x="2249" y="2237"/>
                    </a:lnTo>
                    <a:lnTo>
                      <a:pt x="2240" y="2233"/>
                    </a:lnTo>
                    <a:lnTo>
                      <a:pt x="2229" y="2229"/>
                    </a:lnTo>
                    <a:lnTo>
                      <a:pt x="2216" y="2228"/>
                    </a:lnTo>
                    <a:lnTo>
                      <a:pt x="2204" y="2227"/>
                    </a:lnTo>
                    <a:lnTo>
                      <a:pt x="2204" y="2227"/>
                    </a:lnTo>
                    <a:close/>
                    <a:moveTo>
                      <a:pt x="2204" y="2426"/>
                    </a:moveTo>
                    <a:lnTo>
                      <a:pt x="2204" y="2426"/>
                    </a:lnTo>
                    <a:lnTo>
                      <a:pt x="2193" y="2425"/>
                    </a:lnTo>
                    <a:lnTo>
                      <a:pt x="2185" y="2421"/>
                    </a:lnTo>
                    <a:lnTo>
                      <a:pt x="2176" y="2415"/>
                    </a:lnTo>
                    <a:lnTo>
                      <a:pt x="2169" y="2407"/>
                    </a:lnTo>
                    <a:lnTo>
                      <a:pt x="2163" y="2397"/>
                    </a:lnTo>
                    <a:lnTo>
                      <a:pt x="2158" y="2385"/>
                    </a:lnTo>
                    <a:lnTo>
                      <a:pt x="2156" y="2370"/>
                    </a:lnTo>
                    <a:lnTo>
                      <a:pt x="2156" y="2356"/>
                    </a:lnTo>
                    <a:lnTo>
                      <a:pt x="2156" y="2356"/>
                    </a:lnTo>
                    <a:lnTo>
                      <a:pt x="2156" y="2340"/>
                    </a:lnTo>
                    <a:lnTo>
                      <a:pt x="2158" y="2327"/>
                    </a:lnTo>
                    <a:lnTo>
                      <a:pt x="2163" y="2314"/>
                    </a:lnTo>
                    <a:lnTo>
                      <a:pt x="2169" y="2303"/>
                    </a:lnTo>
                    <a:lnTo>
                      <a:pt x="2176" y="2295"/>
                    </a:lnTo>
                    <a:lnTo>
                      <a:pt x="2185" y="2289"/>
                    </a:lnTo>
                    <a:lnTo>
                      <a:pt x="2193" y="2285"/>
                    </a:lnTo>
                    <a:lnTo>
                      <a:pt x="2204" y="2284"/>
                    </a:lnTo>
                    <a:lnTo>
                      <a:pt x="2204" y="2284"/>
                    </a:lnTo>
                    <a:lnTo>
                      <a:pt x="2215" y="2285"/>
                    </a:lnTo>
                    <a:lnTo>
                      <a:pt x="2225" y="2289"/>
                    </a:lnTo>
                    <a:lnTo>
                      <a:pt x="2233" y="2295"/>
                    </a:lnTo>
                    <a:lnTo>
                      <a:pt x="2241" y="2303"/>
                    </a:lnTo>
                    <a:lnTo>
                      <a:pt x="2247" y="2314"/>
                    </a:lnTo>
                    <a:lnTo>
                      <a:pt x="2250" y="2327"/>
                    </a:lnTo>
                    <a:lnTo>
                      <a:pt x="2253" y="2340"/>
                    </a:lnTo>
                    <a:lnTo>
                      <a:pt x="2254" y="2356"/>
                    </a:lnTo>
                    <a:lnTo>
                      <a:pt x="2254" y="2356"/>
                    </a:lnTo>
                    <a:lnTo>
                      <a:pt x="2253" y="2370"/>
                    </a:lnTo>
                    <a:lnTo>
                      <a:pt x="2250" y="2385"/>
                    </a:lnTo>
                    <a:lnTo>
                      <a:pt x="2247" y="2397"/>
                    </a:lnTo>
                    <a:lnTo>
                      <a:pt x="2241" y="2407"/>
                    </a:lnTo>
                    <a:lnTo>
                      <a:pt x="2233" y="2415"/>
                    </a:lnTo>
                    <a:lnTo>
                      <a:pt x="2225" y="2421"/>
                    </a:lnTo>
                    <a:lnTo>
                      <a:pt x="2215" y="2425"/>
                    </a:lnTo>
                    <a:lnTo>
                      <a:pt x="2204" y="2426"/>
                    </a:lnTo>
                    <a:lnTo>
                      <a:pt x="2204" y="2426"/>
                    </a:lnTo>
                    <a:close/>
                    <a:moveTo>
                      <a:pt x="921" y="2313"/>
                    </a:moveTo>
                    <a:lnTo>
                      <a:pt x="995" y="2477"/>
                    </a:lnTo>
                    <a:lnTo>
                      <a:pt x="928" y="2477"/>
                    </a:lnTo>
                    <a:lnTo>
                      <a:pt x="877" y="2364"/>
                    </a:lnTo>
                    <a:lnTo>
                      <a:pt x="845" y="2404"/>
                    </a:lnTo>
                    <a:lnTo>
                      <a:pt x="845" y="2477"/>
                    </a:lnTo>
                    <a:lnTo>
                      <a:pt x="785" y="2477"/>
                    </a:lnTo>
                    <a:lnTo>
                      <a:pt x="785" y="2161"/>
                    </a:lnTo>
                    <a:lnTo>
                      <a:pt x="845" y="2131"/>
                    </a:lnTo>
                    <a:lnTo>
                      <a:pt x="845" y="2327"/>
                    </a:lnTo>
                    <a:lnTo>
                      <a:pt x="845" y="2327"/>
                    </a:lnTo>
                    <a:lnTo>
                      <a:pt x="868" y="2295"/>
                    </a:lnTo>
                    <a:lnTo>
                      <a:pt x="916" y="2233"/>
                    </a:lnTo>
                    <a:lnTo>
                      <a:pt x="987" y="2233"/>
                    </a:lnTo>
                    <a:lnTo>
                      <a:pt x="921" y="2313"/>
                    </a:lnTo>
                    <a:close/>
                    <a:moveTo>
                      <a:pt x="1208" y="2477"/>
                    </a:moveTo>
                    <a:lnTo>
                      <a:pt x="1147" y="2477"/>
                    </a:lnTo>
                    <a:lnTo>
                      <a:pt x="1147" y="2233"/>
                    </a:lnTo>
                    <a:lnTo>
                      <a:pt x="1208" y="2233"/>
                    </a:lnTo>
                    <a:lnTo>
                      <a:pt x="1208" y="2254"/>
                    </a:lnTo>
                    <a:lnTo>
                      <a:pt x="1208" y="2254"/>
                    </a:lnTo>
                    <a:lnTo>
                      <a:pt x="1214" y="2248"/>
                    </a:lnTo>
                    <a:lnTo>
                      <a:pt x="1220" y="2243"/>
                    </a:lnTo>
                    <a:lnTo>
                      <a:pt x="1227" y="2238"/>
                    </a:lnTo>
                    <a:lnTo>
                      <a:pt x="1235" y="2234"/>
                    </a:lnTo>
                    <a:lnTo>
                      <a:pt x="1243" y="2232"/>
                    </a:lnTo>
                    <a:lnTo>
                      <a:pt x="1252" y="2229"/>
                    </a:lnTo>
                    <a:lnTo>
                      <a:pt x="1260" y="2228"/>
                    </a:lnTo>
                    <a:lnTo>
                      <a:pt x="1270" y="2227"/>
                    </a:lnTo>
                    <a:lnTo>
                      <a:pt x="1270" y="2227"/>
                    </a:lnTo>
                    <a:lnTo>
                      <a:pt x="1281" y="2228"/>
                    </a:lnTo>
                    <a:lnTo>
                      <a:pt x="1290" y="2229"/>
                    </a:lnTo>
                    <a:lnTo>
                      <a:pt x="1299" y="2232"/>
                    </a:lnTo>
                    <a:lnTo>
                      <a:pt x="1309" y="2234"/>
                    </a:lnTo>
                    <a:lnTo>
                      <a:pt x="1316" y="2239"/>
                    </a:lnTo>
                    <a:lnTo>
                      <a:pt x="1323" y="2244"/>
                    </a:lnTo>
                    <a:lnTo>
                      <a:pt x="1331" y="2249"/>
                    </a:lnTo>
                    <a:lnTo>
                      <a:pt x="1337" y="2256"/>
                    </a:lnTo>
                    <a:lnTo>
                      <a:pt x="1342" y="2263"/>
                    </a:lnTo>
                    <a:lnTo>
                      <a:pt x="1346" y="2272"/>
                    </a:lnTo>
                    <a:lnTo>
                      <a:pt x="1350" y="2280"/>
                    </a:lnTo>
                    <a:lnTo>
                      <a:pt x="1354" y="2291"/>
                    </a:lnTo>
                    <a:lnTo>
                      <a:pt x="1356" y="2302"/>
                    </a:lnTo>
                    <a:lnTo>
                      <a:pt x="1357" y="2313"/>
                    </a:lnTo>
                    <a:lnTo>
                      <a:pt x="1359" y="2325"/>
                    </a:lnTo>
                    <a:lnTo>
                      <a:pt x="1360" y="2339"/>
                    </a:lnTo>
                    <a:lnTo>
                      <a:pt x="1360" y="2477"/>
                    </a:lnTo>
                    <a:lnTo>
                      <a:pt x="1299" y="2477"/>
                    </a:lnTo>
                    <a:lnTo>
                      <a:pt x="1299" y="2342"/>
                    </a:lnTo>
                    <a:lnTo>
                      <a:pt x="1299" y="2342"/>
                    </a:lnTo>
                    <a:lnTo>
                      <a:pt x="1298" y="2329"/>
                    </a:lnTo>
                    <a:lnTo>
                      <a:pt x="1297" y="2316"/>
                    </a:lnTo>
                    <a:lnTo>
                      <a:pt x="1293" y="2306"/>
                    </a:lnTo>
                    <a:lnTo>
                      <a:pt x="1288" y="2297"/>
                    </a:lnTo>
                    <a:lnTo>
                      <a:pt x="1282" y="2291"/>
                    </a:lnTo>
                    <a:lnTo>
                      <a:pt x="1275" y="2286"/>
                    </a:lnTo>
                    <a:lnTo>
                      <a:pt x="1265" y="2284"/>
                    </a:lnTo>
                    <a:lnTo>
                      <a:pt x="1254" y="2283"/>
                    </a:lnTo>
                    <a:lnTo>
                      <a:pt x="1254" y="2283"/>
                    </a:lnTo>
                    <a:lnTo>
                      <a:pt x="1244" y="2284"/>
                    </a:lnTo>
                    <a:lnTo>
                      <a:pt x="1235" y="2286"/>
                    </a:lnTo>
                    <a:lnTo>
                      <a:pt x="1226" y="2291"/>
                    </a:lnTo>
                    <a:lnTo>
                      <a:pt x="1220" y="2299"/>
                    </a:lnTo>
                    <a:lnTo>
                      <a:pt x="1215" y="2306"/>
                    </a:lnTo>
                    <a:lnTo>
                      <a:pt x="1212" y="2317"/>
                    </a:lnTo>
                    <a:lnTo>
                      <a:pt x="1209" y="2329"/>
                    </a:lnTo>
                    <a:lnTo>
                      <a:pt x="1208" y="2342"/>
                    </a:lnTo>
                    <a:lnTo>
                      <a:pt x="1208" y="2477"/>
                    </a:lnTo>
                    <a:close/>
                    <a:moveTo>
                      <a:pt x="1551" y="2250"/>
                    </a:moveTo>
                    <a:lnTo>
                      <a:pt x="1551" y="2250"/>
                    </a:lnTo>
                    <a:lnTo>
                      <a:pt x="1544" y="2245"/>
                    </a:lnTo>
                    <a:lnTo>
                      <a:pt x="1538" y="2240"/>
                    </a:lnTo>
                    <a:lnTo>
                      <a:pt x="1532" y="2237"/>
                    </a:lnTo>
                    <a:lnTo>
                      <a:pt x="1525" y="2233"/>
                    </a:lnTo>
                    <a:lnTo>
                      <a:pt x="1518" y="2231"/>
                    </a:lnTo>
                    <a:lnTo>
                      <a:pt x="1510" y="2229"/>
                    </a:lnTo>
                    <a:lnTo>
                      <a:pt x="1503" y="2228"/>
                    </a:lnTo>
                    <a:lnTo>
                      <a:pt x="1496" y="2227"/>
                    </a:lnTo>
                    <a:lnTo>
                      <a:pt x="1496" y="2227"/>
                    </a:lnTo>
                    <a:lnTo>
                      <a:pt x="1485" y="2228"/>
                    </a:lnTo>
                    <a:lnTo>
                      <a:pt x="1475" y="2229"/>
                    </a:lnTo>
                    <a:lnTo>
                      <a:pt x="1465" y="2232"/>
                    </a:lnTo>
                    <a:lnTo>
                      <a:pt x="1456" y="2237"/>
                    </a:lnTo>
                    <a:lnTo>
                      <a:pt x="1447" y="2240"/>
                    </a:lnTo>
                    <a:lnTo>
                      <a:pt x="1440" y="2246"/>
                    </a:lnTo>
                    <a:lnTo>
                      <a:pt x="1433" y="2254"/>
                    </a:lnTo>
                    <a:lnTo>
                      <a:pt x="1425" y="2261"/>
                    </a:lnTo>
                    <a:lnTo>
                      <a:pt x="1419" y="2269"/>
                    </a:lnTo>
                    <a:lnTo>
                      <a:pt x="1414" y="2279"/>
                    </a:lnTo>
                    <a:lnTo>
                      <a:pt x="1410" y="2289"/>
                    </a:lnTo>
                    <a:lnTo>
                      <a:pt x="1406" y="2301"/>
                    </a:lnTo>
                    <a:lnTo>
                      <a:pt x="1404" y="2312"/>
                    </a:lnTo>
                    <a:lnTo>
                      <a:pt x="1401" y="2325"/>
                    </a:lnTo>
                    <a:lnTo>
                      <a:pt x="1400" y="2339"/>
                    </a:lnTo>
                    <a:lnTo>
                      <a:pt x="1400" y="2352"/>
                    </a:lnTo>
                    <a:lnTo>
                      <a:pt x="1400" y="2352"/>
                    </a:lnTo>
                    <a:lnTo>
                      <a:pt x="1400" y="2368"/>
                    </a:lnTo>
                    <a:lnTo>
                      <a:pt x="1401" y="2381"/>
                    </a:lnTo>
                    <a:lnTo>
                      <a:pt x="1404" y="2395"/>
                    </a:lnTo>
                    <a:lnTo>
                      <a:pt x="1406" y="2408"/>
                    </a:lnTo>
                    <a:lnTo>
                      <a:pt x="1410" y="2419"/>
                    </a:lnTo>
                    <a:lnTo>
                      <a:pt x="1414" y="2430"/>
                    </a:lnTo>
                    <a:lnTo>
                      <a:pt x="1419" y="2440"/>
                    </a:lnTo>
                    <a:lnTo>
                      <a:pt x="1425" y="2448"/>
                    </a:lnTo>
                    <a:lnTo>
                      <a:pt x="1431" y="2457"/>
                    </a:lnTo>
                    <a:lnTo>
                      <a:pt x="1439" y="2463"/>
                    </a:lnTo>
                    <a:lnTo>
                      <a:pt x="1446" y="2469"/>
                    </a:lnTo>
                    <a:lnTo>
                      <a:pt x="1455" y="2474"/>
                    </a:lnTo>
                    <a:lnTo>
                      <a:pt x="1464" y="2477"/>
                    </a:lnTo>
                    <a:lnTo>
                      <a:pt x="1474" y="2481"/>
                    </a:lnTo>
                    <a:lnTo>
                      <a:pt x="1484" y="2482"/>
                    </a:lnTo>
                    <a:lnTo>
                      <a:pt x="1495" y="2483"/>
                    </a:lnTo>
                    <a:lnTo>
                      <a:pt x="1495" y="2483"/>
                    </a:lnTo>
                    <a:lnTo>
                      <a:pt x="1502" y="2482"/>
                    </a:lnTo>
                    <a:lnTo>
                      <a:pt x="1510" y="2481"/>
                    </a:lnTo>
                    <a:lnTo>
                      <a:pt x="1518" y="2480"/>
                    </a:lnTo>
                    <a:lnTo>
                      <a:pt x="1525" y="2477"/>
                    </a:lnTo>
                    <a:lnTo>
                      <a:pt x="1531" y="2474"/>
                    </a:lnTo>
                    <a:lnTo>
                      <a:pt x="1538" y="2470"/>
                    </a:lnTo>
                    <a:lnTo>
                      <a:pt x="1544" y="2465"/>
                    </a:lnTo>
                    <a:lnTo>
                      <a:pt x="1551" y="2459"/>
                    </a:lnTo>
                    <a:lnTo>
                      <a:pt x="1551" y="2465"/>
                    </a:lnTo>
                    <a:lnTo>
                      <a:pt x="1551" y="2465"/>
                    </a:lnTo>
                    <a:lnTo>
                      <a:pt x="1551" y="2475"/>
                    </a:lnTo>
                    <a:lnTo>
                      <a:pt x="1549" y="2486"/>
                    </a:lnTo>
                    <a:lnTo>
                      <a:pt x="1546" y="2497"/>
                    </a:lnTo>
                    <a:lnTo>
                      <a:pt x="1543" y="2502"/>
                    </a:lnTo>
                    <a:lnTo>
                      <a:pt x="1541" y="2506"/>
                    </a:lnTo>
                    <a:lnTo>
                      <a:pt x="1536" y="2511"/>
                    </a:lnTo>
                    <a:lnTo>
                      <a:pt x="1531" y="2516"/>
                    </a:lnTo>
                    <a:lnTo>
                      <a:pt x="1525" y="2520"/>
                    </a:lnTo>
                    <a:lnTo>
                      <a:pt x="1518" y="2524"/>
                    </a:lnTo>
                    <a:lnTo>
                      <a:pt x="1508" y="2526"/>
                    </a:lnTo>
                    <a:lnTo>
                      <a:pt x="1498" y="2528"/>
                    </a:lnTo>
                    <a:lnTo>
                      <a:pt x="1486" y="2530"/>
                    </a:lnTo>
                    <a:lnTo>
                      <a:pt x="1472" y="2530"/>
                    </a:lnTo>
                    <a:lnTo>
                      <a:pt x="1469" y="2530"/>
                    </a:lnTo>
                    <a:lnTo>
                      <a:pt x="1491" y="2577"/>
                    </a:lnTo>
                    <a:lnTo>
                      <a:pt x="1492" y="2577"/>
                    </a:lnTo>
                    <a:lnTo>
                      <a:pt x="1492" y="2577"/>
                    </a:lnTo>
                    <a:lnTo>
                      <a:pt x="1507" y="2577"/>
                    </a:lnTo>
                    <a:lnTo>
                      <a:pt x="1520" y="2576"/>
                    </a:lnTo>
                    <a:lnTo>
                      <a:pt x="1532" y="2572"/>
                    </a:lnTo>
                    <a:lnTo>
                      <a:pt x="1544" y="2570"/>
                    </a:lnTo>
                    <a:lnTo>
                      <a:pt x="1555" y="2565"/>
                    </a:lnTo>
                    <a:lnTo>
                      <a:pt x="1565" y="2560"/>
                    </a:lnTo>
                    <a:lnTo>
                      <a:pt x="1574" y="2554"/>
                    </a:lnTo>
                    <a:lnTo>
                      <a:pt x="1581" y="2547"/>
                    </a:lnTo>
                    <a:lnTo>
                      <a:pt x="1588" y="2538"/>
                    </a:lnTo>
                    <a:lnTo>
                      <a:pt x="1594" y="2530"/>
                    </a:lnTo>
                    <a:lnTo>
                      <a:pt x="1599" y="2519"/>
                    </a:lnTo>
                    <a:lnTo>
                      <a:pt x="1603" y="2508"/>
                    </a:lnTo>
                    <a:lnTo>
                      <a:pt x="1606" y="2497"/>
                    </a:lnTo>
                    <a:lnTo>
                      <a:pt x="1609" y="2483"/>
                    </a:lnTo>
                    <a:lnTo>
                      <a:pt x="1610" y="2470"/>
                    </a:lnTo>
                    <a:lnTo>
                      <a:pt x="1610" y="2455"/>
                    </a:lnTo>
                    <a:lnTo>
                      <a:pt x="1610" y="2233"/>
                    </a:lnTo>
                    <a:lnTo>
                      <a:pt x="1551" y="2233"/>
                    </a:lnTo>
                    <a:lnTo>
                      <a:pt x="1551" y="2250"/>
                    </a:lnTo>
                    <a:close/>
                    <a:moveTo>
                      <a:pt x="1551" y="2307"/>
                    </a:moveTo>
                    <a:lnTo>
                      <a:pt x="1551" y="2403"/>
                    </a:lnTo>
                    <a:lnTo>
                      <a:pt x="1551" y="2403"/>
                    </a:lnTo>
                    <a:lnTo>
                      <a:pt x="1542" y="2412"/>
                    </a:lnTo>
                    <a:lnTo>
                      <a:pt x="1534" y="2420"/>
                    </a:lnTo>
                    <a:lnTo>
                      <a:pt x="1527" y="2423"/>
                    </a:lnTo>
                    <a:lnTo>
                      <a:pt x="1521" y="2425"/>
                    </a:lnTo>
                    <a:lnTo>
                      <a:pt x="1515" y="2426"/>
                    </a:lnTo>
                    <a:lnTo>
                      <a:pt x="1507" y="2427"/>
                    </a:lnTo>
                    <a:lnTo>
                      <a:pt x="1507" y="2427"/>
                    </a:lnTo>
                    <a:lnTo>
                      <a:pt x="1499" y="2426"/>
                    </a:lnTo>
                    <a:lnTo>
                      <a:pt x="1491" y="2424"/>
                    </a:lnTo>
                    <a:lnTo>
                      <a:pt x="1484" y="2420"/>
                    </a:lnTo>
                    <a:lnTo>
                      <a:pt x="1476" y="2413"/>
                    </a:lnTo>
                    <a:lnTo>
                      <a:pt x="1470" y="2403"/>
                    </a:lnTo>
                    <a:lnTo>
                      <a:pt x="1465" y="2390"/>
                    </a:lnTo>
                    <a:lnTo>
                      <a:pt x="1463" y="2373"/>
                    </a:lnTo>
                    <a:lnTo>
                      <a:pt x="1462" y="2351"/>
                    </a:lnTo>
                    <a:lnTo>
                      <a:pt x="1462" y="2351"/>
                    </a:lnTo>
                    <a:lnTo>
                      <a:pt x="1463" y="2333"/>
                    </a:lnTo>
                    <a:lnTo>
                      <a:pt x="1465" y="2317"/>
                    </a:lnTo>
                    <a:lnTo>
                      <a:pt x="1470" y="2305"/>
                    </a:lnTo>
                    <a:lnTo>
                      <a:pt x="1476" y="2296"/>
                    </a:lnTo>
                    <a:lnTo>
                      <a:pt x="1484" y="2290"/>
                    </a:lnTo>
                    <a:lnTo>
                      <a:pt x="1491" y="2285"/>
                    </a:lnTo>
                    <a:lnTo>
                      <a:pt x="1499" y="2284"/>
                    </a:lnTo>
                    <a:lnTo>
                      <a:pt x="1507" y="2283"/>
                    </a:lnTo>
                    <a:lnTo>
                      <a:pt x="1507" y="2283"/>
                    </a:lnTo>
                    <a:lnTo>
                      <a:pt x="1515" y="2284"/>
                    </a:lnTo>
                    <a:lnTo>
                      <a:pt x="1523" y="2285"/>
                    </a:lnTo>
                    <a:lnTo>
                      <a:pt x="1529" y="2288"/>
                    </a:lnTo>
                    <a:lnTo>
                      <a:pt x="1535" y="2291"/>
                    </a:lnTo>
                    <a:lnTo>
                      <a:pt x="1540" y="2295"/>
                    </a:lnTo>
                    <a:lnTo>
                      <a:pt x="1543" y="2299"/>
                    </a:lnTo>
                    <a:lnTo>
                      <a:pt x="1551" y="2307"/>
                    </a:lnTo>
                    <a:lnTo>
                      <a:pt x="1551" y="2307"/>
                    </a:lnTo>
                    <a:close/>
                    <a:moveTo>
                      <a:pt x="1033" y="2233"/>
                    </a:moveTo>
                    <a:lnTo>
                      <a:pt x="1094" y="2233"/>
                    </a:lnTo>
                    <a:lnTo>
                      <a:pt x="1094" y="2341"/>
                    </a:lnTo>
                    <a:lnTo>
                      <a:pt x="1094" y="2477"/>
                    </a:lnTo>
                    <a:lnTo>
                      <a:pt x="1033" y="2477"/>
                    </a:lnTo>
                    <a:lnTo>
                      <a:pt x="1033" y="2233"/>
                    </a:lnTo>
                    <a:close/>
                    <a:moveTo>
                      <a:pt x="1094" y="2167"/>
                    </a:moveTo>
                    <a:lnTo>
                      <a:pt x="1094" y="2198"/>
                    </a:lnTo>
                    <a:lnTo>
                      <a:pt x="1033" y="2198"/>
                    </a:lnTo>
                    <a:lnTo>
                      <a:pt x="1033" y="2137"/>
                    </a:lnTo>
                    <a:lnTo>
                      <a:pt x="1094" y="2137"/>
                    </a:lnTo>
                    <a:lnTo>
                      <a:pt x="1094" y="2167"/>
                    </a:lnTo>
                    <a:close/>
                    <a:moveTo>
                      <a:pt x="2542" y="2161"/>
                    </a:moveTo>
                    <a:lnTo>
                      <a:pt x="2603" y="2131"/>
                    </a:lnTo>
                    <a:lnTo>
                      <a:pt x="2603" y="2352"/>
                    </a:lnTo>
                    <a:lnTo>
                      <a:pt x="2603" y="2477"/>
                    </a:lnTo>
                    <a:lnTo>
                      <a:pt x="2542" y="2477"/>
                    </a:lnTo>
                    <a:lnTo>
                      <a:pt x="2542" y="2161"/>
                    </a:lnTo>
                    <a:close/>
                    <a:moveTo>
                      <a:pt x="437" y="834"/>
                    </a:moveTo>
                    <a:lnTo>
                      <a:pt x="936" y="834"/>
                    </a:lnTo>
                    <a:lnTo>
                      <a:pt x="936" y="544"/>
                    </a:lnTo>
                    <a:lnTo>
                      <a:pt x="437" y="544"/>
                    </a:lnTo>
                    <a:lnTo>
                      <a:pt x="437" y="317"/>
                    </a:lnTo>
                    <a:lnTo>
                      <a:pt x="989" y="317"/>
                    </a:lnTo>
                    <a:lnTo>
                      <a:pt x="806" y="0"/>
                    </a:lnTo>
                    <a:lnTo>
                      <a:pt x="24" y="0"/>
                    </a:lnTo>
                    <a:lnTo>
                      <a:pt x="24" y="1378"/>
                    </a:lnTo>
                    <a:lnTo>
                      <a:pt x="1126" y="1378"/>
                    </a:lnTo>
                    <a:lnTo>
                      <a:pt x="1126" y="1061"/>
                    </a:lnTo>
                    <a:lnTo>
                      <a:pt x="437" y="1061"/>
                    </a:lnTo>
                    <a:lnTo>
                      <a:pt x="437" y="834"/>
                    </a:lnTo>
                    <a:close/>
                    <a:moveTo>
                      <a:pt x="1860" y="0"/>
                    </a:moveTo>
                    <a:lnTo>
                      <a:pt x="1626" y="450"/>
                    </a:lnTo>
                    <a:lnTo>
                      <a:pt x="1393" y="0"/>
                    </a:lnTo>
                    <a:lnTo>
                      <a:pt x="936" y="0"/>
                    </a:lnTo>
                    <a:lnTo>
                      <a:pt x="1417" y="834"/>
                    </a:lnTo>
                    <a:lnTo>
                      <a:pt x="1417" y="1378"/>
                    </a:lnTo>
                    <a:lnTo>
                      <a:pt x="1829" y="1378"/>
                    </a:lnTo>
                    <a:lnTo>
                      <a:pt x="1829" y="834"/>
                    </a:lnTo>
                    <a:lnTo>
                      <a:pt x="2311" y="0"/>
                    </a:lnTo>
                    <a:lnTo>
                      <a:pt x="18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</p:grpSp>
        <p:sp>
          <p:nvSpPr>
            <p:cNvPr id="40" name="Content Placeholder 5">
              <a:extLst>
                <a:ext uri="{FF2B5EF4-FFF2-40B4-BE49-F238E27FC236}">
                  <a16:creationId xmlns:a16="http://schemas.microsoft.com/office/drawing/2014/main" id="{0DB58585-CCE5-4D5B-B362-48C49F075A3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28588" y="-12187"/>
              <a:ext cx="799089" cy="310587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Context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&amp; Scope</a:t>
              </a:r>
            </a:p>
          </p:txBody>
        </p:sp>
        <p:sp>
          <p:nvSpPr>
            <p:cNvPr id="41" name="Content Placeholder 5">
              <a:extLst>
                <a:ext uri="{FF2B5EF4-FFF2-40B4-BE49-F238E27FC236}">
                  <a16:creationId xmlns:a16="http://schemas.microsoft.com/office/drawing/2014/main" id="{5F4E2BA4-87A7-435E-BE6A-26269C02D4E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653573" y="1246"/>
              <a:ext cx="1008804" cy="283721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en-US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 Timeline</a:t>
              </a:r>
            </a:p>
          </p:txBody>
        </p:sp>
        <p:sp>
          <p:nvSpPr>
            <p:cNvPr id="42" name="Content Placeholder 5">
              <a:extLst>
                <a:ext uri="{FF2B5EF4-FFF2-40B4-BE49-F238E27FC236}">
                  <a16:creationId xmlns:a16="http://schemas.microsoft.com/office/drawing/2014/main" id="{5CB67575-F386-4F07-A107-FD64F442C95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77810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Detailed Scope &amp; Assumptions</a:t>
              </a:r>
            </a:p>
          </p:txBody>
        </p:sp>
        <p:sp>
          <p:nvSpPr>
            <p:cNvPr id="43" name="Content Placeholder 5">
              <a:extLst>
                <a:ext uri="{FF2B5EF4-FFF2-40B4-BE49-F238E27FC236}">
                  <a16:creationId xmlns:a16="http://schemas.microsoft.com/office/drawing/2014/main" id="{33A544CC-73FB-45CB-93AA-AAEFCED2EE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97101" y="47457"/>
              <a:ext cx="1279397" cy="191298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Solution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roach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4" name="Content Placeholder 5">
              <a:extLst>
                <a:ext uri="{FF2B5EF4-FFF2-40B4-BE49-F238E27FC236}">
                  <a16:creationId xmlns:a16="http://schemas.microsoft.com/office/drawing/2014/main" id="{08E40298-D062-496D-9FDC-D4D1EADA3C1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45922" y="75112"/>
              <a:ext cx="1138227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ject Team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Governance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5" name="Content Placeholder 5">
              <a:extLst>
                <a:ext uri="{FF2B5EF4-FFF2-40B4-BE49-F238E27FC236}">
                  <a16:creationId xmlns:a16="http://schemas.microsoft.com/office/drawing/2014/main" id="{7CF50933-7193-4A57-94E7-9CE219F234D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31801" y="75112"/>
              <a:ext cx="1097554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Our Value Proposition</a:t>
              </a:r>
            </a:p>
          </p:txBody>
        </p:sp>
        <p:sp>
          <p:nvSpPr>
            <p:cNvPr id="46" name="Content Placeholder 5">
              <a:extLst>
                <a:ext uri="{FF2B5EF4-FFF2-40B4-BE49-F238E27FC236}">
                  <a16:creationId xmlns:a16="http://schemas.microsoft.com/office/drawing/2014/main" id="{3C8E7F62-C49A-4669-9407-D31C87229EA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734717" y="79567"/>
              <a:ext cx="773670" cy="12707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Teams Profiles</a:t>
              </a:r>
            </a:p>
          </p:txBody>
        </p:sp>
        <p:sp>
          <p:nvSpPr>
            <p:cNvPr id="47" name="Content Placeholder 5">
              <a:extLst>
                <a:ext uri="{FF2B5EF4-FFF2-40B4-BE49-F238E27FC236}">
                  <a16:creationId xmlns:a16="http://schemas.microsoft.com/office/drawing/2014/main" id="{F0497A7F-C761-4764-8D93-C21C920F424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98779" y="54928"/>
              <a:ext cx="866515" cy="1763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Credentials</a:t>
              </a:r>
            </a:p>
          </p:txBody>
        </p:sp>
        <p:sp>
          <p:nvSpPr>
            <p:cNvPr id="48" name="Content Placeholder 5">
              <a:extLst>
                <a:ext uri="{FF2B5EF4-FFF2-40B4-BE49-F238E27FC236}">
                  <a16:creationId xmlns:a16="http://schemas.microsoft.com/office/drawing/2014/main" id="{0E0C453C-1C1F-48E1-B601-42135D5CE7F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229765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end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436628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437229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32435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41409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400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14226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366029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9469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891278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158588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83068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104670"/>
              </p:ext>
            </p:extLst>
          </p:nvPr>
        </p:nvGraphicFramePr>
        <p:xfrm>
          <a:off x="2121" y="1594"/>
          <a:ext cx="211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CB083FE1-E99D-44D7-999D-47CFE928C923}"/>
              </a:ext>
            </a:extLst>
          </p:cNvPr>
          <p:cNvSpPr/>
          <p:nvPr userDrawn="1"/>
        </p:nvSpPr>
        <p:spPr>
          <a:xfrm>
            <a:off x="-792287" y="600412"/>
            <a:ext cx="1181100" cy="0"/>
          </a:xfrm>
          <a:custGeom>
            <a:avLst/>
            <a:gdLst>
              <a:gd name="connsiteX0" fmla="*/ 0 w 1181100"/>
              <a:gd name="connsiteY0" fmla="*/ 0 h 0"/>
              <a:gd name="connsiteX1" fmla="*/ 1181100 w 1181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81100">
                <a:moveTo>
                  <a:pt x="0" y="0"/>
                </a:moveTo>
                <a:lnTo>
                  <a:pt x="1181100" y="0"/>
                </a:lnTo>
              </a:path>
            </a:pathLst>
          </a:cu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ED65D4E-691A-4FBD-BE99-95B5192433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478450"/>
            <a:ext cx="11175818" cy="476462"/>
          </a:xfrm>
        </p:spPr>
        <p:txBody>
          <a:bodyPr numCol="1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None/>
              <a:defRPr lang="en-US" sz="1600" b="0" kern="1200" cap="none" baseline="0" noProof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marL="169790" indent="0">
              <a:buNone/>
              <a:defRPr/>
            </a:lvl2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0" name="Rectangle 36">
            <a:extLst>
              <a:ext uri="{FF2B5EF4-FFF2-40B4-BE49-F238E27FC236}">
                <a16:creationId xmlns:a16="http://schemas.microsoft.com/office/drawing/2014/main" id="{B7B7CC29-EB94-49A6-83FA-332151D992B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99441" y="6544316"/>
            <a:ext cx="28440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EY Consulting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7C48B53-DC53-4ECD-B468-C400EF03A9FC}"/>
              </a:ext>
            </a:extLst>
          </p:cNvPr>
          <p:cNvGrpSpPr/>
          <p:nvPr userDrawn="1"/>
        </p:nvGrpSpPr>
        <p:grpSpPr>
          <a:xfrm>
            <a:off x="0" y="-2662"/>
            <a:ext cx="12212298" cy="362728"/>
            <a:chOff x="0" y="-12187"/>
            <a:chExt cx="12212298" cy="362728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76A670A1-E94D-461E-BA48-350A54E73B31}"/>
                </a:ext>
              </a:extLst>
            </p:cNvPr>
            <p:cNvGrpSpPr/>
            <p:nvPr userDrawn="1"/>
          </p:nvGrpSpPr>
          <p:grpSpPr>
            <a:xfrm>
              <a:off x="0" y="1"/>
              <a:ext cx="12192000" cy="350540"/>
              <a:chOff x="0" y="1"/>
              <a:chExt cx="12192000" cy="350540"/>
            </a:xfrm>
          </p:grpSpPr>
          <p:sp>
            <p:nvSpPr>
              <p:cNvPr id="51" name="AutoShape 4">
                <a:extLst>
                  <a:ext uri="{FF2B5EF4-FFF2-40B4-BE49-F238E27FC236}">
                    <a16:creationId xmlns:a16="http://schemas.microsoft.com/office/drawing/2014/main" id="{8E427872-C034-4890-8F29-40525DFA580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4680" y="68072"/>
                <a:ext cx="167539" cy="200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2F38ECE0-579C-4829-99AF-D9E7E38F474B}"/>
                  </a:ext>
                </a:extLst>
              </p:cNvPr>
              <p:cNvGrpSpPr/>
              <p:nvPr userDrawn="1"/>
            </p:nvGrpSpPr>
            <p:grpSpPr>
              <a:xfrm>
                <a:off x="0" y="1"/>
                <a:ext cx="12192000" cy="350540"/>
                <a:chOff x="0" y="1"/>
                <a:chExt cx="12192000" cy="350540"/>
              </a:xfrm>
            </p:grpSpPr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099C625F-7F9D-4BDB-AEB9-C5BACC75ABAA}"/>
                    </a:ext>
                  </a:extLst>
                </p:cNvPr>
                <p:cNvSpPr/>
                <p:nvPr userDrawn="1"/>
              </p:nvSpPr>
              <p:spPr>
                <a:xfrm>
                  <a:off x="0" y="1"/>
                  <a:ext cx="12192000" cy="350540"/>
                </a:xfrm>
                <a:prstGeom prst="rect">
                  <a:avLst/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AD113A3B-106F-4CA6-B80B-CAB02A4418C8}"/>
                    </a:ext>
                  </a:extLst>
                </p:cNvPr>
                <p:cNvGrpSpPr/>
                <p:nvPr userDrawn="1"/>
              </p:nvGrpSpPr>
              <p:grpSpPr>
                <a:xfrm>
                  <a:off x="81557" y="51130"/>
                  <a:ext cx="11861822" cy="211888"/>
                  <a:chOff x="81557" y="51130"/>
                  <a:chExt cx="11861822" cy="211888"/>
                </a:xfrm>
              </p:grpSpPr>
              <p:grpSp>
                <p:nvGrpSpPr>
                  <p:cNvPr id="56" name="Group 55">
                    <a:extLst>
                      <a:ext uri="{FF2B5EF4-FFF2-40B4-BE49-F238E27FC236}">
                        <a16:creationId xmlns:a16="http://schemas.microsoft.com/office/drawing/2014/main" id="{9F1EF131-054F-490F-9021-7CF46B37E3C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81557" y="62687"/>
                    <a:ext cx="167539" cy="200331"/>
                    <a:chOff x="784680" y="68072"/>
                    <a:chExt cx="167539" cy="200331"/>
                  </a:xfrm>
                </p:grpSpPr>
                <p:sp>
                  <p:nvSpPr>
                    <p:cNvPr id="65" name="Freeform 6">
                      <a:extLst>
                        <a:ext uri="{FF2B5EF4-FFF2-40B4-BE49-F238E27FC236}">
                          <a16:creationId xmlns:a16="http://schemas.microsoft.com/office/drawing/2014/main" id="{0CEBBEC6-D12E-41B9-AB76-08F11A53AAE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84680" y="68072"/>
                      <a:ext cx="134278" cy="50020"/>
                    </a:xfrm>
                    <a:custGeom>
                      <a:avLst/>
                      <a:gdLst>
                        <a:gd name="T0" fmla="*/ 2723 w 2723"/>
                        <a:gd name="T1" fmla="*/ 0 h 994"/>
                        <a:gd name="T2" fmla="*/ 0 w 2723"/>
                        <a:gd name="T3" fmla="*/ 994 h 994"/>
                        <a:gd name="T4" fmla="*/ 2723 w 2723"/>
                        <a:gd name="T5" fmla="*/ 513 h 994"/>
                        <a:gd name="T6" fmla="*/ 2723 w 2723"/>
                        <a:gd name="T7" fmla="*/ 0 h 9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723" h="994">
                          <a:moveTo>
                            <a:pt x="2723" y="0"/>
                          </a:moveTo>
                          <a:lnTo>
                            <a:pt x="0" y="994"/>
                          </a:lnTo>
                          <a:lnTo>
                            <a:pt x="2723" y="513"/>
                          </a:lnTo>
                          <a:lnTo>
                            <a:pt x="2723" y="0"/>
                          </a:lnTo>
                          <a:close/>
                        </a:path>
                      </a:pathLst>
                    </a:custGeom>
                    <a:solidFill>
                      <a:srgbClr val="F7DF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  <p:sp>
                  <p:nvSpPr>
                    <p:cNvPr id="66" name="Freeform 7">
                      <a:extLst>
                        <a:ext uri="{FF2B5EF4-FFF2-40B4-BE49-F238E27FC236}">
                          <a16:creationId xmlns:a16="http://schemas.microsoft.com/office/drawing/2014/main" id="{CA9D6FF9-8562-4157-B88F-7B4C1D764359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84680" y="138954"/>
                      <a:ext cx="167539" cy="129449"/>
                    </a:xfrm>
                    <a:custGeom>
                      <a:avLst/>
                      <a:gdLst>
                        <a:gd name="T0" fmla="*/ 256 w 3400"/>
                        <a:gd name="T1" fmla="*/ 1749 h 2577"/>
                        <a:gd name="T2" fmla="*/ 278 w 3400"/>
                        <a:gd name="T3" fmla="*/ 1978 h 2577"/>
                        <a:gd name="T4" fmla="*/ 166 w 3400"/>
                        <a:gd name="T5" fmla="*/ 1993 h 2577"/>
                        <a:gd name="T6" fmla="*/ 386 w 3400"/>
                        <a:gd name="T7" fmla="*/ 1940 h 2577"/>
                        <a:gd name="T8" fmla="*/ 458 w 3400"/>
                        <a:gd name="T9" fmla="*/ 2046 h 2577"/>
                        <a:gd name="T10" fmla="*/ 1255 w 3400"/>
                        <a:gd name="T11" fmla="*/ 1820 h 2577"/>
                        <a:gd name="T12" fmla="*/ 1339 w 3400"/>
                        <a:gd name="T13" fmla="*/ 1914 h 2577"/>
                        <a:gd name="T14" fmla="*/ 767 w 3400"/>
                        <a:gd name="T15" fmla="*/ 1703 h 2577"/>
                        <a:gd name="T16" fmla="*/ 813 w 3400"/>
                        <a:gd name="T17" fmla="*/ 1884 h 2577"/>
                        <a:gd name="T18" fmla="*/ 947 w 3400"/>
                        <a:gd name="T19" fmla="*/ 2042 h 2577"/>
                        <a:gd name="T20" fmla="*/ 916 w 3400"/>
                        <a:gd name="T21" fmla="*/ 1855 h 2577"/>
                        <a:gd name="T22" fmla="*/ 2225 w 3400"/>
                        <a:gd name="T23" fmla="*/ 2049 h 2577"/>
                        <a:gd name="T24" fmla="*/ 2376 w 3400"/>
                        <a:gd name="T25" fmla="*/ 1924 h 2577"/>
                        <a:gd name="T26" fmla="*/ 2312 w 3400"/>
                        <a:gd name="T27" fmla="*/ 1906 h 2577"/>
                        <a:gd name="T28" fmla="*/ 2267 w 3400"/>
                        <a:gd name="T29" fmla="*/ 1855 h 2577"/>
                        <a:gd name="T30" fmla="*/ 1441 w 3400"/>
                        <a:gd name="T31" fmla="*/ 1911 h 2577"/>
                        <a:gd name="T32" fmla="*/ 1591 w 3400"/>
                        <a:gd name="T33" fmla="*/ 2031 h 2577"/>
                        <a:gd name="T34" fmla="*/ 1622 w 3400"/>
                        <a:gd name="T35" fmla="*/ 2119 h 2577"/>
                        <a:gd name="T36" fmla="*/ 1507 w 3400"/>
                        <a:gd name="T37" fmla="*/ 1962 h 2577"/>
                        <a:gd name="T38" fmla="*/ 1902 w 3400"/>
                        <a:gd name="T39" fmla="*/ 1848 h 2577"/>
                        <a:gd name="T40" fmla="*/ 1797 w 3400"/>
                        <a:gd name="T41" fmla="*/ 1958 h 2577"/>
                        <a:gd name="T42" fmla="*/ 2006 w 3400"/>
                        <a:gd name="T43" fmla="*/ 1884 h 2577"/>
                        <a:gd name="T44" fmla="*/ 1857 w 3400"/>
                        <a:gd name="T45" fmla="*/ 1968 h 2577"/>
                        <a:gd name="T46" fmla="*/ 1881 w 3400"/>
                        <a:gd name="T47" fmla="*/ 2002 h 2577"/>
                        <a:gd name="T48" fmla="*/ 2467 w 3400"/>
                        <a:gd name="T49" fmla="*/ 1946 h 2577"/>
                        <a:gd name="T50" fmla="*/ 2452 w 3400"/>
                        <a:gd name="T51" fmla="*/ 1821 h 2577"/>
                        <a:gd name="T52" fmla="*/ 2521 w 3400"/>
                        <a:gd name="T53" fmla="*/ 2055 h 2577"/>
                        <a:gd name="T54" fmla="*/ 2555 w 3400"/>
                        <a:gd name="T55" fmla="*/ 1883 h 2577"/>
                        <a:gd name="T56" fmla="*/ 3202 w 3400"/>
                        <a:gd name="T57" fmla="*/ 1928 h 2577"/>
                        <a:gd name="T58" fmla="*/ 3006 w 3400"/>
                        <a:gd name="T59" fmla="*/ 1854 h 2577"/>
                        <a:gd name="T60" fmla="*/ 3140 w 3400"/>
                        <a:gd name="T61" fmla="*/ 2049 h 2577"/>
                        <a:gd name="T62" fmla="*/ 2905 w 3400"/>
                        <a:gd name="T63" fmla="*/ 1964 h 2577"/>
                        <a:gd name="T64" fmla="*/ 2868 w 3400"/>
                        <a:gd name="T65" fmla="*/ 2041 h 2577"/>
                        <a:gd name="T66" fmla="*/ 2713 w 3400"/>
                        <a:gd name="T67" fmla="*/ 2051 h 2577"/>
                        <a:gd name="T68" fmla="*/ 2747 w 3400"/>
                        <a:gd name="T69" fmla="*/ 1996 h 2577"/>
                        <a:gd name="T70" fmla="*/ 3300 w 3400"/>
                        <a:gd name="T71" fmla="*/ 1805 h 2577"/>
                        <a:gd name="T72" fmla="*/ 1073 w 3400"/>
                        <a:gd name="T73" fmla="*/ 2049 h 2577"/>
                        <a:gd name="T74" fmla="*/ 2660 w 3400"/>
                        <a:gd name="T75" fmla="*/ 2279 h 2577"/>
                        <a:gd name="T76" fmla="*/ 2763 w 3400"/>
                        <a:gd name="T77" fmla="*/ 2480 h 2577"/>
                        <a:gd name="T78" fmla="*/ 2737 w 3400"/>
                        <a:gd name="T79" fmla="*/ 2285 h 2577"/>
                        <a:gd name="T80" fmla="*/ 690 w 3400"/>
                        <a:gd name="T81" fmla="*/ 2289 h 2577"/>
                        <a:gd name="T82" fmla="*/ 740 w 3400"/>
                        <a:gd name="T83" fmla="*/ 2301 h 2577"/>
                        <a:gd name="T84" fmla="*/ 222 w 3400"/>
                        <a:gd name="T85" fmla="*/ 2352 h 2577"/>
                        <a:gd name="T86" fmla="*/ 341 w 3400"/>
                        <a:gd name="T87" fmla="*/ 2395 h 2577"/>
                        <a:gd name="T88" fmla="*/ 554 w 3400"/>
                        <a:gd name="T89" fmla="*/ 2395 h 2577"/>
                        <a:gd name="T90" fmla="*/ 412 w 3400"/>
                        <a:gd name="T91" fmla="*/ 2407 h 2577"/>
                        <a:gd name="T92" fmla="*/ 484 w 3400"/>
                        <a:gd name="T93" fmla="*/ 2407 h 2577"/>
                        <a:gd name="T94" fmla="*/ 2419 w 3400"/>
                        <a:gd name="T95" fmla="*/ 2248 h 2577"/>
                        <a:gd name="T96" fmla="*/ 1758 w 3400"/>
                        <a:gd name="T97" fmla="*/ 2233 h 2577"/>
                        <a:gd name="T98" fmla="*/ 2133 w 3400"/>
                        <a:gd name="T99" fmla="*/ 2255 h 2577"/>
                        <a:gd name="T100" fmla="*/ 2204 w 3400"/>
                        <a:gd name="T101" fmla="*/ 2483 h 2577"/>
                        <a:gd name="T102" fmla="*/ 2269 w 3400"/>
                        <a:gd name="T103" fmla="*/ 2249 h 2577"/>
                        <a:gd name="T104" fmla="*/ 2204 w 3400"/>
                        <a:gd name="T105" fmla="*/ 2284 h 2577"/>
                        <a:gd name="T106" fmla="*/ 845 w 3400"/>
                        <a:gd name="T107" fmla="*/ 2131 h 2577"/>
                        <a:gd name="T108" fmla="*/ 1323 w 3400"/>
                        <a:gd name="T109" fmla="*/ 2244 h 2577"/>
                        <a:gd name="T110" fmla="*/ 1220 w 3400"/>
                        <a:gd name="T111" fmla="*/ 2299 h 2577"/>
                        <a:gd name="T112" fmla="*/ 1410 w 3400"/>
                        <a:gd name="T113" fmla="*/ 2289 h 2577"/>
                        <a:gd name="T114" fmla="*/ 1525 w 3400"/>
                        <a:gd name="T115" fmla="*/ 2477 h 2577"/>
                        <a:gd name="T116" fmla="*/ 1544 w 3400"/>
                        <a:gd name="T117" fmla="*/ 2570 h 2577"/>
                        <a:gd name="T118" fmla="*/ 1491 w 3400"/>
                        <a:gd name="T119" fmla="*/ 2424 h 2577"/>
                        <a:gd name="T120" fmla="*/ 1094 w 3400"/>
                        <a:gd name="T121" fmla="*/ 2341 h 2577"/>
                        <a:gd name="T122" fmla="*/ 437 w 3400"/>
                        <a:gd name="T123" fmla="*/ 1061 h 25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3400" h="2577">
                          <a:moveTo>
                            <a:pt x="283" y="1942"/>
                          </a:moveTo>
                          <a:lnTo>
                            <a:pt x="283" y="1942"/>
                          </a:lnTo>
                          <a:lnTo>
                            <a:pt x="283" y="1934"/>
                          </a:lnTo>
                          <a:lnTo>
                            <a:pt x="282" y="1927"/>
                          </a:lnTo>
                          <a:lnTo>
                            <a:pt x="278" y="1912"/>
                          </a:lnTo>
                          <a:lnTo>
                            <a:pt x="272" y="1900"/>
                          </a:lnTo>
                          <a:lnTo>
                            <a:pt x="265" y="1890"/>
                          </a:lnTo>
                          <a:lnTo>
                            <a:pt x="256" y="1883"/>
                          </a:lnTo>
                          <a:lnTo>
                            <a:pt x="248" y="1877"/>
                          </a:lnTo>
                          <a:lnTo>
                            <a:pt x="241" y="1872"/>
                          </a:lnTo>
                          <a:lnTo>
                            <a:pt x="233" y="1868"/>
                          </a:lnTo>
                          <a:lnTo>
                            <a:pt x="233" y="1868"/>
                          </a:lnTo>
                          <a:lnTo>
                            <a:pt x="242" y="1862"/>
                          </a:lnTo>
                          <a:lnTo>
                            <a:pt x="249" y="1856"/>
                          </a:lnTo>
                          <a:lnTo>
                            <a:pt x="255" y="1849"/>
                          </a:lnTo>
                          <a:lnTo>
                            <a:pt x="261" y="1840"/>
                          </a:lnTo>
                          <a:lnTo>
                            <a:pt x="266" y="1832"/>
                          </a:lnTo>
                          <a:lnTo>
                            <a:pt x="269" y="1822"/>
                          </a:lnTo>
                          <a:lnTo>
                            <a:pt x="271" y="1812"/>
                          </a:lnTo>
                          <a:lnTo>
                            <a:pt x="271" y="1801"/>
                          </a:lnTo>
                          <a:lnTo>
                            <a:pt x="271" y="1801"/>
                          </a:lnTo>
                          <a:lnTo>
                            <a:pt x="271" y="1792"/>
                          </a:lnTo>
                          <a:lnTo>
                            <a:pt x="270" y="1782"/>
                          </a:lnTo>
                          <a:lnTo>
                            <a:pt x="267" y="1773"/>
                          </a:lnTo>
                          <a:lnTo>
                            <a:pt x="265" y="1765"/>
                          </a:lnTo>
                          <a:lnTo>
                            <a:pt x="261" y="1756"/>
                          </a:lnTo>
                          <a:lnTo>
                            <a:pt x="256" y="1749"/>
                          </a:lnTo>
                          <a:lnTo>
                            <a:pt x="250" y="1743"/>
                          </a:lnTo>
                          <a:lnTo>
                            <a:pt x="244" y="1737"/>
                          </a:lnTo>
                          <a:lnTo>
                            <a:pt x="237" y="1732"/>
                          </a:lnTo>
                          <a:lnTo>
                            <a:pt x="230" y="1727"/>
                          </a:lnTo>
                          <a:lnTo>
                            <a:pt x="221" y="1724"/>
                          </a:lnTo>
                          <a:lnTo>
                            <a:pt x="211" y="1720"/>
                          </a:lnTo>
                          <a:lnTo>
                            <a:pt x="202" y="1718"/>
                          </a:lnTo>
                          <a:lnTo>
                            <a:pt x="191" y="1715"/>
                          </a:lnTo>
                          <a:lnTo>
                            <a:pt x="180" y="1715"/>
                          </a:lnTo>
                          <a:lnTo>
                            <a:pt x="168" y="1714"/>
                          </a:lnTo>
                          <a:lnTo>
                            <a:pt x="24" y="1714"/>
                          </a:lnTo>
                          <a:lnTo>
                            <a:pt x="24" y="2049"/>
                          </a:lnTo>
                          <a:lnTo>
                            <a:pt x="166" y="2049"/>
                          </a:lnTo>
                          <a:lnTo>
                            <a:pt x="166" y="2049"/>
                          </a:lnTo>
                          <a:lnTo>
                            <a:pt x="180" y="2049"/>
                          </a:lnTo>
                          <a:lnTo>
                            <a:pt x="192" y="2048"/>
                          </a:lnTo>
                          <a:lnTo>
                            <a:pt x="204" y="2046"/>
                          </a:lnTo>
                          <a:lnTo>
                            <a:pt x="215" y="2042"/>
                          </a:lnTo>
                          <a:lnTo>
                            <a:pt x="226" y="2038"/>
                          </a:lnTo>
                          <a:lnTo>
                            <a:pt x="236" y="2034"/>
                          </a:lnTo>
                          <a:lnTo>
                            <a:pt x="244" y="2028"/>
                          </a:lnTo>
                          <a:lnTo>
                            <a:pt x="252" y="2021"/>
                          </a:lnTo>
                          <a:lnTo>
                            <a:pt x="259" y="2014"/>
                          </a:lnTo>
                          <a:lnTo>
                            <a:pt x="265" y="2006"/>
                          </a:lnTo>
                          <a:lnTo>
                            <a:pt x="271" y="1997"/>
                          </a:lnTo>
                          <a:lnTo>
                            <a:pt x="275" y="1987"/>
                          </a:lnTo>
                          <a:lnTo>
                            <a:pt x="278" y="1978"/>
                          </a:lnTo>
                          <a:lnTo>
                            <a:pt x="281" y="1967"/>
                          </a:lnTo>
                          <a:lnTo>
                            <a:pt x="282" y="1955"/>
                          </a:lnTo>
                          <a:lnTo>
                            <a:pt x="283" y="1942"/>
                          </a:lnTo>
                          <a:lnTo>
                            <a:pt x="283" y="1942"/>
                          </a:lnTo>
                          <a:close/>
                          <a:moveTo>
                            <a:pt x="166" y="1993"/>
                          </a:moveTo>
                          <a:lnTo>
                            <a:pt x="86" y="1993"/>
                          </a:lnTo>
                          <a:lnTo>
                            <a:pt x="86" y="1897"/>
                          </a:lnTo>
                          <a:lnTo>
                            <a:pt x="166" y="1897"/>
                          </a:lnTo>
                          <a:lnTo>
                            <a:pt x="166" y="1897"/>
                          </a:lnTo>
                          <a:lnTo>
                            <a:pt x="179" y="1899"/>
                          </a:lnTo>
                          <a:lnTo>
                            <a:pt x="188" y="1900"/>
                          </a:lnTo>
                          <a:lnTo>
                            <a:pt x="197" y="1904"/>
                          </a:lnTo>
                          <a:lnTo>
                            <a:pt x="204" y="1910"/>
                          </a:lnTo>
                          <a:lnTo>
                            <a:pt x="210" y="1916"/>
                          </a:lnTo>
                          <a:lnTo>
                            <a:pt x="214" y="1924"/>
                          </a:lnTo>
                          <a:lnTo>
                            <a:pt x="216" y="1934"/>
                          </a:lnTo>
                          <a:lnTo>
                            <a:pt x="218" y="1945"/>
                          </a:lnTo>
                          <a:lnTo>
                            <a:pt x="218" y="1945"/>
                          </a:lnTo>
                          <a:lnTo>
                            <a:pt x="216" y="1956"/>
                          </a:lnTo>
                          <a:lnTo>
                            <a:pt x="214" y="1966"/>
                          </a:lnTo>
                          <a:lnTo>
                            <a:pt x="209" y="1974"/>
                          </a:lnTo>
                          <a:lnTo>
                            <a:pt x="204" y="1980"/>
                          </a:lnTo>
                          <a:lnTo>
                            <a:pt x="197" y="1986"/>
                          </a:lnTo>
                          <a:lnTo>
                            <a:pt x="188" y="1990"/>
                          </a:lnTo>
                          <a:lnTo>
                            <a:pt x="177" y="1992"/>
                          </a:lnTo>
                          <a:lnTo>
                            <a:pt x="166" y="1993"/>
                          </a:lnTo>
                          <a:lnTo>
                            <a:pt x="166" y="1993"/>
                          </a:lnTo>
                          <a:close/>
                          <a:moveTo>
                            <a:pt x="165" y="1843"/>
                          </a:moveTo>
                          <a:lnTo>
                            <a:pt x="86" y="1843"/>
                          </a:lnTo>
                          <a:lnTo>
                            <a:pt x="86" y="1771"/>
                          </a:lnTo>
                          <a:lnTo>
                            <a:pt x="163" y="1771"/>
                          </a:lnTo>
                          <a:lnTo>
                            <a:pt x="163" y="1771"/>
                          </a:lnTo>
                          <a:lnTo>
                            <a:pt x="173" y="1772"/>
                          </a:lnTo>
                          <a:lnTo>
                            <a:pt x="182" y="1773"/>
                          </a:lnTo>
                          <a:lnTo>
                            <a:pt x="190" y="1776"/>
                          </a:lnTo>
                          <a:lnTo>
                            <a:pt x="196" y="1780"/>
                          </a:lnTo>
                          <a:lnTo>
                            <a:pt x="201" y="1786"/>
                          </a:lnTo>
                          <a:lnTo>
                            <a:pt x="204" y="1792"/>
                          </a:lnTo>
                          <a:lnTo>
                            <a:pt x="205" y="1799"/>
                          </a:lnTo>
                          <a:lnTo>
                            <a:pt x="207" y="1807"/>
                          </a:lnTo>
                          <a:lnTo>
                            <a:pt x="207" y="1807"/>
                          </a:lnTo>
                          <a:lnTo>
                            <a:pt x="207" y="1814"/>
                          </a:lnTo>
                          <a:lnTo>
                            <a:pt x="205" y="1820"/>
                          </a:lnTo>
                          <a:lnTo>
                            <a:pt x="203" y="1826"/>
                          </a:lnTo>
                          <a:lnTo>
                            <a:pt x="199" y="1831"/>
                          </a:lnTo>
                          <a:lnTo>
                            <a:pt x="193" y="1835"/>
                          </a:lnTo>
                          <a:lnTo>
                            <a:pt x="186" y="1839"/>
                          </a:lnTo>
                          <a:lnTo>
                            <a:pt x="177" y="1842"/>
                          </a:lnTo>
                          <a:lnTo>
                            <a:pt x="165" y="1843"/>
                          </a:lnTo>
                          <a:lnTo>
                            <a:pt x="165" y="1843"/>
                          </a:lnTo>
                          <a:close/>
                          <a:moveTo>
                            <a:pt x="326" y="1944"/>
                          </a:moveTo>
                          <a:lnTo>
                            <a:pt x="326" y="1805"/>
                          </a:lnTo>
                          <a:lnTo>
                            <a:pt x="386" y="1805"/>
                          </a:lnTo>
                          <a:lnTo>
                            <a:pt x="386" y="1940"/>
                          </a:lnTo>
                          <a:lnTo>
                            <a:pt x="386" y="1940"/>
                          </a:lnTo>
                          <a:lnTo>
                            <a:pt x="386" y="1953"/>
                          </a:lnTo>
                          <a:lnTo>
                            <a:pt x="389" y="1967"/>
                          </a:lnTo>
                          <a:lnTo>
                            <a:pt x="392" y="1976"/>
                          </a:lnTo>
                          <a:lnTo>
                            <a:pt x="397" y="1985"/>
                          </a:lnTo>
                          <a:lnTo>
                            <a:pt x="403" y="1991"/>
                          </a:lnTo>
                          <a:lnTo>
                            <a:pt x="411" y="1996"/>
                          </a:lnTo>
                          <a:lnTo>
                            <a:pt x="420" y="1998"/>
                          </a:lnTo>
                          <a:lnTo>
                            <a:pt x="431" y="2000"/>
                          </a:lnTo>
                          <a:lnTo>
                            <a:pt x="431" y="2000"/>
                          </a:lnTo>
                          <a:lnTo>
                            <a:pt x="442" y="1998"/>
                          </a:lnTo>
                          <a:lnTo>
                            <a:pt x="451" y="1996"/>
                          </a:lnTo>
                          <a:lnTo>
                            <a:pt x="459" y="1991"/>
                          </a:lnTo>
                          <a:lnTo>
                            <a:pt x="465" y="1985"/>
                          </a:lnTo>
                          <a:lnTo>
                            <a:pt x="470" y="1976"/>
                          </a:lnTo>
                          <a:lnTo>
                            <a:pt x="474" y="1966"/>
                          </a:lnTo>
                          <a:lnTo>
                            <a:pt x="476" y="1953"/>
                          </a:lnTo>
                          <a:lnTo>
                            <a:pt x="476" y="1940"/>
                          </a:lnTo>
                          <a:lnTo>
                            <a:pt x="476" y="1805"/>
                          </a:lnTo>
                          <a:lnTo>
                            <a:pt x="537" y="1805"/>
                          </a:lnTo>
                          <a:lnTo>
                            <a:pt x="537" y="2049"/>
                          </a:lnTo>
                          <a:lnTo>
                            <a:pt x="476" y="2049"/>
                          </a:lnTo>
                          <a:lnTo>
                            <a:pt x="476" y="2030"/>
                          </a:lnTo>
                          <a:lnTo>
                            <a:pt x="476" y="2030"/>
                          </a:lnTo>
                          <a:lnTo>
                            <a:pt x="471" y="2036"/>
                          </a:lnTo>
                          <a:lnTo>
                            <a:pt x="464" y="2041"/>
                          </a:lnTo>
                          <a:lnTo>
                            <a:pt x="458" y="2046"/>
                          </a:lnTo>
                          <a:lnTo>
                            <a:pt x="451" y="2048"/>
                          </a:lnTo>
                          <a:lnTo>
                            <a:pt x="444" y="2052"/>
                          </a:lnTo>
                          <a:lnTo>
                            <a:pt x="435" y="2053"/>
                          </a:lnTo>
                          <a:lnTo>
                            <a:pt x="427" y="2054"/>
                          </a:lnTo>
                          <a:lnTo>
                            <a:pt x="418" y="2055"/>
                          </a:lnTo>
                          <a:lnTo>
                            <a:pt x="418" y="2055"/>
                          </a:lnTo>
                          <a:lnTo>
                            <a:pt x="403" y="2054"/>
                          </a:lnTo>
                          <a:lnTo>
                            <a:pt x="391" y="2052"/>
                          </a:lnTo>
                          <a:lnTo>
                            <a:pt x="380" y="2048"/>
                          </a:lnTo>
                          <a:lnTo>
                            <a:pt x="369" y="2043"/>
                          </a:lnTo>
                          <a:lnTo>
                            <a:pt x="361" y="2037"/>
                          </a:lnTo>
                          <a:lnTo>
                            <a:pt x="354" y="2031"/>
                          </a:lnTo>
                          <a:lnTo>
                            <a:pt x="348" y="2023"/>
                          </a:lnTo>
                          <a:lnTo>
                            <a:pt x="341" y="2014"/>
                          </a:lnTo>
                          <a:lnTo>
                            <a:pt x="338" y="2006"/>
                          </a:lnTo>
                          <a:lnTo>
                            <a:pt x="334" y="1997"/>
                          </a:lnTo>
                          <a:lnTo>
                            <a:pt x="329" y="1978"/>
                          </a:lnTo>
                          <a:lnTo>
                            <a:pt x="327" y="1959"/>
                          </a:lnTo>
                          <a:lnTo>
                            <a:pt x="326" y="1944"/>
                          </a:lnTo>
                          <a:lnTo>
                            <a:pt x="326" y="1944"/>
                          </a:lnTo>
                          <a:close/>
                          <a:moveTo>
                            <a:pt x="1249" y="2049"/>
                          </a:moveTo>
                          <a:lnTo>
                            <a:pt x="1188" y="2049"/>
                          </a:lnTo>
                          <a:lnTo>
                            <a:pt x="1188" y="1805"/>
                          </a:lnTo>
                          <a:lnTo>
                            <a:pt x="1249" y="1805"/>
                          </a:lnTo>
                          <a:lnTo>
                            <a:pt x="1249" y="1826"/>
                          </a:lnTo>
                          <a:lnTo>
                            <a:pt x="1249" y="1826"/>
                          </a:lnTo>
                          <a:lnTo>
                            <a:pt x="1255" y="1820"/>
                          </a:lnTo>
                          <a:lnTo>
                            <a:pt x="1261" y="1814"/>
                          </a:lnTo>
                          <a:lnTo>
                            <a:pt x="1269" y="1810"/>
                          </a:lnTo>
                          <a:lnTo>
                            <a:pt x="1276" y="1806"/>
                          </a:lnTo>
                          <a:lnTo>
                            <a:pt x="1284" y="1803"/>
                          </a:lnTo>
                          <a:lnTo>
                            <a:pt x="1292" y="1801"/>
                          </a:lnTo>
                          <a:lnTo>
                            <a:pt x="1301" y="1800"/>
                          </a:lnTo>
                          <a:lnTo>
                            <a:pt x="1310" y="1799"/>
                          </a:lnTo>
                          <a:lnTo>
                            <a:pt x="1310" y="1799"/>
                          </a:lnTo>
                          <a:lnTo>
                            <a:pt x="1321" y="1800"/>
                          </a:lnTo>
                          <a:lnTo>
                            <a:pt x="1331" y="1801"/>
                          </a:lnTo>
                          <a:lnTo>
                            <a:pt x="1340" y="1804"/>
                          </a:lnTo>
                          <a:lnTo>
                            <a:pt x="1349" y="1806"/>
                          </a:lnTo>
                          <a:lnTo>
                            <a:pt x="1357" y="1810"/>
                          </a:lnTo>
                          <a:lnTo>
                            <a:pt x="1365" y="1816"/>
                          </a:lnTo>
                          <a:lnTo>
                            <a:pt x="1371" y="1821"/>
                          </a:lnTo>
                          <a:lnTo>
                            <a:pt x="1377" y="1828"/>
                          </a:lnTo>
                          <a:lnTo>
                            <a:pt x="1383" y="1835"/>
                          </a:lnTo>
                          <a:lnTo>
                            <a:pt x="1386" y="1844"/>
                          </a:lnTo>
                          <a:lnTo>
                            <a:pt x="1391" y="1852"/>
                          </a:lnTo>
                          <a:lnTo>
                            <a:pt x="1394" y="1862"/>
                          </a:lnTo>
                          <a:lnTo>
                            <a:pt x="1396" y="1873"/>
                          </a:lnTo>
                          <a:lnTo>
                            <a:pt x="1399" y="1885"/>
                          </a:lnTo>
                          <a:lnTo>
                            <a:pt x="1400" y="1897"/>
                          </a:lnTo>
                          <a:lnTo>
                            <a:pt x="1400" y="1911"/>
                          </a:lnTo>
                          <a:lnTo>
                            <a:pt x="1400" y="2049"/>
                          </a:lnTo>
                          <a:lnTo>
                            <a:pt x="1339" y="2049"/>
                          </a:lnTo>
                          <a:lnTo>
                            <a:pt x="1339" y="1914"/>
                          </a:lnTo>
                          <a:lnTo>
                            <a:pt x="1339" y="1914"/>
                          </a:lnTo>
                          <a:lnTo>
                            <a:pt x="1339" y="1900"/>
                          </a:lnTo>
                          <a:lnTo>
                            <a:pt x="1337" y="1888"/>
                          </a:lnTo>
                          <a:lnTo>
                            <a:pt x="1333" y="1878"/>
                          </a:lnTo>
                          <a:lnTo>
                            <a:pt x="1328" y="1869"/>
                          </a:lnTo>
                          <a:lnTo>
                            <a:pt x="1322" y="1863"/>
                          </a:lnTo>
                          <a:lnTo>
                            <a:pt x="1315" y="1859"/>
                          </a:lnTo>
                          <a:lnTo>
                            <a:pt x="1306" y="1856"/>
                          </a:lnTo>
                          <a:lnTo>
                            <a:pt x="1295" y="1855"/>
                          </a:lnTo>
                          <a:lnTo>
                            <a:pt x="1295" y="1855"/>
                          </a:lnTo>
                          <a:lnTo>
                            <a:pt x="1284" y="1856"/>
                          </a:lnTo>
                          <a:lnTo>
                            <a:pt x="1275" y="1859"/>
                          </a:lnTo>
                          <a:lnTo>
                            <a:pt x="1267" y="1863"/>
                          </a:lnTo>
                          <a:lnTo>
                            <a:pt x="1261" y="1869"/>
                          </a:lnTo>
                          <a:lnTo>
                            <a:pt x="1255" y="1878"/>
                          </a:lnTo>
                          <a:lnTo>
                            <a:pt x="1252" y="1889"/>
                          </a:lnTo>
                          <a:lnTo>
                            <a:pt x="1249" y="1901"/>
                          </a:lnTo>
                          <a:lnTo>
                            <a:pt x="1249" y="1914"/>
                          </a:lnTo>
                          <a:lnTo>
                            <a:pt x="1249" y="2049"/>
                          </a:lnTo>
                          <a:close/>
                          <a:moveTo>
                            <a:pt x="653" y="1927"/>
                          </a:moveTo>
                          <a:lnTo>
                            <a:pt x="653" y="2049"/>
                          </a:lnTo>
                          <a:lnTo>
                            <a:pt x="592" y="2049"/>
                          </a:lnTo>
                          <a:lnTo>
                            <a:pt x="592" y="1805"/>
                          </a:lnTo>
                          <a:lnTo>
                            <a:pt x="653" y="1805"/>
                          </a:lnTo>
                          <a:lnTo>
                            <a:pt x="653" y="1927"/>
                          </a:lnTo>
                          <a:close/>
                          <a:moveTo>
                            <a:pt x="706" y="1733"/>
                          </a:moveTo>
                          <a:lnTo>
                            <a:pt x="767" y="1703"/>
                          </a:lnTo>
                          <a:lnTo>
                            <a:pt x="767" y="1924"/>
                          </a:lnTo>
                          <a:lnTo>
                            <a:pt x="767" y="2049"/>
                          </a:lnTo>
                          <a:lnTo>
                            <a:pt x="706" y="2049"/>
                          </a:lnTo>
                          <a:lnTo>
                            <a:pt x="706" y="1733"/>
                          </a:lnTo>
                          <a:close/>
                          <a:moveTo>
                            <a:pt x="959" y="1822"/>
                          </a:moveTo>
                          <a:lnTo>
                            <a:pt x="959" y="1822"/>
                          </a:lnTo>
                          <a:lnTo>
                            <a:pt x="954" y="1816"/>
                          </a:lnTo>
                          <a:lnTo>
                            <a:pt x="948" y="1812"/>
                          </a:lnTo>
                          <a:lnTo>
                            <a:pt x="941" y="1807"/>
                          </a:lnTo>
                          <a:lnTo>
                            <a:pt x="934" y="1805"/>
                          </a:lnTo>
                          <a:lnTo>
                            <a:pt x="927" y="1803"/>
                          </a:lnTo>
                          <a:lnTo>
                            <a:pt x="920" y="1800"/>
                          </a:lnTo>
                          <a:lnTo>
                            <a:pt x="905" y="1799"/>
                          </a:lnTo>
                          <a:lnTo>
                            <a:pt x="905" y="1799"/>
                          </a:lnTo>
                          <a:lnTo>
                            <a:pt x="894" y="1800"/>
                          </a:lnTo>
                          <a:lnTo>
                            <a:pt x="883" y="1801"/>
                          </a:lnTo>
                          <a:lnTo>
                            <a:pt x="874" y="1804"/>
                          </a:lnTo>
                          <a:lnTo>
                            <a:pt x="865" y="1807"/>
                          </a:lnTo>
                          <a:lnTo>
                            <a:pt x="857" y="1812"/>
                          </a:lnTo>
                          <a:lnTo>
                            <a:pt x="848" y="1818"/>
                          </a:lnTo>
                          <a:lnTo>
                            <a:pt x="841" y="1826"/>
                          </a:lnTo>
                          <a:lnTo>
                            <a:pt x="835" y="1833"/>
                          </a:lnTo>
                          <a:lnTo>
                            <a:pt x="829" y="1842"/>
                          </a:lnTo>
                          <a:lnTo>
                            <a:pt x="824" y="1851"/>
                          </a:lnTo>
                          <a:lnTo>
                            <a:pt x="819" y="1861"/>
                          </a:lnTo>
                          <a:lnTo>
                            <a:pt x="815" y="1872"/>
                          </a:lnTo>
                          <a:lnTo>
                            <a:pt x="813" y="1884"/>
                          </a:lnTo>
                          <a:lnTo>
                            <a:pt x="811" y="1897"/>
                          </a:lnTo>
                          <a:lnTo>
                            <a:pt x="809" y="1911"/>
                          </a:lnTo>
                          <a:lnTo>
                            <a:pt x="809" y="1924"/>
                          </a:lnTo>
                          <a:lnTo>
                            <a:pt x="809" y="1924"/>
                          </a:lnTo>
                          <a:lnTo>
                            <a:pt x="809" y="1940"/>
                          </a:lnTo>
                          <a:lnTo>
                            <a:pt x="811" y="1953"/>
                          </a:lnTo>
                          <a:lnTo>
                            <a:pt x="813" y="1967"/>
                          </a:lnTo>
                          <a:lnTo>
                            <a:pt x="815" y="1979"/>
                          </a:lnTo>
                          <a:lnTo>
                            <a:pt x="819" y="1991"/>
                          </a:lnTo>
                          <a:lnTo>
                            <a:pt x="823" y="2002"/>
                          </a:lnTo>
                          <a:lnTo>
                            <a:pt x="828" y="2012"/>
                          </a:lnTo>
                          <a:lnTo>
                            <a:pt x="834" y="2020"/>
                          </a:lnTo>
                          <a:lnTo>
                            <a:pt x="841" y="2029"/>
                          </a:lnTo>
                          <a:lnTo>
                            <a:pt x="847" y="2035"/>
                          </a:lnTo>
                          <a:lnTo>
                            <a:pt x="855" y="2041"/>
                          </a:lnTo>
                          <a:lnTo>
                            <a:pt x="864" y="2046"/>
                          </a:lnTo>
                          <a:lnTo>
                            <a:pt x="872" y="2049"/>
                          </a:lnTo>
                          <a:lnTo>
                            <a:pt x="882" y="2053"/>
                          </a:lnTo>
                          <a:lnTo>
                            <a:pt x="893" y="2054"/>
                          </a:lnTo>
                          <a:lnTo>
                            <a:pt x="904" y="2055"/>
                          </a:lnTo>
                          <a:lnTo>
                            <a:pt x="904" y="2055"/>
                          </a:lnTo>
                          <a:lnTo>
                            <a:pt x="911" y="2054"/>
                          </a:lnTo>
                          <a:lnTo>
                            <a:pt x="919" y="2053"/>
                          </a:lnTo>
                          <a:lnTo>
                            <a:pt x="926" y="2052"/>
                          </a:lnTo>
                          <a:lnTo>
                            <a:pt x="933" y="2049"/>
                          </a:lnTo>
                          <a:lnTo>
                            <a:pt x="939" y="2046"/>
                          </a:lnTo>
                          <a:lnTo>
                            <a:pt x="947" y="2042"/>
                          </a:lnTo>
                          <a:lnTo>
                            <a:pt x="953" y="2037"/>
                          </a:lnTo>
                          <a:lnTo>
                            <a:pt x="959" y="2031"/>
                          </a:lnTo>
                          <a:lnTo>
                            <a:pt x="959" y="2049"/>
                          </a:lnTo>
                          <a:lnTo>
                            <a:pt x="1020" y="2049"/>
                          </a:lnTo>
                          <a:lnTo>
                            <a:pt x="1020" y="1703"/>
                          </a:lnTo>
                          <a:lnTo>
                            <a:pt x="959" y="1733"/>
                          </a:lnTo>
                          <a:lnTo>
                            <a:pt x="959" y="1822"/>
                          </a:lnTo>
                          <a:close/>
                          <a:moveTo>
                            <a:pt x="916" y="2000"/>
                          </a:moveTo>
                          <a:lnTo>
                            <a:pt x="916" y="2000"/>
                          </a:lnTo>
                          <a:lnTo>
                            <a:pt x="909" y="1998"/>
                          </a:lnTo>
                          <a:lnTo>
                            <a:pt x="900" y="1996"/>
                          </a:lnTo>
                          <a:lnTo>
                            <a:pt x="893" y="1992"/>
                          </a:lnTo>
                          <a:lnTo>
                            <a:pt x="886" y="1985"/>
                          </a:lnTo>
                          <a:lnTo>
                            <a:pt x="880" y="1975"/>
                          </a:lnTo>
                          <a:lnTo>
                            <a:pt x="875" y="1962"/>
                          </a:lnTo>
                          <a:lnTo>
                            <a:pt x="871" y="1945"/>
                          </a:lnTo>
                          <a:lnTo>
                            <a:pt x="870" y="1923"/>
                          </a:lnTo>
                          <a:lnTo>
                            <a:pt x="870" y="1923"/>
                          </a:lnTo>
                          <a:lnTo>
                            <a:pt x="871" y="1904"/>
                          </a:lnTo>
                          <a:lnTo>
                            <a:pt x="875" y="1889"/>
                          </a:lnTo>
                          <a:lnTo>
                            <a:pt x="880" y="1877"/>
                          </a:lnTo>
                          <a:lnTo>
                            <a:pt x="886" y="1868"/>
                          </a:lnTo>
                          <a:lnTo>
                            <a:pt x="892" y="1861"/>
                          </a:lnTo>
                          <a:lnTo>
                            <a:pt x="900" y="1857"/>
                          </a:lnTo>
                          <a:lnTo>
                            <a:pt x="908" y="1855"/>
                          </a:lnTo>
                          <a:lnTo>
                            <a:pt x="916" y="1855"/>
                          </a:lnTo>
                          <a:lnTo>
                            <a:pt x="916" y="1855"/>
                          </a:lnTo>
                          <a:lnTo>
                            <a:pt x="924" y="1855"/>
                          </a:lnTo>
                          <a:lnTo>
                            <a:pt x="931" y="1857"/>
                          </a:lnTo>
                          <a:lnTo>
                            <a:pt x="938" y="1860"/>
                          </a:lnTo>
                          <a:lnTo>
                            <a:pt x="943" y="1863"/>
                          </a:lnTo>
                          <a:lnTo>
                            <a:pt x="948" y="1867"/>
                          </a:lnTo>
                          <a:lnTo>
                            <a:pt x="953" y="1871"/>
                          </a:lnTo>
                          <a:lnTo>
                            <a:pt x="959" y="1879"/>
                          </a:lnTo>
                          <a:lnTo>
                            <a:pt x="959" y="1975"/>
                          </a:lnTo>
                          <a:lnTo>
                            <a:pt x="959" y="1975"/>
                          </a:lnTo>
                          <a:lnTo>
                            <a:pt x="951" y="1984"/>
                          </a:lnTo>
                          <a:lnTo>
                            <a:pt x="943" y="1991"/>
                          </a:lnTo>
                          <a:lnTo>
                            <a:pt x="938" y="1995"/>
                          </a:lnTo>
                          <a:lnTo>
                            <a:pt x="931" y="1997"/>
                          </a:lnTo>
                          <a:lnTo>
                            <a:pt x="925" y="1998"/>
                          </a:lnTo>
                          <a:lnTo>
                            <a:pt x="916" y="2000"/>
                          </a:lnTo>
                          <a:lnTo>
                            <a:pt x="916" y="2000"/>
                          </a:lnTo>
                          <a:close/>
                          <a:moveTo>
                            <a:pt x="2278" y="1799"/>
                          </a:moveTo>
                          <a:lnTo>
                            <a:pt x="2278" y="1799"/>
                          </a:lnTo>
                          <a:lnTo>
                            <a:pt x="2272" y="1800"/>
                          </a:lnTo>
                          <a:lnTo>
                            <a:pt x="2265" y="1801"/>
                          </a:lnTo>
                          <a:lnTo>
                            <a:pt x="2250" y="1805"/>
                          </a:lnTo>
                          <a:lnTo>
                            <a:pt x="2237" y="1812"/>
                          </a:lnTo>
                          <a:lnTo>
                            <a:pt x="2225" y="1822"/>
                          </a:lnTo>
                          <a:lnTo>
                            <a:pt x="2225" y="1709"/>
                          </a:lnTo>
                          <a:lnTo>
                            <a:pt x="2164" y="1739"/>
                          </a:lnTo>
                          <a:lnTo>
                            <a:pt x="2164" y="2049"/>
                          </a:lnTo>
                          <a:lnTo>
                            <a:pt x="2225" y="2049"/>
                          </a:lnTo>
                          <a:lnTo>
                            <a:pt x="2225" y="2031"/>
                          </a:lnTo>
                          <a:lnTo>
                            <a:pt x="2225" y="2031"/>
                          </a:lnTo>
                          <a:lnTo>
                            <a:pt x="2230" y="2037"/>
                          </a:lnTo>
                          <a:lnTo>
                            <a:pt x="2237" y="2042"/>
                          </a:lnTo>
                          <a:lnTo>
                            <a:pt x="2243" y="2046"/>
                          </a:lnTo>
                          <a:lnTo>
                            <a:pt x="2250" y="2049"/>
                          </a:lnTo>
                          <a:lnTo>
                            <a:pt x="2257" y="2052"/>
                          </a:lnTo>
                          <a:lnTo>
                            <a:pt x="2265" y="2053"/>
                          </a:lnTo>
                          <a:lnTo>
                            <a:pt x="2272" y="2054"/>
                          </a:lnTo>
                          <a:lnTo>
                            <a:pt x="2280" y="2055"/>
                          </a:lnTo>
                          <a:lnTo>
                            <a:pt x="2280" y="2055"/>
                          </a:lnTo>
                          <a:lnTo>
                            <a:pt x="2291" y="2054"/>
                          </a:lnTo>
                          <a:lnTo>
                            <a:pt x="2302" y="2053"/>
                          </a:lnTo>
                          <a:lnTo>
                            <a:pt x="2311" y="2051"/>
                          </a:lnTo>
                          <a:lnTo>
                            <a:pt x="2321" y="2046"/>
                          </a:lnTo>
                          <a:lnTo>
                            <a:pt x="2329" y="2041"/>
                          </a:lnTo>
                          <a:lnTo>
                            <a:pt x="2337" y="2036"/>
                          </a:lnTo>
                          <a:lnTo>
                            <a:pt x="2344" y="2029"/>
                          </a:lnTo>
                          <a:lnTo>
                            <a:pt x="2350" y="2021"/>
                          </a:lnTo>
                          <a:lnTo>
                            <a:pt x="2356" y="2012"/>
                          </a:lnTo>
                          <a:lnTo>
                            <a:pt x="2361" y="2002"/>
                          </a:lnTo>
                          <a:lnTo>
                            <a:pt x="2365" y="1991"/>
                          </a:lnTo>
                          <a:lnTo>
                            <a:pt x="2368" y="1980"/>
                          </a:lnTo>
                          <a:lnTo>
                            <a:pt x="2372" y="1968"/>
                          </a:lnTo>
                          <a:lnTo>
                            <a:pt x="2373" y="1955"/>
                          </a:lnTo>
                          <a:lnTo>
                            <a:pt x="2374" y="1940"/>
                          </a:lnTo>
                          <a:lnTo>
                            <a:pt x="2376" y="1924"/>
                          </a:lnTo>
                          <a:lnTo>
                            <a:pt x="2376" y="1924"/>
                          </a:lnTo>
                          <a:lnTo>
                            <a:pt x="2374" y="1911"/>
                          </a:lnTo>
                          <a:lnTo>
                            <a:pt x="2373" y="1897"/>
                          </a:lnTo>
                          <a:lnTo>
                            <a:pt x="2371" y="1884"/>
                          </a:lnTo>
                          <a:lnTo>
                            <a:pt x="2368" y="1872"/>
                          </a:lnTo>
                          <a:lnTo>
                            <a:pt x="2365" y="1861"/>
                          </a:lnTo>
                          <a:lnTo>
                            <a:pt x="2360" y="1851"/>
                          </a:lnTo>
                          <a:lnTo>
                            <a:pt x="2355" y="1842"/>
                          </a:lnTo>
                          <a:lnTo>
                            <a:pt x="2349" y="1833"/>
                          </a:lnTo>
                          <a:lnTo>
                            <a:pt x="2343" y="1826"/>
                          </a:lnTo>
                          <a:lnTo>
                            <a:pt x="2336" y="1818"/>
                          </a:lnTo>
                          <a:lnTo>
                            <a:pt x="2327" y="1812"/>
                          </a:lnTo>
                          <a:lnTo>
                            <a:pt x="2319" y="1807"/>
                          </a:lnTo>
                          <a:lnTo>
                            <a:pt x="2310" y="1804"/>
                          </a:lnTo>
                          <a:lnTo>
                            <a:pt x="2300" y="1801"/>
                          </a:lnTo>
                          <a:lnTo>
                            <a:pt x="2289" y="1800"/>
                          </a:lnTo>
                          <a:lnTo>
                            <a:pt x="2278" y="1799"/>
                          </a:lnTo>
                          <a:lnTo>
                            <a:pt x="2278" y="1799"/>
                          </a:lnTo>
                          <a:close/>
                          <a:moveTo>
                            <a:pt x="2267" y="1855"/>
                          </a:moveTo>
                          <a:lnTo>
                            <a:pt x="2267" y="1855"/>
                          </a:lnTo>
                          <a:lnTo>
                            <a:pt x="2276" y="1856"/>
                          </a:lnTo>
                          <a:lnTo>
                            <a:pt x="2284" y="1859"/>
                          </a:lnTo>
                          <a:lnTo>
                            <a:pt x="2292" y="1863"/>
                          </a:lnTo>
                          <a:lnTo>
                            <a:pt x="2299" y="1871"/>
                          </a:lnTo>
                          <a:lnTo>
                            <a:pt x="2305" y="1879"/>
                          </a:lnTo>
                          <a:lnTo>
                            <a:pt x="2309" y="1891"/>
                          </a:lnTo>
                          <a:lnTo>
                            <a:pt x="2312" y="1906"/>
                          </a:lnTo>
                          <a:lnTo>
                            <a:pt x="2314" y="1923"/>
                          </a:lnTo>
                          <a:lnTo>
                            <a:pt x="2314" y="1923"/>
                          </a:lnTo>
                          <a:lnTo>
                            <a:pt x="2312" y="1941"/>
                          </a:lnTo>
                          <a:lnTo>
                            <a:pt x="2310" y="1957"/>
                          </a:lnTo>
                          <a:lnTo>
                            <a:pt x="2308" y="1969"/>
                          </a:lnTo>
                          <a:lnTo>
                            <a:pt x="2303" y="1980"/>
                          </a:lnTo>
                          <a:lnTo>
                            <a:pt x="2295" y="1989"/>
                          </a:lnTo>
                          <a:lnTo>
                            <a:pt x="2288" y="1995"/>
                          </a:lnTo>
                          <a:lnTo>
                            <a:pt x="2280" y="1998"/>
                          </a:lnTo>
                          <a:lnTo>
                            <a:pt x="2269" y="2000"/>
                          </a:lnTo>
                          <a:lnTo>
                            <a:pt x="2269" y="2000"/>
                          </a:lnTo>
                          <a:lnTo>
                            <a:pt x="2260" y="1998"/>
                          </a:lnTo>
                          <a:lnTo>
                            <a:pt x="2253" y="1997"/>
                          </a:lnTo>
                          <a:lnTo>
                            <a:pt x="2247" y="1993"/>
                          </a:lnTo>
                          <a:lnTo>
                            <a:pt x="2241" y="1991"/>
                          </a:lnTo>
                          <a:lnTo>
                            <a:pt x="2231" y="1983"/>
                          </a:lnTo>
                          <a:lnTo>
                            <a:pt x="2225" y="1976"/>
                          </a:lnTo>
                          <a:lnTo>
                            <a:pt x="2225" y="1879"/>
                          </a:lnTo>
                          <a:lnTo>
                            <a:pt x="2225" y="1879"/>
                          </a:lnTo>
                          <a:lnTo>
                            <a:pt x="2229" y="1874"/>
                          </a:lnTo>
                          <a:lnTo>
                            <a:pt x="2233" y="1869"/>
                          </a:lnTo>
                          <a:lnTo>
                            <a:pt x="2238" y="1865"/>
                          </a:lnTo>
                          <a:lnTo>
                            <a:pt x="2243" y="1861"/>
                          </a:lnTo>
                          <a:lnTo>
                            <a:pt x="2249" y="1859"/>
                          </a:lnTo>
                          <a:lnTo>
                            <a:pt x="2255" y="1856"/>
                          </a:lnTo>
                          <a:lnTo>
                            <a:pt x="2261" y="1855"/>
                          </a:lnTo>
                          <a:lnTo>
                            <a:pt x="2267" y="1855"/>
                          </a:lnTo>
                          <a:lnTo>
                            <a:pt x="2267" y="1855"/>
                          </a:lnTo>
                          <a:close/>
                          <a:moveTo>
                            <a:pt x="1591" y="1822"/>
                          </a:moveTo>
                          <a:lnTo>
                            <a:pt x="1591" y="1822"/>
                          </a:lnTo>
                          <a:lnTo>
                            <a:pt x="1586" y="1817"/>
                          </a:lnTo>
                          <a:lnTo>
                            <a:pt x="1580" y="1812"/>
                          </a:lnTo>
                          <a:lnTo>
                            <a:pt x="1572" y="1809"/>
                          </a:lnTo>
                          <a:lnTo>
                            <a:pt x="1566" y="1805"/>
                          </a:lnTo>
                          <a:lnTo>
                            <a:pt x="1559" y="1803"/>
                          </a:lnTo>
                          <a:lnTo>
                            <a:pt x="1552" y="1800"/>
                          </a:lnTo>
                          <a:lnTo>
                            <a:pt x="1544" y="1800"/>
                          </a:lnTo>
                          <a:lnTo>
                            <a:pt x="1537" y="1799"/>
                          </a:lnTo>
                          <a:lnTo>
                            <a:pt x="1537" y="1799"/>
                          </a:lnTo>
                          <a:lnTo>
                            <a:pt x="1526" y="1800"/>
                          </a:lnTo>
                          <a:lnTo>
                            <a:pt x="1515" y="1801"/>
                          </a:lnTo>
                          <a:lnTo>
                            <a:pt x="1506" y="1804"/>
                          </a:lnTo>
                          <a:lnTo>
                            <a:pt x="1497" y="1807"/>
                          </a:lnTo>
                          <a:lnTo>
                            <a:pt x="1489" y="1812"/>
                          </a:lnTo>
                          <a:lnTo>
                            <a:pt x="1480" y="1818"/>
                          </a:lnTo>
                          <a:lnTo>
                            <a:pt x="1473" y="1826"/>
                          </a:lnTo>
                          <a:lnTo>
                            <a:pt x="1467" y="1833"/>
                          </a:lnTo>
                          <a:lnTo>
                            <a:pt x="1461" y="1842"/>
                          </a:lnTo>
                          <a:lnTo>
                            <a:pt x="1456" y="1851"/>
                          </a:lnTo>
                          <a:lnTo>
                            <a:pt x="1451" y="1861"/>
                          </a:lnTo>
                          <a:lnTo>
                            <a:pt x="1447" y="1872"/>
                          </a:lnTo>
                          <a:lnTo>
                            <a:pt x="1445" y="1884"/>
                          </a:lnTo>
                          <a:lnTo>
                            <a:pt x="1442" y="1897"/>
                          </a:lnTo>
                          <a:lnTo>
                            <a:pt x="1441" y="1911"/>
                          </a:lnTo>
                          <a:lnTo>
                            <a:pt x="1441" y="1924"/>
                          </a:lnTo>
                          <a:lnTo>
                            <a:pt x="1441" y="1924"/>
                          </a:lnTo>
                          <a:lnTo>
                            <a:pt x="1441" y="1940"/>
                          </a:lnTo>
                          <a:lnTo>
                            <a:pt x="1442" y="1953"/>
                          </a:lnTo>
                          <a:lnTo>
                            <a:pt x="1445" y="1967"/>
                          </a:lnTo>
                          <a:lnTo>
                            <a:pt x="1447" y="1979"/>
                          </a:lnTo>
                          <a:lnTo>
                            <a:pt x="1451" y="1991"/>
                          </a:lnTo>
                          <a:lnTo>
                            <a:pt x="1455" y="2002"/>
                          </a:lnTo>
                          <a:lnTo>
                            <a:pt x="1461" y="2012"/>
                          </a:lnTo>
                          <a:lnTo>
                            <a:pt x="1465" y="2020"/>
                          </a:lnTo>
                          <a:lnTo>
                            <a:pt x="1473" y="2029"/>
                          </a:lnTo>
                          <a:lnTo>
                            <a:pt x="1479" y="2035"/>
                          </a:lnTo>
                          <a:lnTo>
                            <a:pt x="1487" y="2041"/>
                          </a:lnTo>
                          <a:lnTo>
                            <a:pt x="1496" y="2046"/>
                          </a:lnTo>
                          <a:lnTo>
                            <a:pt x="1504" y="2049"/>
                          </a:lnTo>
                          <a:lnTo>
                            <a:pt x="1514" y="2053"/>
                          </a:lnTo>
                          <a:lnTo>
                            <a:pt x="1525" y="2054"/>
                          </a:lnTo>
                          <a:lnTo>
                            <a:pt x="1536" y="2054"/>
                          </a:lnTo>
                          <a:lnTo>
                            <a:pt x="1536" y="2054"/>
                          </a:lnTo>
                          <a:lnTo>
                            <a:pt x="1543" y="2054"/>
                          </a:lnTo>
                          <a:lnTo>
                            <a:pt x="1551" y="2053"/>
                          </a:lnTo>
                          <a:lnTo>
                            <a:pt x="1558" y="2052"/>
                          </a:lnTo>
                          <a:lnTo>
                            <a:pt x="1565" y="2049"/>
                          </a:lnTo>
                          <a:lnTo>
                            <a:pt x="1572" y="2046"/>
                          </a:lnTo>
                          <a:lnTo>
                            <a:pt x="1578" y="2041"/>
                          </a:lnTo>
                          <a:lnTo>
                            <a:pt x="1585" y="2037"/>
                          </a:lnTo>
                          <a:lnTo>
                            <a:pt x="1591" y="2031"/>
                          </a:lnTo>
                          <a:lnTo>
                            <a:pt x="1591" y="2037"/>
                          </a:lnTo>
                          <a:lnTo>
                            <a:pt x="1591" y="2037"/>
                          </a:lnTo>
                          <a:lnTo>
                            <a:pt x="1591" y="2047"/>
                          </a:lnTo>
                          <a:lnTo>
                            <a:pt x="1589" y="2058"/>
                          </a:lnTo>
                          <a:lnTo>
                            <a:pt x="1587" y="2069"/>
                          </a:lnTo>
                          <a:lnTo>
                            <a:pt x="1585" y="2074"/>
                          </a:lnTo>
                          <a:lnTo>
                            <a:pt x="1581" y="2079"/>
                          </a:lnTo>
                          <a:lnTo>
                            <a:pt x="1577" y="2083"/>
                          </a:lnTo>
                          <a:lnTo>
                            <a:pt x="1572" y="2088"/>
                          </a:lnTo>
                          <a:lnTo>
                            <a:pt x="1565" y="2092"/>
                          </a:lnTo>
                          <a:lnTo>
                            <a:pt x="1558" y="2094"/>
                          </a:lnTo>
                          <a:lnTo>
                            <a:pt x="1549" y="2098"/>
                          </a:lnTo>
                          <a:lnTo>
                            <a:pt x="1538" y="2099"/>
                          </a:lnTo>
                          <a:lnTo>
                            <a:pt x="1526" y="2102"/>
                          </a:lnTo>
                          <a:lnTo>
                            <a:pt x="1513" y="2102"/>
                          </a:lnTo>
                          <a:lnTo>
                            <a:pt x="1510" y="2102"/>
                          </a:lnTo>
                          <a:lnTo>
                            <a:pt x="1531" y="2149"/>
                          </a:lnTo>
                          <a:lnTo>
                            <a:pt x="1532" y="2149"/>
                          </a:lnTo>
                          <a:lnTo>
                            <a:pt x="1532" y="2149"/>
                          </a:lnTo>
                          <a:lnTo>
                            <a:pt x="1547" y="2149"/>
                          </a:lnTo>
                          <a:lnTo>
                            <a:pt x="1560" y="2147"/>
                          </a:lnTo>
                          <a:lnTo>
                            <a:pt x="1574" y="2144"/>
                          </a:lnTo>
                          <a:lnTo>
                            <a:pt x="1585" y="2141"/>
                          </a:lnTo>
                          <a:lnTo>
                            <a:pt x="1595" y="2137"/>
                          </a:lnTo>
                          <a:lnTo>
                            <a:pt x="1605" y="2132"/>
                          </a:lnTo>
                          <a:lnTo>
                            <a:pt x="1614" y="2125"/>
                          </a:lnTo>
                          <a:lnTo>
                            <a:pt x="1622" y="2119"/>
                          </a:lnTo>
                          <a:lnTo>
                            <a:pt x="1630" y="2110"/>
                          </a:lnTo>
                          <a:lnTo>
                            <a:pt x="1634" y="2100"/>
                          </a:lnTo>
                          <a:lnTo>
                            <a:pt x="1640" y="2091"/>
                          </a:lnTo>
                          <a:lnTo>
                            <a:pt x="1644" y="2080"/>
                          </a:lnTo>
                          <a:lnTo>
                            <a:pt x="1648" y="2068"/>
                          </a:lnTo>
                          <a:lnTo>
                            <a:pt x="1650" y="2055"/>
                          </a:lnTo>
                          <a:lnTo>
                            <a:pt x="1651" y="2042"/>
                          </a:lnTo>
                          <a:lnTo>
                            <a:pt x="1651" y="2026"/>
                          </a:lnTo>
                          <a:lnTo>
                            <a:pt x="1651" y="1805"/>
                          </a:lnTo>
                          <a:lnTo>
                            <a:pt x="1591" y="1805"/>
                          </a:lnTo>
                          <a:lnTo>
                            <a:pt x="1591" y="1822"/>
                          </a:lnTo>
                          <a:close/>
                          <a:moveTo>
                            <a:pt x="1591" y="1879"/>
                          </a:moveTo>
                          <a:lnTo>
                            <a:pt x="1591" y="1975"/>
                          </a:lnTo>
                          <a:lnTo>
                            <a:pt x="1591" y="1975"/>
                          </a:lnTo>
                          <a:lnTo>
                            <a:pt x="1583" y="1984"/>
                          </a:lnTo>
                          <a:lnTo>
                            <a:pt x="1574" y="1992"/>
                          </a:lnTo>
                          <a:lnTo>
                            <a:pt x="1569" y="1995"/>
                          </a:lnTo>
                          <a:lnTo>
                            <a:pt x="1563" y="1997"/>
                          </a:lnTo>
                          <a:lnTo>
                            <a:pt x="1555" y="1998"/>
                          </a:lnTo>
                          <a:lnTo>
                            <a:pt x="1548" y="2000"/>
                          </a:lnTo>
                          <a:lnTo>
                            <a:pt x="1548" y="2000"/>
                          </a:lnTo>
                          <a:lnTo>
                            <a:pt x="1540" y="1998"/>
                          </a:lnTo>
                          <a:lnTo>
                            <a:pt x="1532" y="1996"/>
                          </a:lnTo>
                          <a:lnTo>
                            <a:pt x="1524" y="1991"/>
                          </a:lnTo>
                          <a:lnTo>
                            <a:pt x="1518" y="1985"/>
                          </a:lnTo>
                          <a:lnTo>
                            <a:pt x="1512" y="1975"/>
                          </a:lnTo>
                          <a:lnTo>
                            <a:pt x="1507" y="1962"/>
                          </a:lnTo>
                          <a:lnTo>
                            <a:pt x="1503" y="1945"/>
                          </a:lnTo>
                          <a:lnTo>
                            <a:pt x="1502" y="1923"/>
                          </a:lnTo>
                          <a:lnTo>
                            <a:pt x="1502" y="1923"/>
                          </a:lnTo>
                          <a:lnTo>
                            <a:pt x="1503" y="1904"/>
                          </a:lnTo>
                          <a:lnTo>
                            <a:pt x="1507" y="1889"/>
                          </a:lnTo>
                          <a:lnTo>
                            <a:pt x="1512" y="1877"/>
                          </a:lnTo>
                          <a:lnTo>
                            <a:pt x="1518" y="1868"/>
                          </a:lnTo>
                          <a:lnTo>
                            <a:pt x="1524" y="1861"/>
                          </a:lnTo>
                          <a:lnTo>
                            <a:pt x="1532" y="1857"/>
                          </a:lnTo>
                          <a:lnTo>
                            <a:pt x="1540" y="1855"/>
                          </a:lnTo>
                          <a:lnTo>
                            <a:pt x="1548" y="1855"/>
                          </a:lnTo>
                          <a:lnTo>
                            <a:pt x="1548" y="1855"/>
                          </a:lnTo>
                          <a:lnTo>
                            <a:pt x="1555" y="1855"/>
                          </a:lnTo>
                          <a:lnTo>
                            <a:pt x="1563" y="1857"/>
                          </a:lnTo>
                          <a:lnTo>
                            <a:pt x="1570" y="1860"/>
                          </a:lnTo>
                          <a:lnTo>
                            <a:pt x="1575" y="1862"/>
                          </a:lnTo>
                          <a:lnTo>
                            <a:pt x="1580" y="1867"/>
                          </a:lnTo>
                          <a:lnTo>
                            <a:pt x="1585" y="1871"/>
                          </a:lnTo>
                          <a:lnTo>
                            <a:pt x="1591" y="1879"/>
                          </a:lnTo>
                          <a:lnTo>
                            <a:pt x="1591" y="1879"/>
                          </a:lnTo>
                          <a:close/>
                          <a:moveTo>
                            <a:pt x="1840" y="1865"/>
                          </a:moveTo>
                          <a:lnTo>
                            <a:pt x="1840" y="1865"/>
                          </a:lnTo>
                          <a:lnTo>
                            <a:pt x="1854" y="1857"/>
                          </a:lnTo>
                          <a:lnTo>
                            <a:pt x="1869" y="1852"/>
                          </a:lnTo>
                          <a:lnTo>
                            <a:pt x="1885" y="1849"/>
                          </a:lnTo>
                          <a:lnTo>
                            <a:pt x="1902" y="1848"/>
                          </a:lnTo>
                          <a:lnTo>
                            <a:pt x="1902" y="1848"/>
                          </a:lnTo>
                          <a:lnTo>
                            <a:pt x="1913" y="1849"/>
                          </a:lnTo>
                          <a:lnTo>
                            <a:pt x="1921" y="1850"/>
                          </a:lnTo>
                          <a:lnTo>
                            <a:pt x="1928" y="1852"/>
                          </a:lnTo>
                          <a:lnTo>
                            <a:pt x="1935" y="1857"/>
                          </a:lnTo>
                          <a:lnTo>
                            <a:pt x="1939" y="1862"/>
                          </a:lnTo>
                          <a:lnTo>
                            <a:pt x="1943" y="1868"/>
                          </a:lnTo>
                          <a:lnTo>
                            <a:pt x="1945" y="1874"/>
                          </a:lnTo>
                          <a:lnTo>
                            <a:pt x="1945" y="1883"/>
                          </a:lnTo>
                          <a:lnTo>
                            <a:pt x="1945" y="1900"/>
                          </a:lnTo>
                          <a:lnTo>
                            <a:pt x="1945" y="1900"/>
                          </a:lnTo>
                          <a:lnTo>
                            <a:pt x="1935" y="1895"/>
                          </a:lnTo>
                          <a:lnTo>
                            <a:pt x="1921" y="1891"/>
                          </a:lnTo>
                          <a:lnTo>
                            <a:pt x="1908" y="1889"/>
                          </a:lnTo>
                          <a:lnTo>
                            <a:pt x="1893" y="1888"/>
                          </a:lnTo>
                          <a:lnTo>
                            <a:pt x="1893" y="1888"/>
                          </a:lnTo>
                          <a:lnTo>
                            <a:pt x="1876" y="1889"/>
                          </a:lnTo>
                          <a:lnTo>
                            <a:pt x="1859" y="1893"/>
                          </a:lnTo>
                          <a:lnTo>
                            <a:pt x="1843" y="1897"/>
                          </a:lnTo>
                          <a:lnTo>
                            <a:pt x="1835" y="1901"/>
                          </a:lnTo>
                          <a:lnTo>
                            <a:pt x="1828" y="1906"/>
                          </a:lnTo>
                          <a:lnTo>
                            <a:pt x="1822" y="1911"/>
                          </a:lnTo>
                          <a:lnTo>
                            <a:pt x="1815" y="1917"/>
                          </a:lnTo>
                          <a:lnTo>
                            <a:pt x="1809" y="1923"/>
                          </a:lnTo>
                          <a:lnTo>
                            <a:pt x="1805" y="1930"/>
                          </a:lnTo>
                          <a:lnTo>
                            <a:pt x="1801" y="1939"/>
                          </a:lnTo>
                          <a:lnTo>
                            <a:pt x="1798" y="1948"/>
                          </a:lnTo>
                          <a:lnTo>
                            <a:pt x="1797" y="1958"/>
                          </a:lnTo>
                          <a:lnTo>
                            <a:pt x="1796" y="1968"/>
                          </a:lnTo>
                          <a:lnTo>
                            <a:pt x="1796" y="1968"/>
                          </a:lnTo>
                          <a:lnTo>
                            <a:pt x="1797" y="1980"/>
                          </a:lnTo>
                          <a:lnTo>
                            <a:pt x="1798" y="1991"/>
                          </a:lnTo>
                          <a:lnTo>
                            <a:pt x="1801" y="2000"/>
                          </a:lnTo>
                          <a:lnTo>
                            <a:pt x="1805" y="2009"/>
                          </a:lnTo>
                          <a:lnTo>
                            <a:pt x="1808" y="2017"/>
                          </a:lnTo>
                          <a:lnTo>
                            <a:pt x="1814" y="2024"/>
                          </a:lnTo>
                          <a:lnTo>
                            <a:pt x="1819" y="2030"/>
                          </a:lnTo>
                          <a:lnTo>
                            <a:pt x="1826" y="2036"/>
                          </a:lnTo>
                          <a:lnTo>
                            <a:pt x="1832" y="2041"/>
                          </a:lnTo>
                          <a:lnTo>
                            <a:pt x="1840" y="2045"/>
                          </a:lnTo>
                          <a:lnTo>
                            <a:pt x="1856" y="2051"/>
                          </a:lnTo>
                          <a:lnTo>
                            <a:pt x="1871" y="2054"/>
                          </a:lnTo>
                          <a:lnTo>
                            <a:pt x="1887" y="2055"/>
                          </a:lnTo>
                          <a:lnTo>
                            <a:pt x="1887" y="2055"/>
                          </a:lnTo>
                          <a:lnTo>
                            <a:pt x="1901" y="2053"/>
                          </a:lnTo>
                          <a:lnTo>
                            <a:pt x="1909" y="2052"/>
                          </a:lnTo>
                          <a:lnTo>
                            <a:pt x="1916" y="2049"/>
                          </a:lnTo>
                          <a:lnTo>
                            <a:pt x="1925" y="2046"/>
                          </a:lnTo>
                          <a:lnTo>
                            <a:pt x="1932" y="2041"/>
                          </a:lnTo>
                          <a:lnTo>
                            <a:pt x="1939" y="2036"/>
                          </a:lnTo>
                          <a:lnTo>
                            <a:pt x="1945" y="2030"/>
                          </a:lnTo>
                          <a:lnTo>
                            <a:pt x="1945" y="2049"/>
                          </a:lnTo>
                          <a:lnTo>
                            <a:pt x="2006" y="2049"/>
                          </a:lnTo>
                          <a:lnTo>
                            <a:pt x="2006" y="1884"/>
                          </a:lnTo>
                          <a:lnTo>
                            <a:pt x="2006" y="1884"/>
                          </a:lnTo>
                          <a:lnTo>
                            <a:pt x="2006" y="1874"/>
                          </a:lnTo>
                          <a:lnTo>
                            <a:pt x="2005" y="1866"/>
                          </a:lnTo>
                          <a:lnTo>
                            <a:pt x="2003" y="1857"/>
                          </a:lnTo>
                          <a:lnTo>
                            <a:pt x="2000" y="1849"/>
                          </a:lnTo>
                          <a:lnTo>
                            <a:pt x="1995" y="1842"/>
                          </a:lnTo>
                          <a:lnTo>
                            <a:pt x="1992" y="1834"/>
                          </a:lnTo>
                          <a:lnTo>
                            <a:pt x="1986" y="1828"/>
                          </a:lnTo>
                          <a:lnTo>
                            <a:pt x="1979" y="1822"/>
                          </a:lnTo>
                          <a:lnTo>
                            <a:pt x="1973" y="1817"/>
                          </a:lnTo>
                          <a:lnTo>
                            <a:pt x="1966" y="1812"/>
                          </a:lnTo>
                          <a:lnTo>
                            <a:pt x="1958" y="1809"/>
                          </a:lnTo>
                          <a:lnTo>
                            <a:pt x="1949" y="1805"/>
                          </a:lnTo>
                          <a:lnTo>
                            <a:pt x="1939" y="1803"/>
                          </a:lnTo>
                          <a:lnTo>
                            <a:pt x="1930" y="1801"/>
                          </a:lnTo>
                          <a:lnTo>
                            <a:pt x="1919" y="1800"/>
                          </a:lnTo>
                          <a:lnTo>
                            <a:pt x="1908" y="1799"/>
                          </a:lnTo>
                          <a:lnTo>
                            <a:pt x="1908" y="1799"/>
                          </a:lnTo>
                          <a:lnTo>
                            <a:pt x="1894" y="1800"/>
                          </a:lnTo>
                          <a:lnTo>
                            <a:pt x="1883" y="1800"/>
                          </a:lnTo>
                          <a:lnTo>
                            <a:pt x="1871" y="1803"/>
                          </a:lnTo>
                          <a:lnTo>
                            <a:pt x="1859" y="1805"/>
                          </a:lnTo>
                          <a:lnTo>
                            <a:pt x="1848" y="1809"/>
                          </a:lnTo>
                          <a:lnTo>
                            <a:pt x="1837" y="1812"/>
                          </a:lnTo>
                          <a:lnTo>
                            <a:pt x="1826" y="1817"/>
                          </a:lnTo>
                          <a:lnTo>
                            <a:pt x="1815" y="1823"/>
                          </a:lnTo>
                          <a:lnTo>
                            <a:pt x="1840" y="1865"/>
                          </a:lnTo>
                          <a:close/>
                          <a:moveTo>
                            <a:pt x="1857" y="1968"/>
                          </a:moveTo>
                          <a:lnTo>
                            <a:pt x="1857" y="1968"/>
                          </a:lnTo>
                          <a:lnTo>
                            <a:pt x="1857" y="1961"/>
                          </a:lnTo>
                          <a:lnTo>
                            <a:pt x="1859" y="1953"/>
                          </a:lnTo>
                          <a:lnTo>
                            <a:pt x="1863" y="1947"/>
                          </a:lnTo>
                          <a:lnTo>
                            <a:pt x="1868" y="1942"/>
                          </a:lnTo>
                          <a:lnTo>
                            <a:pt x="1874" y="1939"/>
                          </a:lnTo>
                          <a:lnTo>
                            <a:pt x="1881" y="1936"/>
                          </a:lnTo>
                          <a:lnTo>
                            <a:pt x="1890" y="1934"/>
                          </a:lnTo>
                          <a:lnTo>
                            <a:pt x="1898" y="1934"/>
                          </a:lnTo>
                          <a:lnTo>
                            <a:pt x="1898" y="1934"/>
                          </a:lnTo>
                          <a:lnTo>
                            <a:pt x="1911" y="1934"/>
                          </a:lnTo>
                          <a:lnTo>
                            <a:pt x="1924" y="1936"/>
                          </a:lnTo>
                          <a:lnTo>
                            <a:pt x="1935" y="1940"/>
                          </a:lnTo>
                          <a:lnTo>
                            <a:pt x="1945" y="1946"/>
                          </a:lnTo>
                          <a:lnTo>
                            <a:pt x="1945" y="1979"/>
                          </a:lnTo>
                          <a:lnTo>
                            <a:pt x="1945" y="1979"/>
                          </a:lnTo>
                          <a:lnTo>
                            <a:pt x="1943" y="1984"/>
                          </a:lnTo>
                          <a:lnTo>
                            <a:pt x="1938" y="1989"/>
                          </a:lnTo>
                          <a:lnTo>
                            <a:pt x="1933" y="1993"/>
                          </a:lnTo>
                          <a:lnTo>
                            <a:pt x="1927" y="1997"/>
                          </a:lnTo>
                          <a:lnTo>
                            <a:pt x="1921" y="2001"/>
                          </a:lnTo>
                          <a:lnTo>
                            <a:pt x="1914" y="2003"/>
                          </a:lnTo>
                          <a:lnTo>
                            <a:pt x="1907" y="2004"/>
                          </a:lnTo>
                          <a:lnTo>
                            <a:pt x="1898" y="2006"/>
                          </a:lnTo>
                          <a:lnTo>
                            <a:pt x="1898" y="2006"/>
                          </a:lnTo>
                          <a:lnTo>
                            <a:pt x="1890" y="2004"/>
                          </a:lnTo>
                          <a:lnTo>
                            <a:pt x="1881" y="2002"/>
                          </a:lnTo>
                          <a:lnTo>
                            <a:pt x="1874" y="2000"/>
                          </a:lnTo>
                          <a:lnTo>
                            <a:pt x="1868" y="1995"/>
                          </a:lnTo>
                          <a:lnTo>
                            <a:pt x="1863" y="1990"/>
                          </a:lnTo>
                          <a:lnTo>
                            <a:pt x="1859" y="1984"/>
                          </a:lnTo>
                          <a:lnTo>
                            <a:pt x="1858" y="1976"/>
                          </a:lnTo>
                          <a:lnTo>
                            <a:pt x="1857" y="1968"/>
                          </a:lnTo>
                          <a:lnTo>
                            <a:pt x="1857" y="1968"/>
                          </a:lnTo>
                          <a:close/>
                          <a:moveTo>
                            <a:pt x="2569" y="1979"/>
                          </a:moveTo>
                          <a:lnTo>
                            <a:pt x="2569" y="1979"/>
                          </a:lnTo>
                          <a:lnTo>
                            <a:pt x="2560" y="1986"/>
                          </a:lnTo>
                          <a:lnTo>
                            <a:pt x="2549" y="1992"/>
                          </a:lnTo>
                          <a:lnTo>
                            <a:pt x="2543" y="1995"/>
                          </a:lnTo>
                          <a:lnTo>
                            <a:pt x="2536" y="1997"/>
                          </a:lnTo>
                          <a:lnTo>
                            <a:pt x="2529" y="1998"/>
                          </a:lnTo>
                          <a:lnTo>
                            <a:pt x="2521" y="2000"/>
                          </a:lnTo>
                          <a:lnTo>
                            <a:pt x="2521" y="2000"/>
                          </a:lnTo>
                          <a:lnTo>
                            <a:pt x="2515" y="1998"/>
                          </a:lnTo>
                          <a:lnTo>
                            <a:pt x="2508" y="1998"/>
                          </a:lnTo>
                          <a:lnTo>
                            <a:pt x="2500" y="1996"/>
                          </a:lnTo>
                          <a:lnTo>
                            <a:pt x="2490" y="1991"/>
                          </a:lnTo>
                          <a:lnTo>
                            <a:pt x="2481" y="1985"/>
                          </a:lnTo>
                          <a:lnTo>
                            <a:pt x="2478" y="1980"/>
                          </a:lnTo>
                          <a:lnTo>
                            <a:pt x="2474" y="1975"/>
                          </a:lnTo>
                          <a:lnTo>
                            <a:pt x="2472" y="1969"/>
                          </a:lnTo>
                          <a:lnTo>
                            <a:pt x="2469" y="1962"/>
                          </a:lnTo>
                          <a:lnTo>
                            <a:pt x="2468" y="1955"/>
                          </a:lnTo>
                          <a:lnTo>
                            <a:pt x="2467" y="1946"/>
                          </a:lnTo>
                          <a:lnTo>
                            <a:pt x="2616" y="1946"/>
                          </a:lnTo>
                          <a:lnTo>
                            <a:pt x="2616" y="1946"/>
                          </a:lnTo>
                          <a:lnTo>
                            <a:pt x="2617" y="1928"/>
                          </a:lnTo>
                          <a:lnTo>
                            <a:pt x="2617" y="1928"/>
                          </a:lnTo>
                          <a:lnTo>
                            <a:pt x="2617" y="1913"/>
                          </a:lnTo>
                          <a:lnTo>
                            <a:pt x="2615" y="1900"/>
                          </a:lnTo>
                          <a:lnTo>
                            <a:pt x="2614" y="1886"/>
                          </a:lnTo>
                          <a:lnTo>
                            <a:pt x="2610" y="1874"/>
                          </a:lnTo>
                          <a:lnTo>
                            <a:pt x="2607" y="1863"/>
                          </a:lnTo>
                          <a:lnTo>
                            <a:pt x="2602" y="1852"/>
                          </a:lnTo>
                          <a:lnTo>
                            <a:pt x="2596" y="1843"/>
                          </a:lnTo>
                          <a:lnTo>
                            <a:pt x="2589" y="1834"/>
                          </a:lnTo>
                          <a:lnTo>
                            <a:pt x="2582" y="1826"/>
                          </a:lnTo>
                          <a:lnTo>
                            <a:pt x="2575" y="1820"/>
                          </a:lnTo>
                          <a:lnTo>
                            <a:pt x="2566" y="1814"/>
                          </a:lnTo>
                          <a:lnTo>
                            <a:pt x="2557" y="1809"/>
                          </a:lnTo>
                          <a:lnTo>
                            <a:pt x="2547" y="1805"/>
                          </a:lnTo>
                          <a:lnTo>
                            <a:pt x="2537" y="1801"/>
                          </a:lnTo>
                          <a:lnTo>
                            <a:pt x="2526" y="1800"/>
                          </a:lnTo>
                          <a:lnTo>
                            <a:pt x="2514" y="1799"/>
                          </a:lnTo>
                          <a:lnTo>
                            <a:pt x="2514" y="1799"/>
                          </a:lnTo>
                          <a:lnTo>
                            <a:pt x="2503" y="1800"/>
                          </a:lnTo>
                          <a:lnTo>
                            <a:pt x="2492" y="1801"/>
                          </a:lnTo>
                          <a:lnTo>
                            <a:pt x="2481" y="1805"/>
                          </a:lnTo>
                          <a:lnTo>
                            <a:pt x="2470" y="1809"/>
                          </a:lnTo>
                          <a:lnTo>
                            <a:pt x="2461" y="1814"/>
                          </a:lnTo>
                          <a:lnTo>
                            <a:pt x="2452" y="1821"/>
                          </a:lnTo>
                          <a:lnTo>
                            <a:pt x="2444" y="1827"/>
                          </a:lnTo>
                          <a:lnTo>
                            <a:pt x="2436" y="1835"/>
                          </a:lnTo>
                          <a:lnTo>
                            <a:pt x="2429" y="1844"/>
                          </a:lnTo>
                          <a:lnTo>
                            <a:pt x="2423" y="1854"/>
                          </a:lnTo>
                          <a:lnTo>
                            <a:pt x="2418" y="1865"/>
                          </a:lnTo>
                          <a:lnTo>
                            <a:pt x="2413" y="1876"/>
                          </a:lnTo>
                          <a:lnTo>
                            <a:pt x="2410" y="1888"/>
                          </a:lnTo>
                          <a:lnTo>
                            <a:pt x="2407" y="1901"/>
                          </a:lnTo>
                          <a:lnTo>
                            <a:pt x="2406" y="1913"/>
                          </a:lnTo>
                          <a:lnTo>
                            <a:pt x="2405" y="1928"/>
                          </a:lnTo>
                          <a:lnTo>
                            <a:pt x="2405" y="1928"/>
                          </a:lnTo>
                          <a:lnTo>
                            <a:pt x="2406" y="1941"/>
                          </a:lnTo>
                          <a:lnTo>
                            <a:pt x="2407" y="1955"/>
                          </a:lnTo>
                          <a:lnTo>
                            <a:pt x="2410" y="1968"/>
                          </a:lnTo>
                          <a:lnTo>
                            <a:pt x="2413" y="1980"/>
                          </a:lnTo>
                          <a:lnTo>
                            <a:pt x="2418" y="1991"/>
                          </a:lnTo>
                          <a:lnTo>
                            <a:pt x="2423" y="2002"/>
                          </a:lnTo>
                          <a:lnTo>
                            <a:pt x="2429" y="2012"/>
                          </a:lnTo>
                          <a:lnTo>
                            <a:pt x="2436" y="2020"/>
                          </a:lnTo>
                          <a:lnTo>
                            <a:pt x="2445" y="2028"/>
                          </a:lnTo>
                          <a:lnTo>
                            <a:pt x="2453" y="2035"/>
                          </a:lnTo>
                          <a:lnTo>
                            <a:pt x="2463" y="2041"/>
                          </a:lnTo>
                          <a:lnTo>
                            <a:pt x="2473" y="2046"/>
                          </a:lnTo>
                          <a:lnTo>
                            <a:pt x="2484" y="2049"/>
                          </a:lnTo>
                          <a:lnTo>
                            <a:pt x="2496" y="2053"/>
                          </a:lnTo>
                          <a:lnTo>
                            <a:pt x="2508" y="2054"/>
                          </a:lnTo>
                          <a:lnTo>
                            <a:pt x="2521" y="2055"/>
                          </a:lnTo>
                          <a:lnTo>
                            <a:pt x="2521" y="2055"/>
                          </a:lnTo>
                          <a:lnTo>
                            <a:pt x="2534" y="2054"/>
                          </a:lnTo>
                          <a:lnTo>
                            <a:pt x="2545" y="2053"/>
                          </a:lnTo>
                          <a:lnTo>
                            <a:pt x="2557" y="2049"/>
                          </a:lnTo>
                          <a:lnTo>
                            <a:pt x="2568" y="2046"/>
                          </a:lnTo>
                          <a:lnTo>
                            <a:pt x="2579" y="2040"/>
                          </a:lnTo>
                          <a:lnTo>
                            <a:pt x="2588" y="2034"/>
                          </a:lnTo>
                          <a:lnTo>
                            <a:pt x="2598" y="2025"/>
                          </a:lnTo>
                          <a:lnTo>
                            <a:pt x="2608" y="2017"/>
                          </a:lnTo>
                          <a:lnTo>
                            <a:pt x="2569" y="1979"/>
                          </a:lnTo>
                          <a:close/>
                          <a:moveTo>
                            <a:pt x="2468" y="1901"/>
                          </a:moveTo>
                          <a:lnTo>
                            <a:pt x="2468" y="1901"/>
                          </a:lnTo>
                          <a:lnTo>
                            <a:pt x="2469" y="1890"/>
                          </a:lnTo>
                          <a:lnTo>
                            <a:pt x="2472" y="1880"/>
                          </a:lnTo>
                          <a:lnTo>
                            <a:pt x="2475" y="1872"/>
                          </a:lnTo>
                          <a:lnTo>
                            <a:pt x="2481" y="1865"/>
                          </a:lnTo>
                          <a:lnTo>
                            <a:pt x="2487" y="1859"/>
                          </a:lnTo>
                          <a:lnTo>
                            <a:pt x="2495" y="1855"/>
                          </a:lnTo>
                          <a:lnTo>
                            <a:pt x="2503" y="1851"/>
                          </a:lnTo>
                          <a:lnTo>
                            <a:pt x="2513" y="1851"/>
                          </a:lnTo>
                          <a:lnTo>
                            <a:pt x="2513" y="1851"/>
                          </a:lnTo>
                          <a:lnTo>
                            <a:pt x="2524" y="1852"/>
                          </a:lnTo>
                          <a:lnTo>
                            <a:pt x="2534" y="1855"/>
                          </a:lnTo>
                          <a:lnTo>
                            <a:pt x="2541" y="1860"/>
                          </a:lnTo>
                          <a:lnTo>
                            <a:pt x="2547" y="1867"/>
                          </a:lnTo>
                          <a:lnTo>
                            <a:pt x="2552" y="1874"/>
                          </a:lnTo>
                          <a:lnTo>
                            <a:pt x="2555" y="1883"/>
                          </a:lnTo>
                          <a:lnTo>
                            <a:pt x="2558" y="1893"/>
                          </a:lnTo>
                          <a:lnTo>
                            <a:pt x="2559" y="1901"/>
                          </a:lnTo>
                          <a:lnTo>
                            <a:pt x="2468" y="1901"/>
                          </a:lnTo>
                          <a:close/>
                          <a:moveTo>
                            <a:pt x="3153" y="1979"/>
                          </a:moveTo>
                          <a:lnTo>
                            <a:pt x="3153" y="1979"/>
                          </a:lnTo>
                          <a:lnTo>
                            <a:pt x="3144" y="1986"/>
                          </a:lnTo>
                          <a:lnTo>
                            <a:pt x="3134" y="1992"/>
                          </a:lnTo>
                          <a:lnTo>
                            <a:pt x="3127" y="1995"/>
                          </a:lnTo>
                          <a:lnTo>
                            <a:pt x="3121" y="1997"/>
                          </a:lnTo>
                          <a:lnTo>
                            <a:pt x="3113" y="1998"/>
                          </a:lnTo>
                          <a:lnTo>
                            <a:pt x="3105" y="2000"/>
                          </a:lnTo>
                          <a:lnTo>
                            <a:pt x="3105" y="2000"/>
                          </a:lnTo>
                          <a:lnTo>
                            <a:pt x="3099" y="1998"/>
                          </a:lnTo>
                          <a:lnTo>
                            <a:pt x="3091" y="1998"/>
                          </a:lnTo>
                          <a:lnTo>
                            <a:pt x="3083" y="1996"/>
                          </a:lnTo>
                          <a:lnTo>
                            <a:pt x="3074" y="1991"/>
                          </a:lnTo>
                          <a:lnTo>
                            <a:pt x="3066" y="1985"/>
                          </a:lnTo>
                          <a:lnTo>
                            <a:pt x="3062" y="1980"/>
                          </a:lnTo>
                          <a:lnTo>
                            <a:pt x="3059" y="1975"/>
                          </a:lnTo>
                          <a:lnTo>
                            <a:pt x="3056" y="1969"/>
                          </a:lnTo>
                          <a:lnTo>
                            <a:pt x="3054" y="1962"/>
                          </a:lnTo>
                          <a:lnTo>
                            <a:pt x="3051" y="1955"/>
                          </a:lnTo>
                          <a:lnTo>
                            <a:pt x="3050" y="1946"/>
                          </a:lnTo>
                          <a:lnTo>
                            <a:pt x="3201" y="1946"/>
                          </a:lnTo>
                          <a:lnTo>
                            <a:pt x="3201" y="1946"/>
                          </a:lnTo>
                          <a:lnTo>
                            <a:pt x="3202" y="1928"/>
                          </a:lnTo>
                          <a:lnTo>
                            <a:pt x="3202" y="1928"/>
                          </a:lnTo>
                          <a:lnTo>
                            <a:pt x="3201" y="1913"/>
                          </a:lnTo>
                          <a:lnTo>
                            <a:pt x="3199" y="1900"/>
                          </a:lnTo>
                          <a:lnTo>
                            <a:pt x="3197" y="1886"/>
                          </a:lnTo>
                          <a:lnTo>
                            <a:pt x="3195" y="1874"/>
                          </a:lnTo>
                          <a:lnTo>
                            <a:pt x="3190" y="1863"/>
                          </a:lnTo>
                          <a:lnTo>
                            <a:pt x="3185" y="1852"/>
                          </a:lnTo>
                          <a:lnTo>
                            <a:pt x="3180" y="1843"/>
                          </a:lnTo>
                          <a:lnTo>
                            <a:pt x="3174" y="1834"/>
                          </a:lnTo>
                          <a:lnTo>
                            <a:pt x="3167" y="1826"/>
                          </a:lnTo>
                          <a:lnTo>
                            <a:pt x="3158" y="1820"/>
                          </a:lnTo>
                          <a:lnTo>
                            <a:pt x="3150" y="1814"/>
                          </a:lnTo>
                          <a:lnTo>
                            <a:pt x="3141" y="1809"/>
                          </a:lnTo>
                          <a:lnTo>
                            <a:pt x="3131" y="1805"/>
                          </a:lnTo>
                          <a:lnTo>
                            <a:pt x="3121" y="1801"/>
                          </a:lnTo>
                          <a:lnTo>
                            <a:pt x="3110" y="1800"/>
                          </a:lnTo>
                          <a:lnTo>
                            <a:pt x="3099" y="1799"/>
                          </a:lnTo>
                          <a:lnTo>
                            <a:pt x="3099" y="1799"/>
                          </a:lnTo>
                          <a:lnTo>
                            <a:pt x="3086" y="1800"/>
                          </a:lnTo>
                          <a:lnTo>
                            <a:pt x="3076" y="1801"/>
                          </a:lnTo>
                          <a:lnTo>
                            <a:pt x="3065" y="1805"/>
                          </a:lnTo>
                          <a:lnTo>
                            <a:pt x="3055" y="1809"/>
                          </a:lnTo>
                          <a:lnTo>
                            <a:pt x="3045" y="1814"/>
                          </a:lnTo>
                          <a:lnTo>
                            <a:pt x="3035" y="1821"/>
                          </a:lnTo>
                          <a:lnTo>
                            <a:pt x="3028" y="1827"/>
                          </a:lnTo>
                          <a:lnTo>
                            <a:pt x="3020" y="1835"/>
                          </a:lnTo>
                          <a:lnTo>
                            <a:pt x="3012" y="1844"/>
                          </a:lnTo>
                          <a:lnTo>
                            <a:pt x="3006" y="1854"/>
                          </a:lnTo>
                          <a:lnTo>
                            <a:pt x="3001" y="1865"/>
                          </a:lnTo>
                          <a:lnTo>
                            <a:pt x="2997" y="1876"/>
                          </a:lnTo>
                          <a:lnTo>
                            <a:pt x="2994" y="1888"/>
                          </a:lnTo>
                          <a:lnTo>
                            <a:pt x="2990" y="1901"/>
                          </a:lnTo>
                          <a:lnTo>
                            <a:pt x="2989" y="1913"/>
                          </a:lnTo>
                          <a:lnTo>
                            <a:pt x="2989" y="1928"/>
                          </a:lnTo>
                          <a:lnTo>
                            <a:pt x="2989" y="1928"/>
                          </a:lnTo>
                          <a:lnTo>
                            <a:pt x="2989" y="1941"/>
                          </a:lnTo>
                          <a:lnTo>
                            <a:pt x="2990" y="1955"/>
                          </a:lnTo>
                          <a:lnTo>
                            <a:pt x="2993" y="1968"/>
                          </a:lnTo>
                          <a:lnTo>
                            <a:pt x="2997" y="1980"/>
                          </a:lnTo>
                          <a:lnTo>
                            <a:pt x="3001" y="1991"/>
                          </a:lnTo>
                          <a:lnTo>
                            <a:pt x="3008" y="2002"/>
                          </a:lnTo>
                          <a:lnTo>
                            <a:pt x="3014" y="2012"/>
                          </a:lnTo>
                          <a:lnTo>
                            <a:pt x="3021" y="2020"/>
                          </a:lnTo>
                          <a:lnTo>
                            <a:pt x="3028" y="2028"/>
                          </a:lnTo>
                          <a:lnTo>
                            <a:pt x="3037" y="2035"/>
                          </a:lnTo>
                          <a:lnTo>
                            <a:pt x="3046" y="2041"/>
                          </a:lnTo>
                          <a:lnTo>
                            <a:pt x="3057" y="2046"/>
                          </a:lnTo>
                          <a:lnTo>
                            <a:pt x="3068" y="2049"/>
                          </a:lnTo>
                          <a:lnTo>
                            <a:pt x="3079" y="2053"/>
                          </a:lnTo>
                          <a:lnTo>
                            <a:pt x="3093" y="2054"/>
                          </a:lnTo>
                          <a:lnTo>
                            <a:pt x="3105" y="2055"/>
                          </a:lnTo>
                          <a:lnTo>
                            <a:pt x="3105" y="2055"/>
                          </a:lnTo>
                          <a:lnTo>
                            <a:pt x="3117" y="2054"/>
                          </a:lnTo>
                          <a:lnTo>
                            <a:pt x="3129" y="2053"/>
                          </a:lnTo>
                          <a:lnTo>
                            <a:pt x="3140" y="2049"/>
                          </a:lnTo>
                          <a:lnTo>
                            <a:pt x="3151" y="2046"/>
                          </a:lnTo>
                          <a:lnTo>
                            <a:pt x="3162" y="2040"/>
                          </a:lnTo>
                          <a:lnTo>
                            <a:pt x="3173" y="2034"/>
                          </a:lnTo>
                          <a:lnTo>
                            <a:pt x="3182" y="2025"/>
                          </a:lnTo>
                          <a:lnTo>
                            <a:pt x="3191" y="2017"/>
                          </a:lnTo>
                          <a:lnTo>
                            <a:pt x="3153" y="1979"/>
                          </a:lnTo>
                          <a:close/>
                          <a:moveTo>
                            <a:pt x="3051" y="1901"/>
                          </a:moveTo>
                          <a:lnTo>
                            <a:pt x="3051" y="1901"/>
                          </a:lnTo>
                          <a:lnTo>
                            <a:pt x="3052" y="1890"/>
                          </a:lnTo>
                          <a:lnTo>
                            <a:pt x="3056" y="1880"/>
                          </a:lnTo>
                          <a:lnTo>
                            <a:pt x="3060" y="1872"/>
                          </a:lnTo>
                          <a:lnTo>
                            <a:pt x="3065" y="1865"/>
                          </a:lnTo>
                          <a:lnTo>
                            <a:pt x="3072" y="1859"/>
                          </a:lnTo>
                          <a:lnTo>
                            <a:pt x="3079" y="1855"/>
                          </a:lnTo>
                          <a:lnTo>
                            <a:pt x="3088" y="1851"/>
                          </a:lnTo>
                          <a:lnTo>
                            <a:pt x="3097" y="1851"/>
                          </a:lnTo>
                          <a:lnTo>
                            <a:pt x="3097" y="1851"/>
                          </a:lnTo>
                          <a:lnTo>
                            <a:pt x="3108" y="1852"/>
                          </a:lnTo>
                          <a:lnTo>
                            <a:pt x="3117" y="1855"/>
                          </a:lnTo>
                          <a:lnTo>
                            <a:pt x="3125" y="1860"/>
                          </a:lnTo>
                          <a:lnTo>
                            <a:pt x="3131" y="1867"/>
                          </a:lnTo>
                          <a:lnTo>
                            <a:pt x="3136" y="1874"/>
                          </a:lnTo>
                          <a:lnTo>
                            <a:pt x="3140" y="1883"/>
                          </a:lnTo>
                          <a:lnTo>
                            <a:pt x="3142" y="1893"/>
                          </a:lnTo>
                          <a:lnTo>
                            <a:pt x="3144" y="1901"/>
                          </a:lnTo>
                          <a:lnTo>
                            <a:pt x="3051" y="1901"/>
                          </a:lnTo>
                          <a:close/>
                          <a:moveTo>
                            <a:pt x="2905" y="1964"/>
                          </a:moveTo>
                          <a:lnTo>
                            <a:pt x="2905" y="1964"/>
                          </a:lnTo>
                          <a:lnTo>
                            <a:pt x="2905" y="1973"/>
                          </a:lnTo>
                          <a:lnTo>
                            <a:pt x="2907" y="1979"/>
                          </a:lnTo>
                          <a:lnTo>
                            <a:pt x="2909" y="1985"/>
                          </a:lnTo>
                          <a:lnTo>
                            <a:pt x="2912" y="1990"/>
                          </a:lnTo>
                          <a:lnTo>
                            <a:pt x="2915" y="1993"/>
                          </a:lnTo>
                          <a:lnTo>
                            <a:pt x="2920" y="1996"/>
                          </a:lnTo>
                          <a:lnTo>
                            <a:pt x="2925" y="1997"/>
                          </a:lnTo>
                          <a:lnTo>
                            <a:pt x="2932" y="1997"/>
                          </a:lnTo>
                          <a:lnTo>
                            <a:pt x="2932" y="1997"/>
                          </a:lnTo>
                          <a:lnTo>
                            <a:pt x="2941" y="1997"/>
                          </a:lnTo>
                          <a:lnTo>
                            <a:pt x="2950" y="1995"/>
                          </a:lnTo>
                          <a:lnTo>
                            <a:pt x="2960" y="1991"/>
                          </a:lnTo>
                          <a:lnTo>
                            <a:pt x="2969" y="1986"/>
                          </a:lnTo>
                          <a:lnTo>
                            <a:pt x="2961" y="2043"/>
                          </a:lnTo>
                          <a:lnTo>
                            <a:pt x="2961" y="2043"/>
                          </a:lnTo>
                          <a:lnTo>
                            <a:pt x="2950" y="2048"/>
                          </a:lnTo>
                          <a:lnTo>
                            <a:pt x="2937" y="2052"/>
                          </a:lnTo>
                          <a:lnTo>
                            <a:pt x="2924" y="2054"/>
                          </a:lnTo>
                          <a:lnTo>
                            <a:pt x="2910" y="2055"/>
                          </a:lnTo>
                          <a:lnTo>
                            <a:pt x="2910" y="2055"/>
                          </a:lnTo>
                          <a:lnTo>
                            <a:pt x="2902" y="2054"/>
                          </a:lnTo>
                          <a:lnTo>
                            <a:pt x="2893" y="2053"/>
                          </a:lnTo>
                          <a:lnTo>
                            <a:pt x="2886" y="2051"/>
                          </a:lnTo>
                          <a:lnTo>
                            <a:pt x="2880" y="2048"/>
                          </a:lnTo>
                          <a:lnTo>
                            <a:pt x="2874" y="2045"/>
                          </a:lnTo>
                          <a:lnTo>
                            <a:pt x="2868" y="2041"/>
                          </a:lnTo>
                          <a:lnTo>
                            <a:pt x="2864" y="2036"/>
                          </a:lnTo>
                          <a:lnTo>
                            <a:pt x="2859" y="2030"/>
                          </a:lnTo>
                          <a:lnTo>
                            <a:pt x="2853" y="2019"/>
                          </a:lnTo>
                          <a:lnTo>
                            <a:pt x="2848" y="2006"/>
                          </a:lnTo>
                          <a:lnTo>
                            <a:pt x="2846" y="1993"/>
                          </a:lnTo>
                          <a:lnTo>
                            <a:pt x="2845" y="1980"/>
                          </a:lnTo>
                          <a:lnTo>
                            <a:pt x="2845" y="1861"/>
                          </a:lnTo>
                          <a:lnTo>
                            <a:pt x="2807" y="1861"/>
                          </a:lnTo>
                          <a:lnTo>
                            <a:pt x="2807" y="1805"/>
                          </a:lnTo>
                          <a:lnTo>
                            <a:pt x="2845" y="1805"/>
                          </a:lnTo>
                          <a:lnTo>
                            <a:pt x="2845" y="1742"/>
                          </a:lnTo>
                          <a:lnTo>
                            <a:pt x="2905" y="1711"/>
                          </a:lnTo>
                          <a:lnTo>
                            <a:pt x="2905" y="1805"/>
                          </a:lnTo>
                          <a:lnTo>
                            <a:pt x="2960" y="1805"/>
                          </a:lnTo>
                          <a:lnTo>
                            <a:pt x="2960" y="1861"/>
                          </a:lnTo>
                          <a:lnTo>
                            <a:pt x="2905" y="1861"/>
                          </a:lnTo>
                          <a:lnTo>
                            <a:pt x="2905" y="1964"/>
                          </a:lnTo>
                          <a:close/>
                          <a:moveTo>
                            <a:pt x="2788" y="2043"/>
                          </a:moveTo>
                          <a:lnTo>
                            <a:pt x="2788" y="2043"/>
                          </a:lnTo>
                          <a:lnTo>
                            <a:pt x="2777" y="2048"/>
                          </a:lnTo>
                          <a:lnTo>
                            <a:pt x="2764" y="2052"/>
                          </a:lnTo>
                          <a:lnTo>
                            <a:pt x="2751" y="2054"/>
                          </a:lnTo>
                          <a:lnTo>
                            <a:pt x="2738" y="2055"/>
                          </a:lnTo>
                          <a:lnTo>
                            <a:pt x="2738" y="2055"/>
                          </a:lnTo>
                          <a:lnTo>
                            <a:pt x="2728" y="2054"/>
                          </a:lnTo>
                          <a:lnTo>
                            <a:pt x="2721" y="2053"/>
                          </a:lnTo>
                          <a:lnTo>
                            <a:pt x="2713" y="2051"/>
                          </a:lnTo>
                          <a:lnTo>
                            <a:pt x="2706" y="2048"/>
                          </a:lnTo>
                          <a:lnTo>
                            <a:pt x="2701" y="2045"/>
                          </a:lnTo>
                          <a:lnTo>
                            <a:pt x="2695" y="2041"/>
                          </a:lnTo>
                          <a:lnTo>
                            <a:pt x="2690" y="2036"/>
                          </a:lnTo>
                          <a:lnTo>
                            <a:pt x="2687" y="2030"/>
                          </a:lnTo>
                          <a:lnTo>
                            <a:pt x="2679" y="2019"/>
                          </a:lnTo>
                          <a:lnTo>
                            <a:pt x="2676" y="2006"/>
                          </a:lnTo>
                          <a:lnTo>
                            <a:pt x="2672" y="1993"/>
                          </a:lnTo>
                          <a:lnTo>
                            <a:pt x="2672" y="1980"/>
                          </a:lnTo>
                          <a:lnTo>
                            <a:pt x="2672" y="1861"/>
                          </a:lnTo>
                          <a:lnTo>
                            <a:pt x="2634" y="1861"/>
                          </a:lnTo>
                          <a:lnTo>
                            <a:pt x="2634" y="1805"/>
                          </a:lnTo>
                          <a:lnTo>
                            <a:pt x="2672" y="1805"/>
                          </a:lnTo>
                          <a:lnTo>
                            <a:pt x="2672" y="1742"/>
                          </a:lnTo>
                          <a:lnTo>
                            <a:pt x="2733" y="1711"/>
                          </a:lnTo>
                          <a:lnTo>
                            <a:pt x="2733" y="1805"/>
                          </a:lnTo>
                          <a:lnTo>
                            <a:pt x="2784" y="1805"/>
                          </a:lnTo>
                          <a:lnTo>
                            <a:pt x="2784" y="1861"/>
                          </a:lnTo>
                          <a:lnTo>
                            <a:pt x="2733" y="1861"/>
                          </a:lnTo>
                          <a:lnTo>
                            <a:pt x="2733" y="1964"/>
                          </a:lnTo>
                          <a:lnTo>
                            <a:pt x="2733" y="1964"/>
                          </a:lnTo>
                          <a:lnTo>
                            <a:pt x="2733" y="1973"/>
                          </a:lnTo>
                          <a:lnTo>
                            <a:pt x="2734" y="1979"/>
                          </a:lnTo>
                          <a:lnTo>
                            <a:pt x="2737" y="1985"/>
                          </a:lnTo>
                          <a:lnTo>
                            <a:pt x="2739" y="1990"/>
                          </a:lnTo>
                          <a:lnTo>
                            <a:pt x="2743" y="1993"/>
                          </a:lnTo>
                          <a:lnTo>
                            <a:pt x="2747" y="1996"/>
                          </a:lnTo>
                          <a:lnTo>
                            <a:pt x="2752" y="1997"/>
                          </a:lnTo>
                          <a:lnTo>
                            <a:pt x="2758" y="1997"/>
                          </a:lnTo>
                          <a:lnTo>
                            <a:pt x="2758" y="1997"/>
                          </a:lnTo>
                          <a:lnTo>
                            <a:pt x="2768" y="1997"/>
                          </a:lnTo>
                          <a:lnTo>
                            <a:pt x="2778" y="1995"/>
                          </a:lnTo>
                          <a:lnTo>
                            <a:pt x="2786" y="1991"/>
                          </a:lnTo>
                          <a:lnTo>
                            <a:pt x="2795" y="1986"/>
                          </a:lnTo>
                          <a:lnTo>
                            <a:pt x="2788" y="2043"/>
                          </a:lnTo>
                          <a:close/>
                          <a:moveTo>
                            <a:pt x="3384" y="1873"/>
                          </a:moveTo>
                          <a:lnTo>
                            <a:pt x="3384" y="1873"/>
                          </a:lnTo>
                          <a:lnTo>
                            <a:pt x="3376" y="1867"/>
                          </a:lnTo>
                          <a:lnTo>
                            <a:pt x="3366" y="1863"/>
                          </a:lnTo>
                          <a:lnTo>
                            <a:pt x="3355" y="1861"/>
                          </a:lnTo>
                          <a:lnTo>
                            <a:pt x="3344" y="1860"/>
                          </a:lnTo>
                          <a:lnTo>
                            <a:pt x="3344" y="1860"/>
                          </a:lnTo>
                          <a:lnTo>
                            <a:pt x="3334" y="1861"/>
                          </a:lnTo>
                          <a:lnTo>
                            <a:pt x="3325" y="1863"/>
                          </a:lnTo>
                          <a:lnTo>
                            <a:pt x="3317" y="1868"/>
                          </a:lnTo>
                          <a:lnTo>
                            <a:pt x="3311" y="1874"/>
                          </a:lnTo>
                          <a:lnTo>
                            <a:pt x="3306" y="1882"/>
                          </a:lnTo>
                          <a:lnTo>
                            <a:pt x="3304" y="1891"/>
                          </a:lnTo>
                          <a:lnTo>
                            <a:pt x="3302" y="1904"/>
                          </a:lnTo>
                          <a:lnTo>
                            <a:pt x="3300" y="1917"/>
                          </a:lnTo>
                          <a:lnTo>
                            <a:pt x="3300" y="2049"/>
                          </a:lnTo>
                          <a:lnTo>
                            <a:pt x="3241" y="2049"/>
                          </a:lnTo>
                          <a:lnTo>
                            <a:pt x="3241" y="1805"/>
                          </a:lnTo>
                          <a:lnTo>
                            <a:pt x="3300" y="1805"/>
                          </a:lnTo>
                          <a:lnTo>
                            <a:pt x="3300" y="1826"/>
                          </a:lnTo>
                          <a:lnTo>
                            <a:pt x="3300" y="1826"/>
                          </a:lnTo>
                          <a:lnTo>
                            <a:pt x="3306" y="1820"/>
                          </a:lnTo>
                          <a:lnTo>
                            <a:pt x="3313" y="1814"/>
                          </a:lnTo>
                          <a:lnTo>
                            <a:pt x="3319" y="1810"/>
                          </a:lnTo>
                          <a:lnTo>
                            <a:pt x="3326" y="1806"/>
                          </a:lnTo>
                          <a:lnTo>
                            <a:pt x="3332" y="1803"/>
                          </a:lnTo>
                          <a:lnTo>
                            <a:pt x="3339" y="1801"/>
                          </a:lnTo>
                          <a:lnTo>
                            <a:pt x="3347" y="1800"/>
                          </a:lnTo>
                          <a:lnTo>
                            <a:pt x="3355" y="1799"/>
                          </a:lnTo>
                          <a:lnTo>
                            <a:pt x="3355" y="1799"/>
                          </a:lnTo>
                          <a:lnTo>
                            <a:pt x="3367" y="1800"/>
                          </a:lnTo>
                          <a:lnTo>
                            <a:pt x="3379" y="1804"/>
                          </a:lnTo>
                          <a:lnTo>
                            <a:pt x="3390" y="1807"/>
                          </a:lnTo>
                          <a:lnTo>
                            <a:pt x="3400" y="1814"/>
                          </a:lnTo>
                          <a:lnTo>
                            <a:pt x="3384" y="1873"/>
                          </a:lnTo>
                          <a:close/>
                          <a:moveTo>
                            <a:pt x="653" y="1747"/>
                          </a:moveTo>
                          <a:lnTo>
                            <a:pt x="653" y="1770"/>
                          </a:lnTo>
                          <a:lnTo>
                            <a:pt x="592" y="1770"/>
                          </a:lnTo>
                          <a:lnTo>
                            <a:pt x="592" y="1709"/>
                          </a:lnTo>
                          <a:lnTo>
                            <a:pt x="653" y="1709"/>
                          </a:lnTo>
                          <a:lnTo>
                            <a:pt x="653" y="1747"/>
                          </a:lnTo>
                          <a:close/>
                          <a:moveTo>
                            <a:pt x="1073" y="1805"/>
                          </a:moveTo>
                          <a:lnTo>
                            <a:pt x="1134" y="1805"/>
                          </a:lnTo>
                          <a:lnTo>
                            <a:pt x="1134" y="1930"/>
                          </a:lnTo>
                          <a:lnTo>
                            <a:pt x="1134" y="2049"/>
                          </a:lnTo>
                          <a:lnTo>
                            <a:pt x="1073" y="2049"/>
                          </a:lnTo>
                          <a:lnTo>
                            <a:pt x="1073" y="1805"/>
                          </a:lnTo>
                          <a:close/>
                          <a:moveTo>
                            <a:pt x="1134" y="1739"/>
                          </a:moveTo>
                          <a:lnTo>
                            <a:pt x="1134" y="1770"/>
                          </a:lnTo>
                          <a:lnTo>
                            <a:pt x="1073" y="1770"/>
                          </a:lnTo>
                          <a:lnTo>
                            <a:pt x="1073" y="1709"/>
                          </a:lnTo>
                          <a:lnTo>
                            <a:pt x="1134" y="1709"/>
                          </a:lnTo>
                          <a:lnTo>
                            <a:pt x="1134" y="1739"/>
                          </a:lnTo>
                          <a:close/>
                          <a:moveTo>
                            <a:pt x="2796" y="2250"/>
                          </a:moveTo>
                          <a:lnTo>
                            <a:pt x="2796" y="2250"/>
                          </a:lnTo>
                          <a:lnTo>
                            <a:pt x="2790" y="2245"/>
                          </a:lnTo>
                          <a:lnTo>
                            <a:pt x="2784" y="2240"/>
                          </a:lnTo>
                          <a:lnTo>
                            <a:pt x="2778" y="2237"/>
                          </a:lnTo>
                          <a:lnTo>
                            <a:pt x="2771" y="2233"/>
                          </a:lnTo>
                          <a:lnTo>
                            <a:pt x="2764" y="2231"/>
                          </a:lnTo>
                          <a:lnTo>
                            <a:pt x="2757" y="2229"/>
                          </a:lnTo>
                          <a:lnTo>
                            <a:pt x="2741" y="2227"/>
                          </a:lnTo>
                          <a:lnTo>
                            <a:pt x="2741" y="2227"/>
                          </a:lnTo>
                          <a:lnTo>
                            <a:pt x="2730" y="2228"/>
                          </a:lnTo>
                          <a:lnTo>
                            <a:pt x="2721" y="2229"/>
                          </a:lnTo>
                          <a:lnTo>
                            <a:pt x="2711" y="2233"/>
                          </a:lnTo>
                          <a:lnTo>
                            <a:pt x="2701" y="2237"/>
                          </a:lnTo>
                          <a:lnTo>
                            <a:pt x="2693" y="2241"/>
                          </a:lnTo>
                          <a:lnTo>
                            <a:pt x="2685" y="2246"/>
                          </a:lnTo>
                          <a:lnTo>
                            <a:pt x="2678" y="2254"/>
                          </a:lnTo>
                          <a:lnTo>
                            <a:pt x="2671" y="2261"/>
                          </a:lnTo>
                          <a:lnTo>
                            <a:pt x="2666" y="2269"/>
                          </a:lnTo>
                          <a:lnTo>
                            <a:pt x="2660" y="2279"/>
                          </a:lnTo>
                          <a:lnTo>
                            <a:pt x="2656" y="2289"/>
                          </a:lnTo>
                          <a:lnTo>
                            <a:pt x="2653" y="2301"/>
                          </a:lnTo>
                          <a:lnTo>
                            <a:pt x="2649" y="2312"/>
                          </a:lnTo>
                          <a:lnTo>
                            <a:pt x="2648" y="2325"/>
                          </a:lnTo>
                          <a:lnTo>
                            <a:pt x="2647" y="2339"/>
                          </a:lnTo>
                          <a:lnTo>
                            <a:pt x="2645" y="2353"/>
                          </a:lnTo>
                          <a:lnTo>
                            <a:pt x="2645" y="2353"/>
                          </a:lnTo>
                          <a:lnTo>
                            <a:pt x="2647" y="2368"/>
                          </a:lnTo>
                          <a:lnTo>
                            <a:pt x="2648" y="2381"/>
                          </a:lnTo>
                          <a:lnTo>
                            <a:pt x="2649" y="2395"/>
                          </a:lnTo>
                          <a:lnTo>
                            <a:pt x="2653" y="2408"/>
                          </a:lnTo>
                          <a:lnTo>
                            <a:pt x="2655" y="2419"/>
                          </a:lnTo>
                          <a:lnTo>
                            <a:pt x="2660" y="2430"/>
                          </a:lnTo>
                          <a:lnTo>
                            <a:pt x="2665" y="2440"/>
                          </a:lnTo>
                          <a:lnTo>
                            <a:pt x="2671" y="2448"/>
                          </a:lnTo>
                          <a:lnTo>
                            <a:pt x="2677" y="2457"/>
                          </a:lnTo>
                          <a:lnTo>
                            <a:pt x="2684" y="2463"/>
                          </a:lnTo>
                          <a:lnTo>
                            <a:pt x="2692" y="2469"/>
                          </a:lnTo>
                          <a:lnTo>
                            <a:pt x="2700" y="2474"/>
                          </a:lnTo>
                          <a:lnTo>
                            <a:pt x="2710" y="2479"/>
                          </a:lnTo>
                          <a:lnTo>
                            <a:pt x="2720" y="2481"/>
                          </a:lnTo>
                          <a:lnTo>
                            <a:pt x="2729" y="2482"/>
                          </a:lnTo>
                          <a:lnTo>
                            <a:pt x="2740" y="2483"/>
                          </a:lnTo>
                          <a:lnTo>
                            <a:pt x="2740" y="2483"/>
                          </a:lnTo>
                          <a:lnTo>
                            <a:pt x="2747" y="2482"/>
                          </a:lnTo>
                          <a:lnTo>
                            <a:pt x="2756" y="2481"/>
                          </a:lnTo>
                          <a:lnTo>
                            <a:pt x="2763" y="2480"/>
                          </a:lnTo>
                          <a:lnTo>
                            <a:pt x="2769" y="2477"/>
                          </a:lnTo>
                          <a:lnTo>
                            <a:pt x="2777" y="2474"/>
                          </a:lnTo>
                          <a:lnTo>
                            <a:pt x="2784" y="2470"/>
                          </a:lnTo>
                          <a:lnTo>
                            <a:pt x="2790" y="2465"/>
                          </a:lnTo>
                          <a:lnTo>
                            <a:pt x="2796" y="2459"/>
                          </a:lnTo>
                          <a:lnTo>
                            <a:pt x="2796" y="2477"/>
                          </a:lnTo>
                          <a:lnTo>
                            <a:pt x="2857" y="2477"/>
                          </a:lnTo>
                          <a:lnTo>
                            <a:pt x="2857" y="2131"/>
                          </a:lnTo>
                          <a:lnTo>
                            <a:pt x="2796" y="2161"/>
                          </a:lnTo>
                          <a:lnTo>
                            <a:pt x="2796" y="2250"/>
                          </a:lnTo>
                          <a:close/>
                          <a:moveTo>
                            <a:pt x="2754" y="2427"/>
                          </a:moveTo>
                          <a:lnTo>
                            <a:pt x="2754" y="2427"/>
                          </a:lnTo>
                          <a:lnTo>
                            <a:pt x="2745" y="2426"/>
                          </a:lnTo>
                          <a:lnTo>
                            <a:pt x="2738" y="2424"/>
                          </a:lnTo>
                          <a:lnTo>
                            <a:pt x="2729" y="2420"/>
                          </a:lnTo>
                          <a:lnTo>
                            <a:pt x="2722" y="2413"/>
                          </a:lnTo>
                          <a:lnTo>
                            <a:pt x="2716" y="2403"/>
                          </a:lnTo>
                          <a:lnTo>
                            <a:pt x="2711" y="2390"/>
                          </a:lnTo>
                          <a:lnTo>
                            <a:pt x="2709" y="2373"/>
                          </a:lnTo>
                          <a:lnTo>
                            <a:pt x="2707" y="2351"/>
                          </a:lnTo>
                          <a:lnTo>
                            <a:pt x="2707" y="2351"/>
                          </a:lnTo>
                          <a:lnTo>
                            <a:pt x="2709" y="2333"/>
                          </a:lnTo>
                          <a:lnTo>
                            <a:pt x="2711" y="2317"/>
                          </a:lnTo>
                          <a:lnTo>
                            <a:pt x="2716" y="2305"/>
                          </a:lnTo>
                          <a:lnTo>
                            <a:pt x="2722" y="2296"/>
                          </a:lnTo>
                          <a:lnTo>
                            <a:pt x="2729" y="2290"/>
                          </a:lnTo>
                          <a:lnTo>
                            <a:pt x="2737" y="2285"/>
                          </a:lnTo>
                          <a:lnTo>
                            <a:pt x="2745" y="2284"/>
                          </a:lnTo>
                          <a:lnTo>
                            <a:pt x="2752" y="2283"/>
                          </a:lnTo>
                          <a:lnTo>
                            <a:pt x="2752" y="2283"/>
                          </a:lnTo>
                          <a:lnTo>
                            <a:pt x="2761" y="2284"/>
                          </a:lnTo>
                          <a:lnTo>
                            <a:pt x="2768" y="2285"/>
                          </a:lnTo>
                          <a:lnTo>
                            <a:pt x="2774" y="2288"/>
                          </a:lnTo>
                          <a:lnTo>
                            <a:pt x="2780" y="2291"/>
                          </a:lnTo>
                          <a:lnTo>
                            <a:pt x="2785" y="2295"/>
                          </a:lnTo>
                          <a:lnTo>
                            <a:pt x="2790" y="2299"/>
                          </a:lnTo>
                          <a:lnTo>
                            <a:pt x="2796" y="2307"/>
                          </a:lnTo>
                          <a:lnTo>
                            <a:pt x="2796" y="2403"/>
                          </a:lnTo>
                          <a:lnTo>
                            <a:pt x="2796" y="2403"/>
                          </a:lnTo>
                          <a:lnTo>
                            <a:pt x="2789" y="2412"/>
                          </a:lnTo>
                          <a:lnTo>
                            <a:pt x="2780" y="2419"/>
                          </a:lnTo>
                          <a:lnTo>
                            <a:pt x="2774" y="2423"/>
                          </a:lnTo>
                          <a:lnTo>
                            <a:pt x="2768" y="2425"/>
                          </a:lnTo>
                          <a:lnTo>
                            <a:pt x="2761" y="2426"/>
                          </a:lnTo>
                          <a:lnTo>
                            <a:pt x="2754" y="2427"/>
                          </a:lnTo>
                          <a:lnTo>
                            <a:pt x="2754" y="2427"/>
                          </a:lnTo>
                          <a:close/>
                          <a:moveTo>
                            <a:pt x="740" y="2301"/>
                          </a:moveTo>
                          <a:lnTo>
                            <a:pt x="740" y="2301"/>
                          </a:lnTo>
                          <a:lnTo>
                            <a:pt x="732" y="2296"/>
                          </a:lnTo>
                          <a:lnTo>
                            <a:pt x="722" y="2291"/>
                          </a:lnTo>
                          <a:lnTo>
                            <a:pt x="711" y="2289"/>
                          </a:lnTo>
                          <a:lnTo>
                            <a:pt x="700" y="2288"/>
                          </a:lnTo>
                          <a:lnTo>
                            <a:pt x="700" y="2288"/>
                          </a:lnTo>
                          <a:lnTo>
                            <a:pt x="690" y="2289"/>
                          </a:lnTo>
                          <a:lnTo>
                            <a:pt x="680" y="2291"/>
                          </a:lnTo>
                          <a:lnTo>
                            <a:pt x="673" y="2296"/>
                          </a:lnTo>
                          <a:lnTo>
                            <a:pt x="667" y="2302"/>
                          </a:lnTo>
                          <a:lnTo>
                            <a:pt x="662" y="2310"/>
                          </a:lnTo>
                          <a:lnTo>
                            <a:pt x="660" y="2319"/>
                          </a:lnTo>
                          <a:lnTo>
                            <a:pt x="657" y="2331"/>
                          </a:lnTo>
                          <a:lnTo>
                            <a:pt x="656" y="2345"/>
                          </a:lnTo>
                          <a:lnTo>
                            <a:pt x="656" y="2477"/>
                          </a:lnTo>
                          <a:lnTo>
                            <a:pt x="597" y="2477"/>
                          </a:lnTo>
                          <a:lnTo>
                            <a:pt x="597" y="2233"/>
                          </a:lnTo>
                          <a:lnTo>
                            <a:pt x="656" y="2233"/>
                          </a:lnTo>
                          <a:lnTo>
                            <a:pt x="656" y="2254"/>
                          </a:lnTo>
                          <a:lnTo>
                            <a:pt x="656" y="2254"/>
                          </a:lnTo>
                          <a:lnTo>
                            <a:pt x="662" y="2248"/>
                          </a:lnTo>
                          <a:lnTo>
                            <a:pt x="668" y="2241"/>
                          </a:lnTo>
                          <a:lnTo>
                            <a:pt x="674" y="2238"/>
                          </a:lnTo>
                          <a:lnTo>
                            <a:pt x="682" y="2234"/>
                          </a:lnTo>
                          <a:lnTo>
                            <a:pt x="688" y="2231"/>
                          </a:lnTo>
                          <a:lnTo>
                            <a:pt x="695" y="2229"/>
                          </a:lnTo>
                          <a:lnTo>
                            <a:pt x="704" y="2228"/>
                          </a:lnTo>
                          <a:lnTo>
                            <a:pt x="711" y="2227"/>
                          </a:lnTo>
                          <a:lnTo>
                            <a:pt x="711" y="2227"/>
                          </a:lnTo>
                          <a:lnTo>
                            <a:pt x="723" y="2228"/>
                          </a:lnTo>
                          <a:lnTo>
                            <a:pt x="735" y="2232"/>
                          </a:lnTo>
                          <a:lnTo>
                            <a:pt x="747" y="2237"/>
                          </a:lnTo>
                          <a:lnTo>
                            <a:pt x="757" y="2243"/>
                          </a:lnTo>
                          <a:lnTo>
                            <a:pt x="740" y="2301"/>
                          </a:lnTo>
                          <a:close/>
                          <a:moveTo>
                            <a:pt x="265" y="2233"/>
                          </a:moveTo>
                          <a:lnTo>
                            <a:pt x="324" y="2233"/>
                          </a:lnTo>
                          <a:lnTo>
                            <a:pt x="255" y="2477"/>
                          </a:lnTo>
                          <a:lnTo>
                            <a:pt x="203" y="2477"/>
                          </a:lnTo>
                          <a:lnTo>
                            <a:pt x="176" y="2376"/>
                          </a:lnTo>
                          <a:lnTo>
                            <a:pt x="176" y="2376"/>
                          </a:lnTo>
                          <a:lnTo>
                            <a:pt x="163" y="2323"/>
                          </a:lnTo>
                          <a:lnTo>
                            <a:pt x="163" y="2323"/>
                          </a:lnTo>
                          <a:lnTo>
                            <a:pt x="157" y="2348"/>
                          </a:lnTo>
                          <a:lnTo>
                            <a:pt x="149" y="2378"/>
                          </a:lnTo>
                          <a:lnTo>
                            <a:pt x="122" y="2477"/>
                          </a:lnTo>
                          <a:lnTo>
                            <a:pt x="69" y="2477"/>
                          </a:lnTo>
                          <a:lnTo>
                            <a:pt x="69" y="2476"/>
                          </a:lnTo>
                          <a:lnTo>
                            <a:pt x="0" y="2233"/>
                          </a:lnTo>
                          <a:lnTo>
                            <a:pt x="63" y="2233"/>
                          </a:lnTo>
                          <a:lnTo>
                            <a:pt x="85" y="2324"/>
                          </a:lnTo>
                          <a:lnTo>
                            <a:pt x="85" y="2324"/>
                          </a:lnTo>
                          <a:lnTo>
                            <a:pt x="91" y="2353"/>
                          </a:lnTo>
                          <a:lnTo>
                            <a:pt x="97" y="2384"/>
                          </a:lnTo>
                          <a:lnTo>
                            <a:pt x="97" y="2384"/>
                          </a:lnTo>
                          <a:lnTo>
                            <a:pt x="105" y="2353"/>
                          </a:lnTo>
                          <a:lnTo>
                            <a:pt x="112" y="2323"/>
                          </a:lnTo>
                          <a:lnTo>
                            <a:pt x="137" y="2233"/>
                          </a:lnTo>
                          <a:lnTo>
                            <a:pt x="190" y="2233"/>
                          </a:lnTo>
                          <a:lnTo>
                            <a:pt x="215" y="2323"/>
                          </a:lnTo>
                          <a:lnTo>
                            <a:pt x="215" y="2323"/>
                          </a:lnTo>
                          <a:lnTo>
                            <a:pt x="222" y="2352"/>
                          </a:lnTo>
                          <a:lnTo>
                            <a:pt x="230" y="2385"/>
                          </a:lnTo>
                          <a:lnTo>
                            <a:pt x="230" y="2385"/>
                          </a:lnTo>
                          <a:lnTo>
                            <a:pt x="235" y="2357"/>
                          </a:lnTo>
                          <a:lnTo>
                            <a:pt x="242" y="2323"/>
                          </a:lnTo>
                          <a:lnTo>
                            <a:pt x="265" y="2233"/>
                          </a:lnTo>
                          <a:close/>
                          <a:moveTo>
                            <a:pt x="447" y="2227"/>
                          </a:moveTo>
                          <a:lnTo>
                            <a:pt x="447" y="2227"/>
                          </a:lnTo>
                          <a:lnTo>
                            <a:pt x="436" y="2228"/>
                          </a:lnTo>
                          <a:lnTo>
                            <a:pt x="424" y="2229"/>
                          </a:lnTo>
                          <a:lnTo>
                            <a:pt x="413" y="2233"/>
                          </a:lnTo>
                          <a:lnTo>
                            <a:pt x="403" y="2237"/>
                          </a:lnTo>
                          <a:lnTo>
                            <a:pt x="394" y="2241"/>
                          </a:lnTo>
                          <a:lnTo>
                            <a:pt x="384" y="2248"/>
                          </a:lnTo>
                          <a:lnTo>
                            <a:pt x="375" y="2255"/>
                          </a:lnTo>
                          <a:lnTo>
                            <a:pt x="368" y="2263"/>
                          </a:lnTo>
                          <a:lnTo>
                            <a:pt x="361" y="2272"/>
                          </a:lnTo>
                          <a:lnTo>
                            <a:pt x="355" y="2282"/>
                          </a:lnTo>
                          <a:lnTo>
                            <a:pt x="349" y="2293"/>
                          </a:lnTo>
                          <a:lnTo>
                            <a:pt x="345" y="2303"/>
                          </a:lnTo>
                          <a:lnTo>
                            <a:pt x="341" y="2316"/>
                          </a:lnTo>
                          <a:lnTo>
                            <a:pt x="339" y="2328"/>
                          </a:lnTo>
                          <a:lnTo>
                            <a:pt x="337" y="2341"/>
                          </a:lnTo>
                          <a:lnTo>
                            <a:pt x="337" y="2356"/>
                          </a:lnTo>
                          <a:lnTo>
                            <a:pt x="337" y="2356"/>
                          </a:lnTo>
                          <a:lnTo>
                            <a:pt x="337" y="2369"/>
                          </a:lnTo>
                          <a:lnTo>
                            <a:pt x="339" y="2382"/>
                          </a:lnTo>
                          <a:lnTo>
                            <a:pt x="341" y="2395"/>
                          </a:lnTo>
                          <a:lnTo>
                            <a:pt x="345" y="2407"/>
                          </a:lnTo>
                          <a:lnTo>
                            <a:pt x="349" y="2418"/>
                          </a:lnTo>
                          <a:lnTo>
                            <a:pt x="355" y="2429"/>
                          </a:lnTo>
                          <a:lnTo>
                            <a:pt x="361" y="2438"/>
                          </a:lnTo>
                          <a:lnTo>
                            <a:pt x="368" y="2447"/>
                          </a:lnTo>
                          <a:lnTo>
                            <a:pt x="375" y="2455"/>
                          </a:lnTo>
                          <a:lnTo>
                            <a:pt x="384" y="2463"/>
                          </a:lnTo>
                          <a:lnTo>
                            <a:pt x="394" y="2469"/>
                          </a:lnTo>
                          <a:lnTo>
                            <a:pt x="403" y="2474"/>
                          </a:lnTo>
                          <a:lnTo>
                            <a:pt x="413" y="2477"/>
                          </a:lnTo>
                          <a:lnTo>
                            <a:pt x="424" y="2481"/>
                          </a:lnTo>
                          <a:lnTo>
                            <a:pt x="436" y="2482"/>
                          </a:lnTo>
                          <a:lnTo>
                            <a:pt x="447" y="2483"/>
                          </a:lnTo>
                          <a:lnTo>
                            <a:pt x="447" y="2483"/>
                          </a:lnTo>
                          <a:lnTo>
                            <a:pt x="459" y="2482"/>
                          </a:lnTo>
                          <a:lnTo>
                            <a:pt x="471" y="2481"/>
                          </a:lnTo>
                          <a:lnTo>
                            <a:pt x="482" y="2477"/>
                          </a:lnTo>
                          <a:lnTo>
                            <a:pt x="492" y="2474"/>
                          </a:lnTo>
                          <a:lnTo>
                            <a:pt x="502" y="2469"/>
                          </a:lnTo>
                          <a:lnTo>
                            <a:pt x="512" y="2463"/>
                          </a:lnTo>
                          <a:lnTo>
                            <a:pt x="520" y="2455"/>
                          </a:lnTo>
                          <a:lnTo>
                            <a:pt x="527" y="2447"/>
                          </a:lnTo>
                          <a:lnTo>
                            <a:pt x="535" y="2438"/>
                          </a:lnTo>
                          <a:lnTo>
                            <a:pt x="541" y="2429"/>
                          </a:lnTo>
                          <a:lnTo>
                            <a:pt x="546" y="2418"/>
                          </a:lnTo>
                          <a:lnTo>
                            <a:pt x="550" y="2407"/>
                          </a:lnTo>
                          <a:lnTo>
                            <a:pt x="554" y="2395"/>
                          </a:lnTo>
                          <a:lnTo>
                            <a:pt x="557" y="2382"/>
                          </a:lnTo>
                          <a:lnTo>
                            <a:pt x="559" y="2369"/>
                          </a:lnTo>
                          <a:lnTo>
                            <a:pt x="559" y="2356"/>
                          </a:lnTo>
                          <a:lnTo>
                            <a:pt x="559" y="2356"/>
                          </a:lnTo>
                          <a:lnTo>
                            <a:pt x="559" y="2341"/>
                          </a:lnTo>
                          <a:lnTo>
                            <a:pt x="557" y="2328"/>
                          </a:lnTo>
                          <a:lnTo>
                            <a:pt x="554" y="2316"/>
                          </a:lnTo>
                          <a:lnTo>
                            <a:pt x="550" y="2303"/>
                          </a:lnTo>
                          <a:lnTo>
                            <a:pt x="546" y="2293"/>
                          </a:lnTo>
                          <a:lnTo>
                            <a:pt x="541" y="2282"/>
                          </a:lnTo>
                          <a:lnTo>
                            <a:pt x="535" y="2272"/>
                          </a:lnTo>
                          <a:lnTo>
                            <a:pt x="527" y="2263"/>
                          </a:lnTo>
                          <a:lnTo>
                            <a:pt x="520" y="2255"/>
                          </a:lnTo>
                          <a:lnTo>
                            <a:pt x="512" y="2248"/>
                          </a:lnTo>
                          <a:lnTo>
                            <a:pt x="502" y="2241"/>
                          </a:lnTo>
                          <a:lnTo>
                            <a:pt x="492" y="2237"/>
                          </a:lnTo>
                          <a:lnTo>
                            <a:pt x="482" y="2233"/>
                          </a:lnTo>
                          <a:lnTo>
                            <a:pt x="471" y="2229"/>
                          </a:lnTo>
                          <a:lnTo>
                            <a:pt x="459" y="2228"/>
                          </a:lnTo>
                          <a:lnTo>
                            <a:pt x="447" y="2227"/>
                          </a:lnTo>
                          <a:lnTo>
                            <a:pt x="447" y="2227"/>
                          </a:lnTo>
                          <a:close/>
                          <a:moveTo>
                            <a:pt x="447" y="2426"/>
                          </a:moveTo>
                          <a:lnTo>
                            <a:pt x="447" y="2426"/>
                          </a:lnTo>
                          <a:lnTo>
                            <a:pt x="436" y="2425"/>
                          </a:lnTo>
                          <a:lnTo>
                            <a:pt x="427" y="2421"/>
                          </a:lnTo>
                          <a:lnTo>
                            <a:pt x="419" y="2415"/>
                          </a:lnTo>
                          <a:lnTo>
                            <a:pt x="412" y="2407"/>
                          </a:lnTo>
                          <a:lnTo>
                            <a:pt x="406" y="2397"/>
                          </a:lnTo>
                          <a:lnTo>
                            <a:pt x="401" y="2385"/>
                          </a:lnTo>
                          <a:lnTo>
                            <a:pt x="399" y="2370"/>
                          </a:lnTo>
                          <a:lnTo>
                            <a:pt x="399" y="2356"/>
                          </a:lnTo>
                          <a:lnTo>
                            <a:pt x="399" y="2356"/>
                          </a:lnTo>
                          <a:lnTo>
                            <a:pt x="399" y="2340"/>
                          </a:lnTo>
                          <a:lnTo>
                            <a:pt x="401" y="2325"/>
                          </a:lnTo>
                          <a:lnTo>
                            <a:pt x="406" y="2314"/>
                          </a:lnTo>
                          <a:lnTo>
                            <a:pt x="412" y="2303"/>
                          </a:lnTo>
                          <a:lnTo>
                            <a:pt x="419" y="2295"/>
                          </a:lnTo>
                          <a:lnTo>
                            <a:pt x="427" y="2289"/>
                          </a:lnTo>
                          <a:lnTo>
                            <a:pt x="436" y="2285"/>
                          </a:lnTo>
                          <a:lnTo>
                            <a:pt x="447" y="2284"/>
                          </a:lnTo>
                          <a:lnTo>
                            <a:pt x="447" y="2284"/>
                          </a:lnTo>
                          <a:lnTo>
                            <a:pt x="458" y="2285"/>
                          </a:lnTo>
                          <a:lnTo>
                            <a:pt x="468" y="2289"/>
                          </a:lnTo>
                          <a:lnTo>
                            <a:pt x="476" y="2295"/>
                          </a:lnTo>
                          <a:lnTo>
                            <a:pt x="484" y="2303"/>
                          </a:lnTo>
                          <a:lnTo>
                            <a:pt x="490" y="2314"/>
                          </a:lnTo>
                          <a:lnTo>
                            <a:pt x="493" y="2325"/>
                          </a:lnTo>
                          <a:lnTo>
                            <a:pt x="496" y="2340"/>
                          </a:lnTo>
                          <a:lnTo>
                            <a:pt x="497" y="2356"/>
                          </a:lnTo>
                          <a:lnTo>
                            <a:pt x="497" y="2356"/>
                          </a:lnTo>
                          <a:lnTo>
                            <a:pt x="496" y="2370"/>
                          </a:lnTo>
                          <a:lnTo>
                            <a:pt x="493" y="2385"/>
                          </a:lnTo>
                          <a:lnTo>
                            <a:pt x="490" y="2397"/>
                          </a:lnTo>
                          <a:lnTo>
                            <a:pt x="484" y="2407"/>
                          </a:lnTo>
                          <a:lnTo>
                            <a:pt x="476" y="2415"/>
                          </a:lnTo>
                          <a:lnTo>
                            <a:pt x="468" y="2421"/>
                          </a:lnTo>
                          <a:lnTo>
                            <a:pt x="458" y="2425"/>
                          </a:lnTo>
                          <a:lnTo>
                            <a:pt x="447" y="2426"/>
                          </a:lnTo>
                          <a:lnTo>
                            <a:pt x="447" y="2426"/>
                          </a:lnTo>
                          <a:close/>
                          <a:moveTo>
                            <a:pt x="2498" y="2301"/>
                          </a:moveTo>
                          <a:lnTo>
                            <a:pt x="2498" y="2301"/>
                          </a:lnTo>
                          <a:lnTo>
                            <a:pt x="2489" y="2296"/>
                          </a:lnTo>
                          <a:lnTo>
                            <a:pt x="2479" y="2291"/>
                          </a:lnTo>
                          <a:lnTo>
                            <a:pt x="2468" y="2289"/>
                          </a:lnTo>
                          <a:lnTo>
                            <a:pt x="2458" y="2288"/>
                          </a:lnTo>
                          <a:lnTo>
                            <a:pt x="2458" y="2288"/>
                          </a:lnTo>
                          <a:lnTo>
                            <a:pt x="2447" y="2289"/>
                          </a:lnTo>
                          <a:lnTo>
                            <a:pt x="2439" y="2291"/>
                          </a:lnTo>
                          <a:lnTo>
                            <a:pt x="2432" y="2296"/>
                          </a:lnTo>
                          <a:lnTo>
                            <a:pt x="2425" y="2302"/>
                          </a:lnTo>
                          <a:lnTo>
                            <a:pt x="2421" y="2310"/>
                          </a:lnTo>
                          <a:lnTo>
                            <a:pt x="2417" y="2319"/>
                          </a:lnTo>
                          <a:lnTo>
                            <a:pt x="2415" y="2331"/>
                          </a:lnTo>
                          <a:lnTo>
                            <a:pt x="2415" y="2345"/>
                          </a:lnTo>
                          <a:lnTo>
                            <a:pt x="2415" y="2477"/>
                          </a:lnTo>
                          <a:lnTo>
                            <a:pt x="2354" y="2477"/>
                          </a:lnTo>
                          <a:lnTo>
                            <a:pt x="2354" y="2233"/>
                          </a:lnTo>
                          <a:lnTo>
                            <a:pt x="2415" y="2233"/>
                          </a:lnTo>
                          <a:lnTo>
                            <a:pt x="2415" y="2254"/>
                          </a:lnTo>
                          <a:lnTo>
                            <a:pt x="2415" y="2254"/>
                          </a:lnTo>
                          <a:lnTo>
                            <a:pt x="2419" y="2248"/>
                          </a:lnTo>
                          <a:lnTo>
                            <a:pt x="2425" y="2241"/>
                          </a:lnTo>
                          <a:lnTo>
                            <a:pt x="2432" y="2238"/>
                          </a:lnTo>
                          <a:lnTo>
                            <a:pt x="2439" y="2234"/>
                          </a:lnTo>
                          <a:lnTo>
                            <a:pt x="2446" y="2231"/>
                          </a:lnTo>
                          <a:lnTo>
                            <a:pt x="2453" y="2229"/>
                          </a:lnTo>
                          <a:lnTo>
                            <a:pt x="2461" y="2228"/>
                          </a:lnTo>
                          <a:lnTo>
                            <a:pt x="2468" y="2227"/>
                          </a:lnTo>
                          <a:lnTo>
                            <a:pt x="2468" y="2227"/>
                          </a:lnTo>
                          <a:lnTo>
                            <a:pt x="2480" y="2228"/>
                          </a:lnTo>
                          <a:lnTo>
                            <a:pt x="2492" y="2232"/>
                          </a:lnTo>
                          <a:lnTo>
                            <a:pt x="2504" y="2237"/>
                          </a:lnTo>
                          <a:lnTo>
                            <a:pt x="2514" y="2243"/>
                          </a:lnTo>
                          <a:lnTo>
                            <a:pt x="2498" y="2301"/>
                          </a:lnTo>
                          <a:close/>
                          <a:moveTo>
                            <a:pt x="2022" y="2233"/>
                          </a:moveTo>
                          <a:lnTo>
                            <a:pt x="2082" y="2233"/>
                          </a:lnTo>
                          <a:lnTo>
                            <a:pt x="2012" y="2477"/>
                          </a:lnTo>
                          <a:lnTo>
                            <a:pt x="1960" y="2477"/>
                          </a:lnTo>
                          <a:lnTo>
                            <a:pt x="1933" y="2376"/>
                          </a:lnTo>
                          <a:lnTo>
                            <a:pt x="1933" y="2376"/>
                          </a:lnTo>
                          <a:lnTo>
                            <a:pt x="1920" y="2323"/>
                          </a:lnTo>
                          <a:lnTo>
                            <a:pt x="1920" y="2323"/>
                          </a:lnTo>
                          <a:lnTo>
                            <a:pt x="1914" y="2348"/>
                          </a:lnTo>
                          <a:lnTo>
                            <a:pt x="1907" y="2378"/>
                          </a:lnTo>
                          <a:lnTo>
                            <a:pt x="1880" y="2477"/>
                          </a:lnTo>
                          <a:lnTo>
                            <a:pt x="1828" y="2477"/>
                          </a:lnTo>
                          <a:lnTo>
                            <a:pt x="1826" y="2476"/>
                          </a:lnTo>
                          <a:lnTo>
                            <a:pt x="1758" y="2233"/>
                          </a:lnTo>
                          <a:lnTo>
                            <a:pt x="1820" y="2233"/>
                          </a:lnTo>
                          <a:lnTo>
                            <a:pt x="1843" y="2324"/>
                          </a:lnTo>
                          <a:lnTo>
                            <a:pt x="1843" y="2324"/>
                          </a:lnTo>
                          <a:lnTo>
                            <a:pt x="1849" y="2353"/>
                          </a:lnTo>
                          <a:lnTo>
                            <a:pt x="1856" y="2384"/>
                          </a:lnTo>
                          <a:lnTo>
                            <a:pt x="1856" y="2384"/>
                          </a:lnTo>
                          <a:lnTo>
                            <a:pt x="1862" y="2353"/>
                          </a:lnTo>
                          <a:lnTo>
                            <a:pt x="1870" y="2323"/>
                          </a:lnTo>
                          <a:lnTo>
                            <a:pt x="1896" y="2233"/>
                          </a:lnTo>
                          <a:lnTo>
                            <a:pt x="1947" y="2233"/>
                          </a:lnTo>
                          <a:lnTo>
                            <a:pt x="1972" y="2323"/>
                          </a:lnTo>
                          <a:lnTo>
                            <a:pt x="1972" y="2323"/>
                          </a:lnTo>
                          <a:lnTo>
                            <a:pt x="1979" y="2352"/>
                          </a:lnTo>
                          <a:lnTo>
                            <a:pt x="1987" y="2385"/>
                          </a:lnTo>
                          <a:lnTo>
                            <a:pt x="1987" y="2385"/>
                          </a:lnTo>
                          <a:lnTo>
                            <a:pt x="1993" y="2357"/>
                          </a:lnTo>
                          <a:lnTo>
                            <a:pt x="2000" y="2323"/>
                          </a:lnTo>
                          <a:lnTo>
                            <a:pt x="2022" y="2233"/>
                          </a:lnTo>
                          <a:close/>
                          <a:moveTo>
                            <a:pt x="2204" y="2227"/>
                          </a:moveTo>
                          <a:lnTo>
                            <a:pt x="2204" y="2227"/>
                          </a:lnTo>
                          <a:lnTo>
                            <a:pt x="2193" y="2228"/>
                          </a:lnTo>
                          <a:lnTo>
                            <a:pt x="2181" y="2229"/>
                          </a:lnTo>
                          <a:lnTo>
                            <a:pt x="2170" y="2233"/>
                          </a:lnTo>
                          <a:lnTo>
                            <a:pt x="2161" y="2237"/>
                          </a:lnTo>
                          <a:lnTo>
                            <a:pt x="2151" y="2241"/>
                          </a:lnTo>
                          <a:lnTo>
                            <a:pt x="2141" y="2249"/>
                          </a:lnTo>
                          <a:lnTo>
                            <a:pt x="2133" y="2255"/>
                          </a:lnTo>
                          <a:lnTo>
                            <a:pt x="2125" y="2263"/>
                          </a:lnTo>
                          <a:lnTo>
                            <a:pt x="2118" y="2272"/>
                          </a:lnTo>
                          <a:lnTo>
                            <a:pt x="2112" y="2282"/>
                          </a:lnTo>
                          <a:lnTo>
                            <a:pt x="2106" y="2293"/>
                          </a:lnTo>
                          <a:lnTo>
                            <a:pt x="2102" y="2303"/>
                          </a:lnTo>
                          <a:lnTo>
                            <a:pt x="2099" y="2316"/>
                          </a:lnTo>
                          <a:lnTo>
                            <a:pt x="2095" y="2329"/>
                          </a:lnTo>
                          <a:lnTo>
                            <a:pt x="2094" y="2341"/>
                          </a:lnTo>
                          <a:lnTo>
                            <a:pt x="2094" y="2356"/>
                          </a:lnTo>
                          <a:lnTo>
                            <a:pt x="2094" y="2356"/>
                          </a:lnTo>
                          <a:lnTo>
                            <a:pt x="2094" y="2369"/>
                          </a:lnTo>
                          <a:lnTo>
                            <a:pt x="2095" y="2382"/>
                          </a:lnTo>
                          <a:lnTo>
                            <a:pt x="2099" y="2395"/>
                          </a:lnTo>
                          <a:lnTo>
                            <a:pt x="2102" y="2407"/>
                          </a:lnTo>
                          <a:lnTo>
                            <a:pt x="2106" y="2418"/>
                          </a:lnTo>
                          <a:lnTo>
                            <a:pt x="2112" y="2429"/>
                          </a:lnTo>
                          <a:lnTo>
                            <a:pt x="2118" y="2438"/>
                          </a:lnTo>
                          <a:lnTo>
                            <a:pt x="2125" y="2447"/>
                          </a:lnTo>
                          <a:lnTo>
                            <a:pt x="2133" y="2455"/>
                          </a:lnTo>
                          <a:lnTo>
                            <a:pt x="2141" y="2463"/>
                          </a:lnTo>
                          <a:lnTo>
                            <a:pt x="2151" y="2469"/>
                          </a:lnTo>
                          <a:lnTo>
                            <a:pt x="2161" y="2474"/>
                          </a:lnTo>
                          <a:lnTo>
                            <a:pt x="2170" y="2477"/>
                          </a:lnTo>
                          <a:lnTo>
                            <a:pt x="2181" y="2481"/>
                          </a:lnTo>
                          <a:lnTo>
                            <a:pt x="2193" y="2482"/>
                          </a:lnTo>
                          <a:lnTo>
                            <a:pt x="2204" y="2483"/>
                          </a:lnTo>
                          <a:lnTo>
                            <a:pt x="2204" y="2483"/>
                          </a:lnTo>
                          <a:lnTo>
                            <a:pt x="2216" y="2482"/>
                          </a:lnTo>
                          <a:lnTo>
                            <a:pt x="2229" y="2481"/>
                          </a:lnTo>
                          <a:lnTo>
                            <a:pt x="2240" y="2477"/>
                          </a:lnTo>
                          <a:lnTo>
                            <a:pt x="2249" y="2474"/>
                          </a:lnTo>
                          <a:lnTo>
                            <a:pt x="2259" y="2469"/>
                          </a:lnTo>
                          <a:lnTo>
                            <a:pt x="2269" y="2463"/>
                          </a:lnTo>
                          <a:lnTo>
                            <a:pt x="2277" y="2455"/>
                          </a:lnTo>
                          <a:lnTo>
                            <a:pt x="2284" y="2447"/>
                          </a:lnTo>
                          <a:lnTo>
                            <a:pt x="2292" y="2438"/>
                          </a:lnTo>
                          <a:lnTo>
                            <a:pt x="2298" y="2429"/>
                          </a:lnTo>
                          <a:lnTo>
                            <a:pt x="2303" y="2418"/>
                          </a:lnTo>
                          <a:lnTo>
                            <a:pt x="2308" y="2407"/>
                          </a:lnTo>
                          <a:lnTo>
                            <a:pt x="2311" y="2395"/>
                          </a:lnTo>
                          <a:lnTo>
                            <a:pt x="2314" y="2382"/>
                          </a:lnTo>
                          <a:lnTo>
                            <a:pt x="2316" y="2369"/>
                          </a:lnTo>
                          <a:lnTo>
                            <a:pt x="2316" y="2356"/>
                          </a:lnTo>
                          <a:lnTo>
                            <a:pt x="2316" y="2356"/>
                          </a:lnTo>
                          <a:lnTo>
                            <a:pt x="2316" y="2341"/>
                          </a:lnTo>
                          <a:lnTo>
                            <a:pt x="2314" y="2329"/>
                          </a:lnTo>
                          <a:lnTo>
                            <a:pt x="2311" y="2316"/>
                          </a:lnTo>
                          <a:lnTo>
                            <a:pt x="2308" y="2303"/>
                          </a:lnTo>
                          <a:lnTo>
                            <a:pt x="2303" y="2293"/>
                          </a:lnTo>
                          <a:lnTo>
                            <a:pt x="2298" y="2282"/>
                          </a:lnTo>
                          <a:lnTo>
                            <a:pt x="2292" y="2272"/>
                          </a:lnTo>
                          <a:lnTo>
                            <a:pt x="2284" y="2263"/>
                          </a:lnTo>
                          <a:lnTo>
                            <a:pt x="2277" y="2255"/>
                          </a:lnTo>
                          <a:lnTo>
                            <a:pt x="2269" y="2249"/>
                          </a:lnTo>
                          <a:lnTo>
                            <a:pt x="2259" y="2241"/>
                          </a:lnTo>
                          <a:lnTo>
                            <a:pt x="2249" y="2237"/>
                          </a:lnTo>
                          <a:lnTo>
                            <a:pt x="2240" y="2233"/>
                          </a:lnTo>
                          <a:lnTo>
                            <a:pt x="2229" y="2229"/>
                          </a:lnTo>
                          <a:lnTo>
                            <a:pt x="2216" y="2228"/>
                          </a:lnTo>
                          <a:lnTo>
                            <a:pt x="2204" y="2227"/>
                          </a:lnTo>
                          <a:lnTo>
                            <a:pt x="2204" y="2227"/>
                          </a:lnTo>
                          <a:close/>
                          <a:moveTo>
                            <a:pt x="2204" y="2426"/>
                          </a:moveTo>
                          <a:lnTo>
                            <a:pt x="2204" y="2426"/>
                          </a:lnTo>
                          <a:lnTo>
                            <a:pt x="2193" y="2425"/>
                          </a:lnTo>
                          <a:lnTo>
                            <a:pt x="2185" y="2421"/>
                          </a:lnTo>
                          <a:lnTo>
                            <a:pt x="2176" y="2415"/>
                          </a:lnTo>
                          <a:lnTo>
                            <a:pt x="2169" y="2407"/>
                          </a:lnTo>
                          <a:lnTo>
                            <a:pt x="2163" y="2397"/>
                          </a:lnTo>
                          <a:lnTo>
                            <a:pt x="2158" y="2385"/>
                          </a:lnTo>
                          <a:lnTo>
                            <a:pt x="2156" y="2370"/>
                          </a:lnTo>
                          <a:lnTo>
                            <a:pt x="2156" y="2356"/>
                          </a:lnTo>
                          <a:lnTo>
                            <a:pt x="2156" y="2356"/>
                          </a:lnTo>
                          <a:lnTo>
                            <a:pt x="2156" y="2340"/>
                          </a:lnTo>
                          <a:lnTo>
                            <a:pt x="2158" y="2327"/>
                          </a:lnTo>
                          <a:lnTo>
                            <a:pt x="2163" y="2314"/>
                          </a:lnTo>
                          <a:lnTo>
                            <a:pt x="2169" y="2303"/>
                          </a:lnTo>
                          <a:lnTo>
                            <a:pt x="2176" y="2295"/>
                          </a:lnTo>
                          <a:lnTo>
                            <a:pt x="2185" y="2289"/>
                          </a:lnTo>
                          <a:lnTo>
                            <a:pt x="2193" y="2285"/>
                          </a:lnTo>
                          <a:lnTo>
                            <a:pt x="2204" y="2284"/>
                          </a:lnTo>
                          <a:lnTo>
                            <a:pt x="2204" y="2284"/>
                          </a:lnTo>
                          <a:lnTo>
                            <a:pt x="2215" y="2285"/>
                          </a:lnTo>
                          <a:lnTo>
                            <a:pt x="2225" y="2289"/>
                          </a:lnTo>
                          <a:lnTo>
                            <a:pt x="2233" y="2295"/>
                          </a:lnTo>
                          <a:lnTo>
                            <a:pt x="2241" y="2303"/>
                          </a:lnTo>
                          <a:lnTo>
                            <a:pt x="2247" y="2314"/>
                          </a:lnTo>
                          <a:lnTo>
                            <a:pt x="2250" y="2327"/>
                          </a:lnTo>
                          <a:lnTo>
                            <a:pt x="2253" y="2340"/>
                          </a:lnTo>
                          <a:lnTo>
                            <a:pt x="2254" y="2356"/>
                          </a:lnTo>
                          <a:lnTo>
                            <a:pt x="2254" y="2356"/>
                          </a:lnTo>
                          <a:lnTo>
                            <a:pt x="2253" y="2370"/>
                          </a:lnTo>
                          <a:lnTo>
                            <a:pt x="2250" y="2385"/>
                          </a:lnTo>
                          <a:lnTo>
                            <a:pt x="2247" y="2397"/>
                          </a:lnTo>
                          <a:lnTo>
                            <a:pt x="2241" y="2407"/>
                          </a:lnTo>
                          <a:lnTo>
                            <a:pt x="2233" y="2415"/>
                          </a:lnTo>
                          <a:lnTo>
                            <a:pt x="2225" y="2421"/>
                          </a:lnTo>
                          <a:lnTo>
                            <a:pt x="2215" y="2425"/>
                          </a:lnTo>
                          <a:lnTo>
                            <a:pt x="2204" y="2426"/>
                          </a:lnTo>
                          <a:lnTo>
                            <a:pt x="2204" y="2426"/>
                          </a:lnTo>
                          <a:close/>
                          <a:moveTo>
                            <a:pt x="921" y="2313"/>
                          </a:moveTo>
                          <a:lnTo>
                            <a:pt x="995" y="2477"/>
                          </a:lnTo>
                          <a:lnTo>
                            <a:pt x="928" y="2477"/>
                          </a:lnTo>
                          <a:lnTo>
                            <a:pt x="877" y="2364"/>
                          </a:lnTo>
                          <a:lnTo>
                            <a:pt x="845" y="2404"/>
                          </a:lnTo>
                          <a:lnTo>
                            <a:pt x="845" y="2477"/>
                          </a:lnTo>
                          <a:lnTo>
                            <a:pt x="785" y="2477"/>
                          </a:lnTo>
                          <a:lnTo>
                            <a:pt x="785" y="2161"/>
                          </a:lnTo>
                          <a:lnTo>
                            <a:pt x="845" y="2131"/>
                          </a:lnTo>
                          <a:lnTo>
                            <a:pt x="845" y="2327"/>
                          </a:lnTo>
                          <a:lnTo>
                            <a:pt x="845" y="2327"/>
                          </a:lnTo>
                          <a:lnTo>
                            <a:pt x="868" y="2295"/>
                          </a:lnTo>
                          <a:lnTo>
                            <a:pt x="916" y="2233"/>
                          </a:lnTo>
                          <a:lnTo>
                            <a:pt x="987" y="2233"/>
                          </a:lnTo>
                          <a:lnTo>
                            <a:pt x="921" y="2313"/>
                          </a:lnTo>
                          <a:close/>
                          <a:moveTo>
                            <a:pt x="1208" y="2477"/>
                          </a:moveTo>
                          <a:lnTo>
                            <a:pt x="1147" y="2477"/>
                          </a:lnTo>
                          <a:lnTo>
                            <a:pt x="1147" y="2233"/>
                          </a:lnTo>
                          <a:lnTo>
                            <a:pt x="1208" y="2233"/>
                          </a:lnTo>
                          <a:lnTo>
                            <a:pt x="1208" y="2254"/>
                          </a:lnTo>
                          <a:lnTo>
                            <a:pt x="1208" y="2254"/>
                          </a:lnTo>
                          <a:lnTo>
                            <a:pt x="1214" y="2248"/>
                          </a:lnTo>
                          <a:lnTo>
                            <a:pt x="1220" y="2243"/>
                          </a:lnTo>
                          <a:lnTo>
                            <a:pt x="1227" y="2238"/>
                          </a:lnTo>
                          <a:lnTo>
                            <a:pt x="1235" y="2234"/>
                          </a:lnTo>
                          <a:lnTo>
                            <a:pt x="1243" y="2232"/>
                          </a:lnTo>
                          <a:lnTo>
                            <a:pt x="1252" y="2229"/>
                          </a:lnTo>
                          <a:lnTo>
                            <a:pt x="1260" y="2228"/>
                          </a:lnTo>
                          <a:lnTo>
                            <a:pt x="1270" y="2227"/>
                          </a:lnTo>
                          <a:lnTo>
                            <a:pt x="1270" y="2227"/>
                          </a:lnTo>
                          <a:lnTo>
                            <a:pt x="1281" y="2228"/>
                          </a:lnTo>
                          <a:lnTo>
                            <a:pt x="1290" y="2229"/>
                          </a:lnTo>
                          <a:lnTo>
                            <a:pt x="1299" y="2232"/>
                          </a:lnTo>
                          <a:lnTo>
                            <a:pt x="1309" y="2234"/>
                          </a:lnTo>
                          <a:lnTo>
                            <a:pt x="1316" y="2239"/>
                          </a:lnTo>
                          <a:lnTo>
                            <a:pt x="1323" y="2244"/>
                          </a:lnTo>
                          <a:lnTo>
                            <a:pt x="1331" y="2249"/>
                          </a:lnTo>
                          <a:lnTo>
                            <a:pt x="1337" y="2256"/>
                          </a:lnTo>
                          <a:lnTo>
                            <a:pt x="1342" y="2263"/>
                          </a:lnTo>
                          <a:lnTo>
                            <a:pt x="1346" y="2272"/>
                          </a:lnTo>
                          <a:lnTo>
                            <a:pt x="1350" y="2280"/>
                          </a:lnTo>
                          <a:lnTo>
                            <a:pt x="1354" y="2291"/>
                          </a:lnTo>
                          <a:lnTo>
                            <a:pt x="1356" y="2302"/>
                          </a:lnTo>
                          <a:lnTo>
                            <a:pt x="1357" y="2313"/>
                          </a:lnTo>
                          <a:lnTo>
                            <a:pt x="1359" y="2325"/>
                          </a:lnTo>
                          <a:lnTo>
                            <a:pt x="1360" y="2339"/>
                          </a:lnTo>
                          <a:lnTo>
                            <a:pt x="1360" y="2477"/>
                          </a:lnTo>
                          <a:lnTo>
                            <a:pt x="1299" y="2477"/>
                          </a:lnTo>
                          <a:lnTo>
                            <a:pt x="1299" y="2342"/>
                          </a:lnTo>
                          <a:lnTo>
                            <a:pt x="1299" y="2342"/>
                          </a:lnTo>
                          <a:lnTo>
                            <a:pt x="1298" y="2329"/>
                          </a:lnTo>
                          <a:lnTo>
                            <a:pt x="1297" y="2316"/>
                          </a:lnTo>
                          <a:lnTo>
                            <a:pt x="1293" y="2306"/>
                          </a:lnTo>
                          <a:lnTo>
                            <a:pt x="1288" y="2297"/>
                          </a:lnTo>
                          <a:lnTo>
                            <a:pt x="1282" y="2291"/>
                          </a:lnTo>
                          <a:lnTo>
                            <a:pt x="1275" y="2286"/>
                          </a:lnTo>
                          <a:lnTo>
                            <a:pt x="1265" y="2284"/>
                          </a:lnTo>
                          <a:lnTo>
                            <a:pt x="1254" y="2283"/>
                          </a:lnTo>
                          <a:lnTo>
                            <a:pt x="1254" y="2283"/>
                          </a:lnTo>
                          <a:lnTo>
                            <a:pt x="1244" y="2284"/>
                          </a:lnTo>
                          <a:lnTo>
                            <a:pt x="1235" y="2286"/>
                          </a:lnTo>
                          <a:lnTo>
                            <a:pt x="1226" y="2291"/>
                          </a:lnTo>
                          <a:lnTo>
                            <a:pt x="1220" y="2299"/>
                          </a:lnTo>
                          <a:lnTo>
                            <a:pt x="1215" y="2306"/>
                          </a:lnTo>
                          <a:lnTo>
                            <a:pt x="1212" y="2317"/>
                          </a:lnTo>
                          <a:lnTo>
                            <a:pt x="1209" y="2329"/>
                          </a:lnTo>
                          <a:lnTo>
                            <a:pt x="1208" y="2342"/>
                          </a:lnTo>
                          <a:lnTo>
                            <a:pt x="1208" y="2477"/>
                          </a:lnTo>
                          <a:close/>
                          <a:moveTo>
                            <a:pt x="1551" y="2250"/>
                          </a:moveTo>
                          <a:lnTo>
                            <a:pt x="1551" y="2250"/>
                          </a:lnTo>
                          <a:lnTo>
                            <a:pt x="1544" y="2245"/>
                          </a:lnTo>
                          <a:lnTo>
                            <a:pt x="1538" y="2240"/>
                          </a:lnTo>
                          <a:lnTo>
                            <a:pt x="1532" y="2237"/>
                          </a:lnTo>
                          <a:lnTo>
                            <a:pt x="1525" y="2233"/>
                          </a:lnTo>
                          <a:lnTo>
                            <a:pt x="1518" y="2231"/>
                          </a:lnTo>
                          <a:lnTo>
                            <a:pt x="1510" y="2229"/>
                          </a:lnTo>
                          <a:lnTo>
                            <a:pt x="1503" y="2228"/>
                          </a:lnTo>
                          <a:lnTo>
                            <a:pt x="1496" y="2227"/>
                          </a:lnTo>
                          <a:lnTo>
                            <a:pt x="1496" y="2227"/>
                          </a:lnTo>
                          <a:lnTo>
                            <a:pt x="1485" y="2228"/>
                          </a:lnTo>
                          <a:lnTo>
                            <a:pt x="1475" y="2229"/>
                          </a:lnTo>
                          <a:lnTo>
                            <a:pt x="1465" y="2232"/>
                          </a:lnTo>
                          <a:lnTo>
                            <a:pt x="1456" y="2237"/>
                          </a:lnTo>
                          <a:lnTo>
                            <a:pt x="1447" y="2240"/>
                          </a:lnTo>
                          <a:lnTo>
                            <a:pt x="1440" y="2246"/>
                          </a:lnTo>
                          <a:lnTo>
                            <a:pt x="1433" y="2254"/>
                          </a:lnTo>
                          <a:lnTo>
                            <a:pt x="1425" y="2261"/>
                          </a:lnTo>
                          <a:lnTo>
                            <a:pt x="1419" y="2269"/>
                          </a:lnTo>
                          <a:lnTo>
                            <a:pt x="1414" y="2279"/>
                          </a:lnTo>
                          <a:lnTo>
                            <a:pt x="1410" y="2289"/>
                          </a:lnTo>
                          <a:lnTo>
                            <a:pt x="1406" y="2301"/>
                          </a:lnTo>
                          <a:lnTo>
                            <a:pt x="1404" y="2312"/>
                          </a:lnTo>
                          <a:lnTo>
                            <a:pt x="1401" y="2325"/>
                          </a:lnTo>
                          <a:lnTo>
                            <a:pt x="1400" y="2339"/>
                          </a:lnTo>
                          <a:lnTo>
                            <a:pt x="1400" y="2352"/>
                          </a:lnTo>
                          <a:lnTo>
                            <a:pt x="1400" y="2352"/>
                          </a:lnTo>
                          <a:lnTo>
                            <a:pt x="1400" y="2368"/>
                          </a:lnTo>
                          <a:lnTo>
                            <a:pt x="1401" y="2381"/>
                          </a:lnTo>
                          <a:lnTo>
                            <a:pt x="1404" y="2395"/>
                          </a:lnTo>
                          <a:lnTo>
                            <a:pt x="1406" y="2408"/>
                          </a:lnTo>
                          <a:lnTo>
                            <a:pt x="1410" y="2419"/>
                          </a:lnTo>
                          <a:lnTo>
                            <a:pt x="1414" y="2430"/>
                          </a:lnTo>
                          <a:lnTo>
                            <a:pt x="1419" y="2440"/>
                          </a:lnTo>
                          <a:lnTo>
                            <a:pt x="1425" y="2448"/>
                          </a:lnTo>
                          <a:lnTo>
                            <a:pt x="1431" y="2457"/>
                          </a:lnTo>
                          <a:lnTo>
                            <a:pt x="1439" y="2463"/>
                          </a:lnTo>
                          <a:lnTo>
                            <a:pt x="1446" y="2469"/>
                          </a:lnTo>
                          <a:lnTo>
                            <a:pt x="1455" y="2474"/>
                          </a:lnTo>
                          <a:lnTo>
                            <a:pt x="1464" y="2477"/>
                          </a:lnTo>
                          <a:lnTo>
                            <a:pt x="1474" y="2481"/>
                          </a:lnTo>
                          <a:lnTo>
                            <a:pt x="1484" y="2482"/>
                          </a:lnTo>
                          <a:lnTo>
                            <a:pt x="1495" y="2483"/>
                          </a:lnTo>
                          <a:lnTo>
                            <a:pt x="1495" y="2483"/>
                          </a:lnTo>
                          <a:lnTo>
                            <a:pt x="1502" y="2482"/>
                          </a:lnTo>
                          <a:lnTo>
                            <a:pt x="1510" y="2481"/>
                          </a:lnTo>
                          <a:lnTo>
                            <a:pt x="1518" y="2480"/>
                          </a:lnTo>
                          <a:lnTo>
                            <a:pt x="1525" y="2477"/>
                          </a:lnTo>
                          <a:lnTo>
                            <a:pt x="1531" y="2474"/>
                          </a:lnTo>
                          <a:lnTo>
                            <a:pt x="1538" y="2470"/>
                          </a:lnTo>
                          <a:lnTo>
                            <a:pt x="1544" y="2465"/>
                          </a:lnTo>
                          <a:lnTo>
                            <a:pt x="1551" y="2459"/>
                          </a:lnTo>
                          <a:lnTo>
                            <a:pt x="1551" y="2465"/>
                          </a:lnTo>
                          <a:lnTo>
                            <a:pt x="1551" y="2465"/>
                          </a:lnTo>
                          <a:lnTo>
                            <a:pt x="1551" y="2475"/>
                          </a:lnTo>
                          <a:lnTo>
                            <a:pt x="1549" y="2486"/>
                          </a:lnTo>
                          <a:lnTo>
                            <a:pt x="1546" y="2497"/>
                          </a:lnTo>
                          <a:lnTo>
                            <a:pt x="1543" y="2502"/>
                          </a:lnTo>
                          <a:lnTo>
                            <a:pt x="1541" y="2506"/>
                          </a:lnTo>
                          <a:lnTo>
                            <a:pt x="1536" y="2511"/>
                          </a:lnTo>
                          <a:lnTo>
                            <a:pt x="1531" y="2516"/>
                          </a:lnTo>
                          <a:lnTo>
                            <a:pt x="1525" y="2520"/>
                          </a:lnTo>
                          <a:lnTo>
                            <a:pt x="1518" y="2524"/>
                          </a:lnTo>
                          <a:lnTo>
                            <a:pt x="1508" y="2526"/>
                          </a:lnTo>
                          <a:lnTo>
                            <a:pt x="1498" y="2528"/>
                          </a:lnTo>
                          <a:lnTo>
                            <a:pt x="1486" y="2530"/>
                          </a:lnTo>
                          <a:lnTo>
                            <a:pt x="1472" y="2530"/>
                          </a:lnTo>
                          <a:lnTo>
                            <a:pt x="1469" y="2530"/>
                          </a:lnTo>
                          <a:lnTo>
                            <a:pt x="1491" y="2577"/>
                          </a:lnTo>
                          <a:lnTo>
                            <a:pt x="1492" y="2577"/>
                          </a:lnTo>
                          <a:lnTo>
                            <a:pt x="1492" y="2577"/>
                          </a:lnTo>
                          <a:lnTo>
                            <a:pt x="1507" y="2577"/>
                          </a:lnTo>
                          <a:lnTo>
                            <a:pt x="1520" y="2576"/>
                          </a:lnTo>
                          <a:lnTo>
                            <a:pt x="1532" y="2572"/>
                          </a:lnTo>
                          <a:lnTo>
                            <a:pt x="1544" y="2570"/>
                          </a:lnTo>
                          <a:lnTo>
                            <a:pt x="1555" y="2565"/>
                          </a:lnTo>
                          <a:lnTo>
                            <a:pt x="1565" y="2560"/>
                          </a:lnTo>
                          <a:lnTo>
                            <a:pt x="1574" y="2554"/>
                          </a:lnTo>
                          <a:lnTo>
                            <a:pt x="1581" y="2547"/>
                          </a:lnTo>
                          <a:lnTo>
                            <a:pt x="1588" y="2538"/>
                          </a:lnTo>
                          <a:lnTo>
                            <a:pt x="1594" y="2530"/>
                          </a:lnTo>
                          <a:lnTo>
                            <a:pt x="1599" y="2519"/>
                          </a:lnTo>
                          <a:lnTo>
                            <a:pt x="1603" y="2508"/>
                          </a:lnTo>
                          <a:lnTo>
                            <a:pt x="1606" y="2497"/>
                          </a:lnTo>
                          <a:lnTo>
                            <a:pt x="1609" y="2483"/>
                          </a:lnTo>
                          <a:lnTo>
                            <a:pt x="1610" y="2470"/>
                          </a:lnTo>
                          <a:lnTo>
                            <a:pt x="1610" y="2455"/>
                          </a:lnTo>
                          <a:lnTo>
                            <a:pt x="1610" y="2233"/>
                          </a:lnTo>
                          <a:lnTo>
                            <a:pt x="1551" y="2233"/>
                          </a:lnTo>
                          <a:lnTo>
                            <a:pt x="1551" y="2250"/>
                          </a:lnTo>
                          <a:close/>
                          <a:moveTo>
                            <a:pt x="1551" y="2307"/>
                          </a:moveTo>
                          <a:lnTo>
                            <a:pt x="1551" y="2403"/>
                          </a:lnTo>
                          <a:lnTo>
                            <a:pt x="1551" y="2403"/>
                          </a:lnTo>
                          <a:lnTo>
                            <a:pt x="1542" y="2412"/>
                          </a:lnTo>
                          <a:lnTo>
                            <a:pt x="1534" y="2420"/>
                          </a:lnTo>
                          <a:lnTo>
                            <a:pt x="1527" y="2423"/>
                          </a:lnTo>
                          <a:lnTo>
                            <a:pt x="1521" y="2425"/>
                          </a:lnTo>
                          <a:lnTo>
                            <a:pt x="1515" y="2426"/>
                          </a:lnTo>
                          <a:lnTo>
                            <a:pt x="1507" y="2427"/>
                          </a:lnTo>
                          <a:lnTo>
                            <a:pt x="1507" y="2427"/>
                          </a:lnTo>
                          <a:lnTo>
                            <a:pt x="1499" y="2426"/>
                          </a:lnTo>
                          <a:lnTo>
                            <a:pt x="1491" y="2424"/>
                          </a:lnTo>
                          <a:lnTo>
                            <a:pt x="1484" y="2420"/>
                          </a:lnTo>
                          <a:lnTo>
                            <a:pt x="1476" y="2413"/>
                          </a:lnTo>
                          <a:lnTo>
                            <a:pt x="1470" y="2403"/>
                          </a:lnTo>
                          <a:lnTo>
                            <a:pt x="1465" y="2390"/>
                          </a:lnTo>
                          <a:lnTo>
                            <a:pt x="1463" y="2373"/>
                          </a:lnTo>
                          <a:lnTo>
                            <a:pt x="1462" y="2351"/>
                          </a:lnTo>
                          <a:lnTo>
                            <a:pt x="1462" y="2351"/>
                          </a:lnTo>
                          <a:lnTo>
                            <a:pt x="1463" y="2333"/>
                          </a:lnTo>
                          <a:lnTo>
                            <a:pt x="1465" y="2317"/>
                          </a:lnTo>
                          <a:lnTo>
                            <a:pt x="1470" y="2305"/>
                          </a:lnTo>
                          <a:lnTo>
                            <a:pt x="1476" y="2296"/>
                          </a:lnTo>
                          <a:lnTo>
                            <a:pt x="1484" y="2290"/>
                          </a:lnTo>
                          <a:lnTo>
                            <a:pt x="1491" y="2285"/>
                          </a:lnTo>
                          <a:lnTo>
                            <a:pt x="1499" y="2284"/>
                          </a:lnTo>
                          <a:lnTo>
                            <a:pt x="1507" y="2283"/>
                          </a:lnTo>
                          <a:lnTo>
                            <a:pt x="1507" y="2283"/>
                          </a:lnTo>
                          <a:lnTo>
                            <a:pt x="1515" y="2284"/>
                          </a:lnTo>
                          <a:lnTo>
                            <a:pt x="1523" y="2285"/>
                          </a:lnTo>
                          <a:lnTo>
                            <a:pt x="1529" y="2288"/>
                          </a:lnTo>
                          <a:lnTo>
                            <a:pt x="1535" y="2291"/>
                          </a:lnTo>
                          <a:lnTo>
                            <a:pt x="1540" y="2295"/>
                          </a:lnTo>
                          <a:lnTo>
                            <a:pt x="1543" y="2299"/>
                          </a:lnTo>
                          <a:lnTo>
                            <a:pt x="1551" y="2307"/>
                          </a:lnTo>
                          <a:lnTo>
                            <a:pt x="1551" y="2307"/>
                          </a:lnTo>
                          <a:close/>
                          <a:moveTo>
                            <a:pt x="1033" y="2233"/>
                          </a:moveTo>
                          <a:lnTo>
                            <a:pt x="1094" y="2233"/>
                          </a:lnTo>
                          <a:lnTo>
                            <a:pt x="1094" y="2341"/>
                          </a:lnTo>
                          <a:lnTo>
                            <a:pt x="1094" y="2477"/>
                          </a:lnTo>
                          <a:lnTo>
                            <a:pt x="1033" y="2477"/>
                          </a:lnTo>
                          <a:lnTo>
                            <a:pt x="1033" y="2233"/>
                          </a:lnTo>
                          <a:close/>
                          <a:moveTo>
                            <a:pt x="1094" y="2167"/>
                          </a:moveTo>
                          <a:lnTo>
                            <a:pt x="1094" y="2198"/>
                          </a:lnTo>
                          <a:lnTo>
                            <a:pt x="1033" y="2198"/>
                          </a:lnTo>
                          <a:lnTo>
                            <a:pt x="1033" y="2137"/>
                          </a:lnTo>
                          <a:lnTo>
                            <a:pt x="1094" y="2137"/>
                          </a:lnTo>
                          <a:lnTo>
                            <a:pt x="1094" y="2167"/>
                          </a:lnTo>
                          <a:close/>
                          <a:moveTo>
                            <a:pt x="2542" y="2161"/>
                          </a:moveTo>
                          <a:lnTo>
                            <a:pt x="2603" y="2131"/>
                          </a:lnTo>
                          <a:lnTo>
                            <a:pt x="2603" y="2352"/>
                          </a:lnTo>
                          <a:lnTo>
                            <a:pt x="2603" y="2477"/>
                          </a:lnTo>
                          <a:lnTo>
                            <a:pt x="2542" y="2477"/>
                          </a:lnTo>
                          <a:lnTo>
                            <a:pt x="2542" y="2161"/>
                          </a:lnTo>
                          <a:close/>
                          <a:moveTo>
                            <a:pt x="437" y="834"/>
                          </a:moveTo>
                          <a:lnTo>
                            <a:pt x="936" y="834"/>
                          </a:lnTo>
                          <a:lnTo>
                            <a:pt x="936" y="544"/>
                          </a:lnTo>
                          <a:lnTo>
                            <a:pt x="437" y="544"/>
                          </a:lnTo>
                          <a:lnTo>
                            <a:pt x="437" y="317"/>
                          </a:lnTo>
                          <a:lnTo>
                            <a:pt x="989" y="317"/>
                          </a:lnTo>
                          <a:lnTo>
                            <a:pt x="806" y="0"/>
                          </a:lnTo>
                          <a:lnTo>
                            <a:pt x="24" y="0"/>
                          </a:lnTo>
                          <a:lnTo>
                            <a:pt x="24" y="1378"/>
                          </a:lnTo>
                          <a:lnTo>
                            <a:pt x="1126" y="1378"/>
                          </a:lnTo>
                          <a:lnTo>
                            <a:pt x="1126" y="1061"/>
                          </a:lnTo>
                          <a:lnTo>
                            <a:pt x="437" y="1061"/>
                          </a:lnTo>
                          <a:lnTo>
                            <a:pt x="437" y="834"/>
                          </a:lnTo>
                          <a:close/>
                          <a:moveTo>
                            <a:pt x="1860" y="0"/>
                          </a:moveTo>
                          <a:lnTo>
                            <a:pt x="1626" y="450"/>
                          </a:lnTo>
                          <a:lnTo>
                            <a:pt x="1393" y="0"/>
                          </a:lnTo>
                          <a:lnTo>
                            <a:pt x="936" y="0"/>
                          </a:lnTo>
                          <a:lnTo>
                            <a:pt x="1417" y="834"/>
                          </a:lnTo>
                          <a:lnTo>
                            <a:pt x="1417" y="1378"/>
                          </a:lnTo>
                          <a:lnTo>
                            <a:pt x="1829" y="1378"/>
                          </a:lnTo>
                          <a:lnTo>
                            <a:pt x="1829" y="834"/>
                          </a:lnTo>
                          <a:lnTo>
                            <a:pt x="2311" y="0"/>
                          </a:lnTo>
                          <a:lnTo>
                            <a:pt x="186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8191" tIns="39095" rIns="78191" bIns="39095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fr-FR" sz="1539"/>
                    </a:p>
                  </p:txBody>
                </p:sp>
              </p:grpSp>
              <p:sp>
                <p:nvSpPr>
                  <p:cNvPr id="57" name="Content Placeholder 5">
                    <a:extLst>
                      <a:ext uri="{FF2B5EF4-FFF2-40B4-BE49-F238E27FC236}">
                        <a16:creationId xmlns:a16="http://schemas.microsoft.com/office/drawing/2014/main" id="{1CB5843D-2920-47D7-97F6-CC0DF836685A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4368" y="75105"/>
                    <a:ext cx="1458345" cy="152383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b="1" kern="0">
                        <a:solidFill>
                          <a:srgbClr val="FFE600"/>
                        </a:solidFill>
                        <a:latin typeface="EYInterstate Bold" panose="02000803030000020004" pitchFamily="2" charset="0"/>
                        <a:ea typeface="+mn-ea"/>
                        <a:cs typeface="+mn-cs"/>
                      </a:rPr>
                      <a:t>Context, Scope and Objectives</a:t>
                    </a:r>
                  </a:p>
                </p:txBody>
              </p:sp>
              <p:sp>
                <p:nvSpPr>
                  <p:cNvPr id="58" name="Content Placeholder 5">
                    <a:extLst>
                      <a:ext uri="{FF2B5EF4-FFF2-40B4-BE49-F238E27FC236}">
                        <a16:creationId xmlns:a16="http://schemas.microsoft.com/office/drawing/2014/main" id="{F2CFCEAF-26EE-4CB0-A1B3-C7F157B7C8E8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2911986" y="51130"/>
                    <a:ext cx="1206296" cy="200331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+mj-lt"/>
                      <a:buNone/>
                      <a:tabLst>
                        <a:tab pos="4876815" algn="r"/>
                      </a:tabLst>
                    </a:pPr>
                    <a:r>
                      <a:rPr lang="en-US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Key Success Factors &amp; Challenges </a:t>
                    </a:r>
                  </a:p>
                </p:txBody>
              </p:sp>
              <p:sp>
                <p:nvSpPr>
                  <p:cNvPr id="59" name="Content Placeholder 5">
                    <a:extLst>
                      <a:ext uri="{FF2B5EF4-FFF2-40B4-BE49-F238E27FC236}">
                        <a16:creationId xmlns:a16="http://schemas.microsoft.com/office/drawing/2014/main" id="{D390EA54-4706-470E-84B9-112FE7060C58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11169709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Appendices</a:t>
                    </a:r>
                  </a:p>
                </p:txBody>
              </p:sp>
              <p:sp>
                <p:nvSpPr>
                  <p:cNvPr id="60" name="Content Placeholder 5">
                    <a:extLst>
                      <a:ext uri="{FF2B5EF4-FFF2-40B4-BE49-F238E27FC236}">
                        <a16:creationId xmlns:a16="http://schemas.microsoft.com/office/drawing/2014/main" id="{F6975808-0275-4A67-ABFE-F0D041D00B29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5947426" y="83518"/>
                    <a:ext cx="1023162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algn="ctr" defTabSz="829361" fontAlgn="auto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tabLst>
                        <a:tab pos="4876815" algn="r"/>
                      </a:tabLst>
                    </a:pP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Proposed</a:t>
                    </a: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rPr>
                      <a:t> Approach</a:t>
                    </a:r>
                  </a:p>
                </p:txBody>
              </p:sp>
              <p:sp>
                <p:nvSpPr>
                  <p:cNvPr id="61" name="Content Placeholder 5">
                    <a:extLst>
                      <a:ext uri="{FF2B5EF4-FFF2-40B4-BE49-F238E27FC236}">
                        <a16:creationId xmlns:a16="http://schemas.microsoft.com/office/drawing/2014/main" id="{BD1A3CBA-9918-4E46-9E19-384276909357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7262461" y="75105"/>
                    <a:ext cx="1138227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Project Team &amp; </a:t>
                    </a:r>
                    <a:r>
                      <a:rPr lang="fr-FR" sz="800" kern="0" err="1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Goverance</a:t>
                    </a:r>
                    <a:endParaRPr lang="fr-FR" sz="800" kern="0">
                      <a:solidFill>
                        <a:schemeClr val="bg2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Content Placeholder 5">
                    <a:extLst>
                      <a:ext uri="{FF2B5EF4-FFF2-40B4-BE49-F238E27FC236}">
                        <a16:creationId xmlns:a16="http://schemas.microsoft.com/office/drawing/2014/main" id="{B5610496-B7B2-4C9B-A741-F9F00985144E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4484077" y="75105"/>
                    <a:ext cx="1097554" cy="13598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Scope &amp; Assumptions</a:t>
                    </a:r>
                  </a:p>
                </p:txBody>
              </p:sp>
              <p:sp>
                <p:nvSpPr>
                  <p:cNvPr id="63" name="Content Placeholder 5">
                    <a:extLst>
                      <a:ext uri="{FF2B5EF4-FFF2-40B4-BE49-F238E27FC236}">
                        <a16:creationId xmlns:a16="http://schemas.microsoft.com/office/drawing/2014/main" id="{6250F22C-18EA-46FB-BA0F-2B80E20D471F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8757114" y="75105"/>
                    <a:ext cx="773670" cy="127079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Teams Profiles</a:t>
                    </a:r>
                  </a:p>
                </p:txBody>
              </p:sp>
              <p:sp>
                <p:nvSpPr>
                  <p:cNvPr id="64" name="Content Placeholder 5">
                    <a:extLst>
                      <a:ext uri="{FF2B5EF4-FFF2-40B4-BE49-F238E27FC236}">
                        <a16:creationId xmlns:a16="http://schemas.microsoft.com/office/drawing/2014/main" id="{31F85EEB-5B03-4F61-99DB-BA8EF834F13A}"/>
                      </a:ext>
                    </a:extLst>
                  </p:cNvPr>
                  <p:cNvSpPr txBox="1">
                    <a:spLocks/>
                  </p:cNvSpPr>
                  <p:nvPr userDrawn="1"/>
                </p:nvSpPr>
                <p:spPr>
                  <a:xfrm>
                    <a:off x="9963409" y="75105"/>
                    <a:ext cx="866515" cy="176356"/>
                  </a:xfrm>
                  <a:prstGeom prst="rect">
                    <a:avLst/>
                  </a:prstGeom>
                </p:spPr>
                <p:txBody>
                  <a:bodyPr anchor="ctr"/>
                  <a:lstStyle>
                    <a:lvl1pPr algn="l" defTabSz="995363" rtl="0" fontAlgn="base">
                      <a:lnSpc>
                        <a:spcPts val="21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defRPr sz="1400" b="0">
                        <a:solidFill>
                          <a:srgbClr val="646464"/>
                        </a:solidFill>
                        <a:latin typeface="+mj-lt"/>
                        <a:ea typeface="+mn-ea"/>
                        <a:cs typeface="+mn-cs"/>
                      </a:defRPr>
                    </a:lvl1pPr>
                    <a:lvl2pPr marL="1588" algn="l" defTabSz="995363" rtl="0" fontAlgn="base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lang="en-US" sz="1200" b="1" dirty="0" smtClean="0">
                        <a:solidFill>
                          <a:srgbClr val="646464"/>
                        </a:solidFill>
                        <a:latin typeface="+mn-lt"/>
                      </a:defRPr>
                    </a:lvl2pPr>
                    <a:lvl3pPr marL="3175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SzPct val="30000"/>
                      <a:buFont typeface="Arial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3pPr>
                    <a:lvl4pPr marL="152400" indent="-147638" algn="l" defTabSz="995363" rtl="0" fontAlgn="base">
                      <a:lnSpc>
                        <a:spcPts val="13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FFD200"/>
                      </a:buClr>
                      <a:buSzPct val="75000"/>
                      <a:buFont typeface="Arial" charset="0"/>
                      <a:buChar char="►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4pPr>
                    <a:lvl5pPr marL="2968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5pPr>
                    <a:lvl6pPr marL="7540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6pPr>
                    <a:lvl7pPr marL="12112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7pPr>
                    <a:lvl8pPr marL="16684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8pPr>
                    <a:lvl9pPr marL="2125663" indent="-136525" algn="l" defTabSz="995363" rtl="0" fontAlgn="base">
                      <a:lnSpc>
                        <a:spcPts val="1200"/>
                      </a:lnSpc>
                      <a:spcBef>
                        <a:spcPct val="0"/>
                      </a:spcBef>
                      <a:spcAft>
                        <a:spcPct val="40000"/>
                      </a:spcAft>
                      <a:buClr>
                        <a:srgbClr val="000000"/>
                      </a:buClr>
                      <a:buSzPct val="75000"/>
                      <a:buFont typeface="Times New Roman" pitchFamily="18" charset="0"/>
                      <a:defRPr sz="1000">
                        <a:solidFill>
                          <a:srgbClr val="000000"/>
                        </a:solidFill>
                        <a:latin typeface="+mn-lt"/>
                      </a:defRPr>
                    </a:lvl9pPr>
                  </a:lstStyle>
                  <a:p>
                    <a:pPr marL="0" lvl="2" indent="0" algn="ctr" defTabSz="82936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D200"/>
                      </a:buClr>
                      <a:buSzPct val="140000"/>
                      <a:buFont typeface="Arial" charset="0"/>
                      <a:buNone/>
                      <a:tabLst>
                        <a:tab pos="4876815" algn="r"/>
                      </a:tabLst>
                    </a:pPr>
                    <a:r>
                      <a:rPr lang="fr-FR" sz="800" kern="0">
                        <a:solidFill>
                          <a:schemeClr val="bg2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rPr>
                      <a:t>Key Credentials</a:t>
                    </a:r>
                  </a:p>
                </p:txBody>
              </p:sp>
            </p:grpSp>
          </p:grpSp>
          <p:sp>
            <p:nvSpPr>
              <p:cNvPr id="53" name="Content Placeholder 5">
                <a:extLst>
                  <a:ext uri="{FF2B5EF4-FFF2-40B4-BE49-F238E27FC236}">
                    <a16:creationId xmlns:a16="http://schemas.microsoft.com/office/drawing/2014/main" id="{BB68A4B5-79CC-4FA7-9907-37DB7D9A5A2A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1608265" y="75105"/>
                <a:ext cx="1097554" cy="135989"/>
              </a:xfrm>
              <a:prstGeom prst="rect">
                <a:avLst/>
              </a:prstGeom>
            </p:spPr>
            <p:txBody>
              <a:bodyPr anchor="ctr"/>
              <a:lstStyle>
                <a:lvl1pPr algn="l" defTabSz="995363" rtl="0" fontAlgn="base">
                  <a:lnSpc>
                    <a:spcPts val="2100"/>
                  </a:lnSpc>
                  <a:spcBef>
                    <a:spcPct val="0"/>
                  </a:spcBef>
                  <a:spcAft>
                    <a:spcPct val="40000"/>
                  </a:spcAft>
                  <a:defRPr sz="1400" b="0">
                    <a:solidFill>
                      <a:srgbClr val="646464"/>
                    </a:solidFill>
                    <a:latin typeface="+mj-lt"/>
                    <a:ea typeface="+mn-ea"/>
                    <a:cs typeface="+mn-cs"/>
                  </a:defRPr>
                </a:lvl1pPr>
                <a:lvl2pPr marL="1588" algn="l" defTabSz="995363" rtl="0"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lang="en-US" sz="1200" b="1" dirty="0" smtClean="0">
                    <a:solidFill>
                      <a:srgbClr val="646464"/>
                    </a:solidFill>
                    <a:latin typeface="+mn-lt"/>
                  </a:defRPr>
                </a:lvl2pPr>
                <a:lvl3pPr marL="3175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SzPct val="30000"/>
                  <a:buFont typeface="Arial" charset="0"/>
                  <a:defRPr sz="1000">
                    <a:solidFill>
                      <a:srgbClr val="000000"/>
                    </a:solidFill>
                    <a:latin typeface="+mn-lt"/>
                  </a:defRPr>
                </a:lvl3pPr>
                <a:lvl4pPr marL="152400" indent="-147638" algn="l" defTabSz="995363" rtl="0" fontAlgn="base">
                  <a:lnSpc>
                    <a:spcPts val="13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FFD200"/>
                  </a:buClr>
                  <a:buSzPct val="75000"/>
                  <a:buFont typeface="Arial" charset="0"/>
                  <a:buChar char="►"/>
                  <a:defRPr sz="1000">
                    <a:solidFill>
                      <a:srgbClr val="000000"/>
                    </a:solidFill>
                    <a:latin typeface="+mn-lt"/>
                  </a:defRPr>
                </a:lvl4pPr>
                <a:lvl5pPr marL="2968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5pPr>
                <a:lvl6pPr marL="7540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6pPr>
                <a:lvl7pPr marL="12112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7pPr>
                <a:lvl8pPr marL="16684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8pPr>
                <a:lvl9pPr marL="2125663" indent="-136525" algn="l" defTabSz="995363" rtl="0" fontAlgn="base">
                  <a:lnSpc>
                    <a:spcPts val="12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000000"/>
                  </a:buClr>
                  <a:buSzPct val="75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lvl="2" indent="0" algn="ctr" defTabSz="8293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D200"/>
                  </a:buClr>
                  <a:buSzPct val="140000"/>
                  <a:buFont typeface="Arial" charset="0"/>
                  <a:buNone/>
                  <a:tabLst>
                    <a:tab pos="4876815" algn="r"/>
                  </a:tabLst>
                </a:pPr>
                <a:r>
                  <a:rPr lang="fr-FR" sz="800" kern="0">
                    <a:solidFill>
                      <a:schemeClr val="bg2"/>
                    </a:solidFill>
                    <a:latin typeface="EYInterstate Light" panose="02000506000000020004" pitchFamily="2" charset="0"/>
                    <a:ea typeface="+mn-ea"/>
                    <a:cs typeface="+mn-cs"/>
                  </a:rPr>
                  <a:t>Scope &amp; Assumptions</a:t>
                </a:r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B636682-1398-473B-984A-E561E654EC29}"/>
                </a:ext>
              </a:extLst>
            </p:cNvPr>
            <p:cNvSpPr/>
            <p:nvPr userDrawn="1"/>
          </p:nvSpPr>
          <p:spPr>
            <a:xfrm>
              <a:off x="0" y="0"/>
              <a:ext cx="12192000" cy="350540"/>
            </a:xfrm>
            <a:prstGeom prst="rect">
              <a:avLst/>
            </a:prstGeom>
            <a:solidFill>
              <a:srgbClr val="2E2E3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>
                <a:solidFill>
                  <a:schemeClr val="tx1"/>
                </a:solidFill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CD363BE7-6B0E-49C7-9C72-360EF484360F}"/>
                </a:ext>
              </a:extLst>
            </p:cNvPr>
            <p:cNvGrpSpPr/>
            <p:nvPr userDrawn="1"/>
          </p:nvGrpSpPr>
          <p:grpSpPr>
            <a:xfrm>
              <a:off x="81557" y="51129"/>
              <a:ext cx="167539" cy="200331"/>
              <a:chOff x="784680" y="68072"/>
              <a:chExt cx="167539" cy="200331"/>
            </a:xfrm>
          </p:grpSpPr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1AA35276-8E01-4B27-A4AB-EC8E188E6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680" y="68072"/>
                <a:ext cx="134278" cy="50020"/>
              </a:xfrm>
              <a:custGeom>
                <a:avLst/>
                <a:gdLst>
                  <a:gd name="T0" fmla="*/ 2723 w 2723"/>
                  <a:gd name="T1" fmla="*/ 0 h 994"/>
                  <a:gd name="T2" fmla="*/ 0 w 2723"/>
                  <a:gd name="T3" fmla="*/ 994 h 994"/>
                  <a:gd name="T4" fmla="*/ 2723 w 2723"/>
                  <a:gd name="T5" fmla="*/ 513 h 994"/>
                  <a:gd name="T6" fmla="*/ 2723 w 2723"/>
                  <a:gd name="T7" fmla="*/ 0 h 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23" h="994">
                    <a:moveTo>
                      <a:pt x="2723" y="0"/>
                    </a:moveTo>
                    <a:lnTo>
                      <a:pt x="0" y="994"/>
                    </a:lnTo>
                    <a:lnTo>
                      <a:pt x="2723" y="513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rgbClr val="F7D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47B31DEE-BDC5-4D5D-A22E-41CE40DC66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680" y="138954"/>
                <a:ext cx="167539" cy="129449"/>
              </a:xfrm>
              <a:custGeom>
                <a:avLst/>
                <a:gdLst>
                  <a:gd name="T0" fmla="*/ 256 w 3400"/>
                  <a:gd name="T1" fmla="*/ 1749 h 2577"/>
                  <a:gd name="T2" fmla="*/ 278 w 3400"/>
                  <a:gd name="T3" fmla="*/ 1978 h 2577"/>
                  <a:gd name="T4" fmla="*/ 166 w 3400"/>
                  <a:gd name="T5" fmla="*/ 1993 h 2577"/>
                  <a:gd name="T6" fmla="*/ 386 w 3400"/>
                  <a:gd name="T7" fmla="*/ 1940 h 2577"/>
                  <a:gd name="T8" fmla="*/ 458 w 3400"/>
                  <a:gd name="T9" fmla="*/ 2046 h 2577"/>
                  <a:gd name="T10" fmla="*/ 1255 w 3400"/>
                  <a:gd name="T11" fmla="*/ 1820 h 2577"/>
                  <a:gd name="T12" fmla="*/ 1339 w 3400"/>
                  <a:gd name="T13" fmla="*/ 1914 h 2577"/>
                  <a:gd name="T14" fmla="*/ 767 w 3400"/>
                  <a:gd name="T15" fmla="*/ 1703 h 2577"/>
                  <a:gd name="T16" fmla="*/ 813 w 3400"/>
                  <a:gd name="T17" fmla="*/ 1884 h 2577"/>
                  <a:gd name="T18" fmla="*/ 947 w 3400"/>
                  <a:gd name="T19" fmla="*/ 2042 h 2577"/>
                  <a:gd name="T20" fmla="*/ 916 w 3400"/>
                  <a:gd name="T21" fmla="*/ 1855 h 2577"/>
                  <a:gd name="T22" fmla="*/ 2225 w 3400"/>
                  <a:gd name="T23" fmla="*/ 2049 h 2577"/>
                  <a:gd name="T24" fmla="*/ 2376 w 3400"/>
                  <a:gd name="T25" fmla="*/ 1924 h 2577"/>
                  <a:gd name="T26" fmla="*/ 2312 w 3400"/>
                  <a:gd name="T27" fmla="*/ 1906 h 2577"/>
                  <a:gd name="T28" fmla="*/ 2267 w 3400"/>
                  <a:gd name="T29" fmla="*/ 1855 h 2577"/>
                  <a:gd name="T30" fmla="*/ 1441 w 3400"/>
                  <a:gd name="T31" fmla="*/ 1911 h 2577"/>
                  <a:gd name="T32" fmla="*/ 1591 w 3400"/>
                  <a:gd name="T33" fmla="*/ 2031 h 2577"/>
                  <a:gd name="T34" fmla="*/ 1622 w 3400"/>
                  <a:gd name="T35" fmla="*/ 2119 h 2577"/>
                  <a:gd name="T36" fmla="*/ 1507 w 3400"/>
                  <a:gd name="T37" fmla="*/ 1962 h 2577"/>
                  <a:gd name="T38" fmla="*/ 1902 w 3400"/>
                  <a:gd name="T39" fmla="*/ 1848 h 2577"/>
                  <a:gd name="T40" fmla="*/ 1797 w 3400"/>
                  <a:gd name="T41" fmla="*/ 1958 h 2577"/>
                  <a:gd name="T42" fmla="*/ 2006 w 3400"/>
                  <a:gd name="T43" fmla="*/ 1884 h 2577"/>
                  <a:gd name="T44" fmla="*/ 1857 w 3400"/>
                  <a:gd name="T45" fmla="*/ 1968 h 2577"/>
                  <a:gd name="T46" fmla="*/ 1881 w 3400"/>
                  <a:gd name="T47" fmla="*/ 2002 h 2577"/>
                  <a:gd name="T48" fmla="*/ 2467 w 3400"/>
                  <a:gd name="T49" fmla="*/ 1946 h 2577"/>
                  <a:gd name="T50" fmla="*/ 2452 w 3400"/>
                  <a:gd name="T51" fmla="*/ 1821 h 2577"/>
                  <a:gd name="T52" fmla="*/ 2521 w 3400"/>
                  <a:gd name="T53" fmla="*/ 2055 h 2577"/>
                  <a:gd name="T54" fmla="*/ 2555 w 3400"/>
                  <a:gd name="T55" fmla="*/ 1883 h 2577"/>
                  <a:gd name="T56" fmla="*/ 3202 w 3400"/>
                  <a:gd name="T57" fmla="*/ 1928 h 2577"/>
                  <a:gd name="T58" fmla="*/ 3006 w 3400"/>
                  <a:gd name="T59" fmla="*/ 1854 h 2577"/>
                  <a:gd name="T60" fmla="*/ 3140 w 3400"/>
                  <a:gd name="T61" fmla="*/ 2049 h 2577"/>
                  <a:gd name="T62" fmla="*/ 2905 w 3400"/>
                  <a:gd name="T63" fmla="*/ 1964 h 2577"/>
                  <a:gd name="T64" fmla="*/ 2868 w 3400"/>
                  <a:gd name="T65" fmla="*/ 2041 h 2577"/>
                  <a:gd name="T66" fmla="*/ 2713 w 3400"/>
                  <a:gd name="T67" fmla="*/ 2051 h 2577"/>
                  <a:gd name="T68" fmla="*/ 2747 w 3400"/>
                  <a:gd name="T69" fmla="*/ 1996 h 2577"/>
                  <a:gd name="T70" fmla="*/ 3300 w 3400"/>
                  <a:gd name="T71" fmla="*/ 1805 h 2577"/>
                  <a:gd name="T72" fmla="*/ 1073 w 3400"/>
                  <a:gd name="T73" fmla="*/ 2049 h 2577"/>
                  <a:gd name="T74" fmla="*/ 2660 w 3400"/>
                  <a:gd name="T75" fmla="*/ 2279 h 2577"/>
                  <a:gd name="T76" fmla="*/ 2763 w 3400"/>
                  <a:gd name="T77" fmla="*/ 2480 h 2577"/>
                  <a:gd name="T78" fmla="*/ 2737 w 3400"/>
                  <a:gd name="T79" fmla="*/ 2285 h 2577"/>
                  <a:gd name="T80" fmla="*/ 690 w 3400"/>
                  <a:gd name="T81" fmla="*/ 2289 h 2577"/>
                  <a:gd name="T82" fmla="*/ 740 w 3400"/>
                  <a:gd name="T83" fmla="*/ 2301 h 2577"/>
                  <a:gd name="T84" fmla="*/ 222 w 3400"/>
                  <a:gd name="T85" fmla="*/ 2352 h 2577"/>
                  <a:gd name="T86" fmla="*/ 341 w 3400"/>
                  <a:gd name="T87" fmla="*/ 2395 h 2577"/>
                  <a:gd name="T88" fmla="*/ 554 w 3400"/>
                  <a:gd name="T89" fmla="*/ 2395 h 2577"/>
                  <a:gd name="T90" fmla="*/ 412 w 3400"/>
                  <a:gd name="T91" fmla="*/ 2407 h 2577"/>
                  <a:gd name="T92" fmla="*/ 484 w 3400"/>
                  <a:gd name="T93" fmla="*/ 2407 h 2577"/>
                  <a:gd name="T94" fmla="*/ 2419 w 3400"/>
                  <a:gd name="T95" fmla="*/ 2248 h 2577"/>
                  <a:gd name="T96" fmla="*/ 1758 w 3400"/>
                  <a:gd name="T97" fmla="*/ 2233 h 2577"/>
                  <a:gd name="T98" fmla="*/ 2133 w 3400"/>
                  <a:gd name="T99" fmla="*/ 2255 h 2577"/>
                  <a:gd name="T100" fmla="*/ 2204 w 3400"/>
                  <a:gd name="T101" fmla="*/ 2483 h 2577"/>
                  <a:gd name="T102" fmla="*/ 2269 w 3400"/>
                  <a:gd name="T103" fmla="*/ 2249 h 2577"/>
                  <a:gd name="T104" fmla="*/ 2204 w 3400"/>
                  <a:gd name="T105" fmla="*/ 2284 h 2577"/>
                  <a:gd name="T106" fmla="*/ 845 w 3400"/>
                  <a:gd name="T107" fmla="*/ 2131 h 2577"/>
                  <a:gd name="T108" fmla="*/ 1323 w 3400"/>
                  <a:gd name="T109" fmla="*/ 2244 h 2577"/>
                  <a:gd name="T110" fmla="*/ 1220 w 3400"/>
                  <a:gd name="T111" fmla="*/ 2299 h 2577"/>
                  <a:gd name="T112" fmla="*/ 1410 w 3400"/>
                  <a:gd name="T113" fmla="*/ 2289 h 2577"/>
                  <a:gd name="T114" fmla="*/ 1525 w 3400"/>
                  <a:gd name="T115" fmla="*/ 2477 h 2577"/>
                  <a:gd name="T116" fmla="*/ 1544 w 3400"/>
                  <a:gd name="T117" fmla="*/ 2570 h 2577"/>
                  <a:gd name="T118" fmla="*/ 1491 w 3400"/>
                  <a:gd name="T119" fmla="*/ 2424 h 2577"/>
                  <a:gd name="T120" fmla="*/ 1094 w 3400"/>
                  <a:gd name="T121" fmla="*/ 2341 h 2577"/>
                  <a:gd name="T122" fmla="*/ 437 w 3400"/>
                  <a:gd name="T123" fmla="*/ 1061 h 2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00" h="2577">
                    <a:moveTo>
                      <a:pt x="283" y="1942"/>
                    </a:moveTo>
                    <a:lnTo>
                      <a:pt x="283" y="1942"/>
                    </a:lnTo>
                    <a:lnTo>
                      <a:pt x="283" y="1934"/>
                    </a:lnTo>
                    <a:lnTo>
                      <a:pt x="282" y="1927"/>
                    </a:lnTo>
                    <a:lnTo>
                      <a:pt x="278" y="1912"/>
                    </a:lnTo>
                    <a:lnTo>
                      <a:pt x="272" y="1900"/>
                    </a:lnTo>
                    <a:lnTo>
                      <a:pt x="265" y="1890"/>
                    </a:lnTo>
                    <a:lnTo>
                      <a:pt x="256" y="1883"/>
                    </a:lnTo>
                    <a:lnTo>
                      <a:pt x="248" y="1877"/>
                    </a:lnTo>
                    <a:lnTo>
                      <a:pt x="241" y="1872"/>
                    </a:lnTo>
                    <a:lnTo>
                      <a:pt x="233" y="1868"/>
                    </a:lnTo>
                    <a:lnTo>
                      <a:pt x="233" y="1868"/>
                    </a:lnTo>
                    <a:lnTo>
                      <a:pt x="242" y="1862"/>
                    </a:lnTo>
                    <a:lnTo>
                      <a:pt x="249" y="1856"/>
                    </a:lnTo>
                    <a:lnTo>
                      <a:pt x="255" y="1849"/>
                    </a:lnTo>
                    <a:lnTo>
                      <a:pt x="261" y="1840"/>
                    </a:lnTo>
                    <a:lnTo>
                      <a:pt x="266" y="1832"/>
                    </a:lnTo>
                    <a:lnTo>
                      <a:pt x="269" y="1822"/>
                    </a:lnTo>
                    <a:lnTo>
                      <a:pt x="271" y="1812"/>
                    </a:lnTo>
                    <a:lnTo>
                      <a:pt x="271" y="1801"/>
                    </a:lnTo>
                    <a:lnTo>
                      <a:pt x="271" y="1801"/>
                    </a:lnTo>
                    <a:lnTo>
                      <a:pt x="271" y="1792"/>
                    </a:lnTo>
                    <a:lnTo>
                      <a:pt x="270" y="1782"/>
                    </a:lnTo>
                    <a:lnTo>
                      <a:pt x="267" y="1773"/>
                    </a:lnTo>
                    <a:lnTo>
                      <a:pt x="265" y="1765"/>
                    </a:lnTo>
                    <a:lnTo>
                      <a:pt x="261" y="1756"/>
                    </a:lnTo>
                    <a:lnTo>
                      <a:pt x="256" y="1749"/>
                    </a:lnTo>
                    <a:lnTo>
                      <a:pt x="250" y="1743"/>
                    </a:lnTo>
                    <a:lnTo>
                      <a:pt x="244" y="1737"/>
                    </a:lnTo>
                    <a:lnTo>
                      <a:pt x="237" y="1732"/>
                    </a:lnTo>
                    <a:lnTo>
                      <a:pt x="230" y="1727"/>
                    </a:lnTo>
                    <a:lnTo>
                      <a:pt x="221" y="1724"/>
                    </a:lnTo>
                    <a:lnTo>
                      <a:pt x="211" y="1720"/>
                    </a:lnTo>
                    <a:lnTo>
                      <a:pt x="202" y="1718"/>
                    </a:lnTo>
                    <a:lnTo>
                      <a:pt x="191" y="1715"/>
                    </a:lnTo>
                    <a:lnTo>
                      <a:pt x="180" y="1715"/>
                    </a:lnTo>
                    <a:lnTo>
                      <a:pt x="168" y="1714"/>
                    </a:lnTo>
                    <a:lnTo>
                      <a:pt x="24" y="1714"/>
                    </a:lnTo>
                    <a:lnTo>
                      <a:pt x="24" y="2049"/>
                    </a:lnTo>
                    <a:lnTo>
                      <a:pt x="166" y="2049"/>
                    </a:lnTo>
                    <a:lnTo>
                      <a:pt x="166" y="2049"/>
                    </a:lnTo>
                    <a:lnTo>
                      <a:pt x="180" y="2049"/>
                    </a:lnTo>
                    <a:lnTo>
                      <a:pt x="192" y="2048"/>
                    </a:lnTo>
                    <a:lnTo>
                      <a:pt x="204" y="2046"/>
                    </a:lnTo>
                    <a:lnTo>
                      <a:pt x="215" y="2042"/>
                    </a:lnTo>
                    <a:lnTo>
                      <a:pt x="226" y="2038"/>
                    </a:lnTo>
                    <a:lnTo>
                      <a:pt x="236" y="2034"/>
                    </a:lnTo>
                    <a:lnTo>
                      <a:pt x="244" y="2028"/>
                    </a:lnTo>
                    <a:lnTo>
                      <a:pt x="252" y="2021"/>
                    </a:lnTo>
                    <a:lnTo>
                      <a:pt x="259" y="2014"/>
                    </a:lnTo>
                    <a:lnTo>
                      <a:pt x="265" y="2006"/>
                    </a:lnTo>
                    <a:lnTo>
                      <a:pt x="271" y="1997"/>
                    </a:lnTo>
                    <a:lnTo>
                      <a:pt x="275" y="1987"/>
                    </a:lnTo>
                    <a:lnTo>
                      <a:pt x="278" y="1978"/>
                    </a:lnTo>
                    <a:lnTo>
                      <a:pt x="281" y="1967"/>
                    </a:lnTo>
                    <a:lnTo>
                      <a:pt x="282" y="1955"/>
                    </a:lnTo>
                    <a:lnTo>
                      <a:pt x="283" y="1942"/>
                    </a:lnTo>
                    <a:lnTo>
                      <a:pt x="283" y="1942"/>
                    </a:lnTo>
                    <a:close/>
                    <a:moveTo>
                      <a:pt x="166" y="1993"/>
                    </a:moveTo>
                    <a:lnTo>
                      <a:pt x="86" y="1993"/>
                    </a:lnTo>
                    <a:lnTo>
                      <a:pt x="86" y="1897"/>
                    </a:lnTo>
                    <a:lnTo>
                      <a:pt x="166" y="1897"/>
                    </a:lnTo>
                    <a:lnTo>
                      <a:pt x="166" y="1897"/>
                    </a:lnTo>
                    <a:lnTo>
                      <a:pt x="179" y="1899"/>
                    </a:lnTo>
                    <a:lnTo>
                      <a:pt x="188" y="1900"/>
                    </a:lnTo>
                    <a:lnTo>
                      <a:pt x="197" y="1904"/>
                    </a:lnTo>
                    <a:lnTo>
                      <a:pt x="204" y="1910"/>
                    </a:lnTo>
                    <a:lnTo>
                      <a:pt x="210" y="1916"/>
                    </a:lnTo>
                    <a:lnTo>
                      <a:pt x="214" y="1924"/>
                    </a:lnTo>
                    <a:lnTo>
                      <a:pt x="216" y="1934"/>
                    </a:lnTo>
                    <a:lnTo>
                      <a:pt x="218" y="1945"/>
                    </a:lnTo>
                    <a:lnTo>
                      <a:pt x="218" y="1945"/>
                    </a:lnTo>
                    <a:lnTo>
                      <a:pt x="216" y="1956"/>
                    </a:lnTo>
                    <a:lnTo>
                      <a:pt x="214" y="1966"/>
                    </a:lnTo>
                    <a:lnTo>
                      <a:pt x="209" y="1974"/>
                    </a:lnTo>
                    <a:lnTo>
                      <a:pt x="204" y="1980"/>
                    </a:lnTo>
                    <a:lnTo>
                      <a:pt x="197" y="1986"/>
                    </a:lnTo>
                    <a:lnTo>
                      <a:pt x="188" y="1990"/>
                    </a:lnTo>
                    <a:lnTo>
                      <a:pt x="177" y="1992"/>
                    </a:lnTo>
                    <a:lnTo>
                      <a:pt x="166" y="1993"/>
                    </a:lnTo>
                    <a:lnTo>
                      <a:pt x="166" y="1993"/>
                    </a:lnTo>
                    <a:close/>
                    <a:moveTo>
                      <a:pt x="165" y="1843"/>
                    </a:moveTo>
                    <a:lnTo>
                      <a:pt x="86" y="1843"/>
                    </a:lnTo>
                    <a:lnTo>
                      <a:pt x="86" y="1771"/>
                    </a:lnTo>
                    <a:lnTo>
                      <a:pt x="163" y="1771"/>
                    </a:lnTo>
                    <a:lnTo>
                      <a:pt x="163" y="1771"/>
                    </a:lnTo>
                    <a:lnTo>
                      <a:pt x="173" y="1772"/>
                    </a:lnTo>
                    <a:lnTo>
                      <a:pt x="182" y="1773"/>
                    </a:lnTo>
                    <a:lnTo>
                      <a:pt x="190" y="1776"/>
                    </a:lnTo>
                    <a:lnTo>
                      <a:pt x="196" y="1780"/>
                    </a:lnTo>
                    <a:lnTo>
                      <a:pt x="201" y="1786"/>
                    </a:lnTo>
                    <a:lnTo>
                      <a:pt x="204" y="1792"/>
                    </a:lnTo>
                    <a:lnTo>
                      <a:pt x="205" y="1799"/>
                    </a:lnTo>
                    <a:lnTo>
                      <a:pt x="207" y="1807"/>
                    </a:lnTo>
                    <a:lnTo>
                      <a:pt x="207" y="1807"/>
                    </a:lnTo>
                    <a:lnTo>
                      <a:pt x="207" y="1814"/>
                    </a:lnTo>
                    <a:lnTo>
                      <a:pt x="205" y="1820"/>
                    </a:lnTo>
                    <a:lnTo>
                      <a:pt x="203" y="1826"/>
                    </a:lnTo>
                    <a:lnTo>
                      <a:pt x="199" y="1831"/>
                    </a:lnTo>
                    <a:lnTo>
                      <a:pt x="193" y="1835"/>
                    </a:lnTo>
                    <a:lnTo>
                      <a:pt x="186" y="1839"/>
                    </a:lnTo>
                    <a:lnTo>
                      <a:pt x="177" y="1842"/>
                    </a:lnTo>
                    <a:lnTo>
                      <a:pt x="165" y="1843"/>
                    </a:lnTo>
                    <a:lnTo>
                      <a:pt x="165" y="1843"/>
                    </a:lnTo>
                    <a:close/>
                    <a:moveTo>
                      <a:pt x="326" y="1944"/>
                    </a:moveTo>
                    <a:lnTo>
                      <a:pt x="326" y="1805"/>
                    </a:lnTo>
                    <a:lnTo>
                      <a:pt x="386" y="1805"/>
                    </a:lnTo>
                    <a:lnTo>
                      <a:pt x="386" y="1940"/>
                    </a:lnTo>
                    <a:lnTo>
                      <a:pt x="386" y="1940"/>
                    </a:lnTo>
                    <a:lnTo>
                      <a:pt x="386" y="1953"/>
                    </a:lnTo>
                    <a:lnTo>
                      <a:pt x="389" y="1967"/>
                    </a:lnTo>
                    <a:lnTo>
                      <a:pt x="392" y="1976"/>
                    </a:lnTo>
                    <a:lnTo>
                      <a:pt x="397" y="1985"/>
                    </a:lnTo>
                    <a:lnTo>
                      <a:pt x="403" y="1991"/>
                    </a:lnTo>
                    <a:lnTo>
                      <a:pt x="411" y="1996"/>
                    </a:lnTo>
                    <a:lnTo>
                      <a:pt x="420" y="1998"/>
                    </a:lnTo>
                    <a:lnTo>
                      <a:pt x="431" y="2000"/>
                    </a:lnTo>
                    <a:lnTo>
                      <a:pt x="431" y="2000"/>
                    </a:lnTo>
                    <a:lnTo>
                      <a:pt x="442" y="1998"/>
                    </a:lnTo>
                    <a:lnTo>
                      <a:pt x="451" y="1996"/>
                    </a:lnTo>
                    <a:lnTo>
                      <a:pt x="459" y="1991"/>
                    </a:lnTo>
                    <a:lnTo>
                      <a:pt x="465" y="1985"/>
                    </a:lnTo>
                    <a:lnTo>
                      <a:pt x="470" y="1976"/>
                    </a:lnTo>
                    <a:lnTo>
                      <a:pt x="474" y="1966"/>
                    </a:lnTo>
                    <a:lnTo>
                      <a:pt x="476" y="1953"/>
                    </a:lnTo>
                    <a:lnTo>
                      <a:pt x="476" y="1940"/>
                    </a:lnTo>
                    <a:lnTo>
                      <a:pt x="476" y="1805"/>
                    </a:lnTo>
                    <a:lnTo>
                      <a:pt x="537" y="1805"/>
                    </a:lnTo>
                    <a:lnTo>
                      <a:pt x="537" y="2049"/>
                    </a:lnTo>
                    <a:lnTo>
                      <a:pt x="476" y="2049"/>
                    </a:lnTo>
                    <a:lnTo>
                      <a:pt x="476" y="2030"/>
                    </a:lnTo>
                    <a:lnTo>
                      <a:pt x="476" y="2030"/>
                    </a:lnTo>
                    <a:lnTo>
                      <a:pt x="471" y="2036"/>
                    </a:lnTo>
                    <a:lnTo>
                      <a:pt x="464" y="2041"/>
                    </a:lnTo>
                    <a:lnTo>
                      <a:pt x="458" y="2046"/>
                    </a:lnTo>
                    <a:lnTo>
                      <a:pt x="451" y="2048"/>
                    </a:lnTo>
                    <a:lnTo>
                      <a:pt x="444" y="2052"/>
                    </a:lnTo>
                    <a:lnTo>
                      <a:pt x="435" y="2053"/>
                    </a:lnTo>
                    <a:lnTo>
                      <a:pt x="427" y="2054"/>
                    </a:lnTo>
                    <a:lnTo>
                      <a:pt x="418" y="2055"/>
                    </a:lnTo>
                    <a:lnTo>
                      <a:pt x="418" y="2055"/>
                    </a:lnTo>
                    <a:lnTo>
                      <a:pt x="403" y="2054"/>
                    </a:lnTo>
                    <a:lnTo>
                      <a:pt x="391" y="2052"/>
                    </a:lnTo>
                    <a:lnTo>
                      <a:pt x="380" y="2048"/>
                    </a:lnTo>
                    <a:lnTo>
                      <a:pt x="369" y="2043"/>
                    </a:lnTo>
                    <a:lnTo>
                      <a:pt x="361" y="2037"/>
                    </a:lnTo>
                    <a:lnTo>
                      <a:pt x="354" y="2031"/>
                    </a:lnTo>
                    <a:lnTo>
                      <a:pt x="348" y="2023"/>
                    </a:lnTo>
                    <a:lnTo>
                      <a:pt x="341" y="2014"/>
                    </a:lnTo>
                    <a:lnTo>
                      <a:pt x="338" y="2006"/>
                    </a:lnTo>
                    <a:lnTo>
                      <a:pt x="334" y="1997"/>
                    </a:lnTo>
                    <a:lnTo>
                      <a:pt x="329" y="1978"/>
                    </a:lnTo>
                    <a:lnTo>
                      <a:pt x="327" y="1959"/>
                    </a:lnTo>
                    <a:lnTo>
                      <a:pt x="326" y="1944"/>
                    </a:lnTo>
                    <a:lnTo>
                      <a:pt x="326" y="1944"/>
                    </a:lnTo>
                    <a:close/>
                    <a:moveTo>
                      <a:pt x="1249" y="2049"/>
                    </a:moveTo>
                    <a:lnTo>
                      <a:pt x="1188" y="2049"/>
                    </a:lnTo>
                    <a:lnTo>
                      <a:pt x="1188" y="1805"/>
                    </a:lnTo>
                    <a:lnTo>
                      <a:pt x="1249" y="1805"/>
                    </a:lnTo>
                    <a:lnTo>
                      <a:pt x="1249" y="1826"/>
                    </a:lnTo>
                    <a:lnTo>
                      <a:pt x="1249" y="1826"/>
                    </a:lnTo>
                    <a:lnTo>
                      <a:pt x="1255" y="1820"/>
                    </a:lnTo>
                    <a:lnTo>
                      <a:pt x="1261" y="1814"/>
                    </a:lnTo>
                    <a:lnTo>
                      <a:pt x="1269" y="1810"/>
                    </a:lnTo>
                    <a:lnTo>
                      <a:pt x="1276" y="1806"/>
                    </a:lnTo>
                    <a:lnTo>
                      <a:pt x="1284" y="1803"/>
                    </a:lnTo>
                    <a:lnTo>
                      <a:pt x="1292" y="1801"/>
                    </a:lnTo>
                    <a:lnTo>
                      <a:pt x="1301" y="1800"/>
                    </a:lnTo>
                    <a:lnTo>
                      <a:pt x="1310" y="1799"/>
                    </a:lnTo>
                    <a:lnTo>
                      <a:pt x="1310" y="1799"/>
                    </a:lnTo>
                    <a:lnTo>
                      <a:pt x="1321" y="1800"/>
                    </a:lnTo>
                    <a:lnTo>
                      <a:pt x="1331" y="1801"/>
                    </a:lnTo>
                    <a:lnTo>
                      <a:pt x="1340" y="1804"/>
                    </a:lnTo>
                    <a:lnTo>
                      <a:pt x="1349" y="1806"/>
                    </a:lnTo>
                    <a:lnTo>
                      <a:pt x="1357" y="1810"/>
                    </a:lnTo>
                    <a:lnTo>
                      <a:pt x="1365" y="1816"/>
                    </a:lnTo>
                    <a:lnTo>
                      <a:pt x="1371" y="1821"/>
                    </a:lnTo>
                    <a:lnTo>
                      <a:pt x="1377" y="1828"/>
                    </a:lnTo>
                    <a:lnTo>
                      <a:pt x="1383" y="1835"/>
                    </a:lnTo>
                    <a:lnTo>
                      <a:pt x="1386" y="1844"/>
                    </a:lnTo>
                    <a:lnTo>
                      <a:pt x="1391" y="1852"/>
                    </a:lnTo>
                    <a:lnTo>
                      <a:pt x="1394" y="1862"/>
                    </a:lnTo>
                    <a:lnTo>
                      <a:pt x="1396" y="1873"/>
                    </a:lnTo>
                    <a:lnTo>
                      <a:pt x="1399" y="1885"/>
                    </a:lnTo>
                    <a:lnTo>
                      <a:pt x="1400" y="1897"/>
                    </a:lnTo>
                    <a:lnTo>
                      <a:pt x="1400" y="1911"/>
                    </a:lnTo>
                    <a:lnTo>
                      <a:pt x="1400" y="2049"/>
                    </a:lnTo>
                    <a:lnTo>
                      <a:pt x="1339" y="2049"/>
                    </a:lnTo>
                    <a:lnTo>
                      <a:pt x="1339" y="1914"/>
                    </a:lnTo>
                    <a:lnTo>
                      <a:pt x="1339" y="1914"/>
                    </a:lnTo>
                    <a:lnTo>
                      <a:pt x="1339" y="1900"/>
                    </a:lnTo>
                    <a:lnTo>
                      <a:pt x="1337" y="1888"/>
                    </a:lnTo>
                    <a:lnTo>
                      <a:pt x="1333" y="1878"/>
                    </a:lnTo>
                    <a:lnTo>
                      <a:pt x="1328" y="1869"/>
                    </a:lnTo>
                    <a:lnTo>
                      <a:pt x="1322" y="1863"/>
                    </a:lnTo>
                    <a:lnTo>
                      <a:pt x="1315" y="1859"/>
                    </a:lnTo>
                    <a:lnTo>
                      <a:pt x="1306" y="1856"/>
                    </a:lnTo>
                    <a:lnTo>
                      <a:pt x="1295" y="1855"/>
                    </a:lnTo>
                    <a:lnTo>
                      <a:pt x="1295" y="1855"/>
                    </a:lnTo>
                    <a:lnTo>
                      <a:pt x="1284" y="1856"/>
                    </a:lnTo>
                    <a:lnTo>
                      <a:pt x="1275" y="1859"/>
                    </a:lnTo>
                    <a:lnTo>
                      <a:pt x="1267" y="1863"/>
                    </a:lnTo>
                    <a:lnTo>
                      <a:pt x="1261" y="1869"/>
                    </a:lnTo>
                    <a:lnTo>
                      <a:pt x="1255" y="1878"/>
                    </a:lnTo>
                    <a:lnTo>
                      <a:pt x="1252" y="1889"/>
                    </a:lnTo>
                    <a:lnTo>
                      <a:pt x="1249" y="1901"/>
                    </a:lnTo>
                    <a:lnTo>
                      <a:pt x="1249" y="1914"/>
                    </a:lnTo>
                    <a:lnTo>
                      <a:pt x="1249" y="2049"/>
                    </a:lnTo>
                    <a:close/>
                    <a:moveTo>
                      <a:pt x="653" y="1927"/>
                    </a:moveTo>
                    <a:lnTo>
                      <a:pt x="653" y="2049"/>
                    </a:lnTo>
                    <a:lnTo>
                      <a:pt x="592" y="2049"/>
                    </a:lnTo>
                    <a:lnTo>
                      <a:pt x="592" y="1805"/>
                    </a:lnTo>
                    <a:lnTo>
                      <a:pt x="653" y="1805"/>
                    </a:lnTo>
                    <a:lnTo>
                      <a:pt x="653" y="1927"/>
                    </a:lnTo>
                    <a:close/>
                    <a:moveTo>
                      <a:pt x="706" y="1733"/>
                    </a:moveTo>
                    <a:lnTo>
                      <a:pt x="767" y="1703"/>
                    </a:lnTo>
                    <a:lnTo>
                      <a:pt x="767" y="1924"/>
                    </a:lnTo>
                    <a:lnTo>
                      <a:pt x="767" y="2049"/>
                    </a:lnTo>
                    <a:lnTo>
                      <a:pt x="706" y="2049"/>
                    </a:lnTo>
                    <a:lnTo>
                      <a:pt x="706" y="1733"/>
                    </a:lnTo>
                    <a:close/>
                    <a:moveTo>
                      <a:pt x="959" y="1822"/>
                    </a:moveTo>
                    <a:lnTo>
                      <a:pt x="959" y="1822"/>
                    </a:lnTo>
                    <a:lnTo>
                      <a:pt x="954" y="1816"/>
                    </a:lnTo>
                    <a:lnTo>
                      <a:pt x="948" y="1812"/>
                    </a:lnTo>
                    <a:lnTo>
                      <a:pt x="941" y="1807"/>
                    </a:lnTo>
                    <a:lnTo>
                      <a:pt x="934" y="1805"/>
                    </a:lnTo>
                    <a:lnTo>
                      <a:pt x="927" y="1803"/>
                    </a:lnTo>
                    <a:lnTo>
                      <a:pt x="920" y="1800"/>
                    </a:lnTo>
                    <a:lnTo>
                      <a:pt x="905" y="1799"/>
                    </a:lnTo>
                    <a:lnTo>
                      <a:pt x="905" y="1799"/>
                    </a:lnTo>
                    <a:lnTo>
                      <a:pt x="894" y="1800"/>
                    </a:lnTo>
                    <a:lnTo>
                      <a:pt x="883" y="1801"/>
                    </a:lnTo>
                    <a:lnTo>
                      <a:pt x="874" y="1804"/>
                    </a:lnTo>
                    <a:lnTo>
                      <a:pt x="865" y="1807"/>
                    </a:lnTo>
                    <a:lnTo>
                      <a:pt x="857" y="1812"/>
                    </a:lnTo>
                    <a:lnTo>
                      <a:pt x="848" y="1818"/>
                    </a:lnTo>
                    <a:lnTo>
                      <a:pt x="841" y="1826"/>
                    </a:lnTo>
                    <a:lnTo>
                      <a:pt x="835" y="1833"/>
                    </a:lnTo>
                    <a:lnTo>
                      <a:pt x="829" y="1842"/>
                    </a:lnTo>
                    <a:lnTo>
                      <a:pt x="824" y="1851"/>
                    </a:lnTo>
                    <a:lnTo>
                      <a:pt x="819" y="1861"/>
                    </a:lnTo>
                    <a:lnTo>
                      <a:pt x="815" y="1872"/>
                    </a:lnTo>
                    <a:lnTo>
                      <a:pt x="813" y="1884"/>
                    </a:lnTo>
                    <a:lnTo>
                      <a:pt x="811" y="1897"/>
                    </a:lnTo>
                    <a:lnTo>
                      <a:pt x="809" y="1911"/>
                    </a:lnTo>
                    <a:lnTo>
                      <a:pt x="809" y="1924"/>
                    </a:lnTo>
                    <a:lnTo>
                      <a:pt x="809" y="1924"/>
                    </a:lnTo>
                    <a:lnTo>
                      <a:pt x="809" y="1940"/>
                    </a:lnTo>
                    <a:lnTo>
                      <a:pt x="811" y="1953"/>
                    </a:lnTo>
                    <a:lnTo>
                      <a:pt x="813" y="1967"/>
                    </a:lnTo>
                    <a:lnTo>
                      <a:pt x="815" y="1979"/>
                    </a:lnTo>
                    <a:lnTo>
                      <a:pt x="819" y="1991"/>
                    </a:lnTo>
                    <a:lnTo>
                      <a:pt x="823" y="2002"/>
                    </a:lnTo>
                    <a:lnTo>
                      <a:pt x="828" y="2012"/>
                    </a:lnTo>
                    <a:lnTo>
                      <a:pt x="834" y="2020"/>
                    </a:lnTo>
                    <a:lnTo>
                      <a:pt x="841" y="2029"/>
                    </a:lnTo>
                    <a:lnTo>
                      <a:pt x="847" y="2035"/>
                    </a:lnTo>
                    <a:lnTo>
                      <a:pt x="855" y="2041"/>
                    </a:lnTo>
                    <a:lnTo>
                      <a:pt x="864" y="2046"/>
                    </a:lnTo>
                    <a:lnTo>
                      <a:pt x="872" y="2049"/>
                    </a:lnTo>
                    <a:lnTo>
                      <a:pt x="882" y="2053"/>
                    </a:lnTo>
                    <a:lnTo>
                      <a:pt x="893" y="2054"/>
                    </a:lnTo>
                    <a:lnTo>
                      <a:pt x="904" y="2055"/>
                    </a:lnTo>
                    <a:lnTo>
                      <a:pt x="904" y="2055"/>
                    </a:lnTo>
                    <a:lnTo>
                      <a:pt x="911" y="2054"/>
                    </a:lnTo>
                    <a:lnTo>
                      <a:pt x="919" y="2053"/>
                    </a:lnTo>
                    <a:lnTo>
                      <a:pt x="926" y="2052"/>
                    </a:lnTo>
                    <a:lnTo>
                      <a:pt x="933" y="2049"/>
                    </a:lnTo>
                    <a:lnTo>
                      <a:pt x="939" y="2046"/>
                    </a:lnTo>
                    <a:lnTo>
                      <a:pt x="947" y="2042"/>
                    </a:lnTo>
                    <a:lnTo>
                      <a:pt x="953" y="2037"/>
                    </a:lnTo>
                    <a:lnTo>
                      <a:pt x="959" y="2031"/>
                    </a:lnTo>
                    <a:lnTo>
                      <a:pt x="959" y="2049"/>
                    </a:lnTo>
                    <a:lnTo>
                      <a:pt x="1020" y="2049"/>
                    </a:lnTo>
                    <a:lnTo>
                      <a:pt x="1020" y="1703"/>
                    </a:lnTo>
                    <a:lnTo>
                      <a:pt x="959" y="1733"/>
                    </a:lnTo>
                    <a:lnTo>
                      <a:pt x="959" y="1822"/>
                    </a:lnTo>
                    <a:close/>
                    <a:moveTo>
                      <a:pt x="916" y="2000"/>
                    </a:moveTo>
                    <a:lnTo>
                      <a:pt x="916" y="2000"/>
                    </a:lnTo>
                    <a:lnTo>
                      <a:pt x="909" y="1998"/>
                    </a:lnTo>
                    <a:lnTo>
                      <a:pt x="900" y="1996"/>
                    </a:lnTo>
                    <a:lnTo>
                      <a:pt x="893" y="1992"/>
                    </a:lnTo>
                    <a:lnTo>
                      <a:pt x="886" y="1985"/>
                    </a:lnTo>
                    <a:lnTo>
                      <a:pt x="880" y="1975"/>
                    </a:lnTo>
                    <a:lnTo>
                      <a:pt x="875" y="1962"/>
                    </a:lnTo>
                    <a:lnTo>
                      <a:pt x="871" y="1945"/>
                    </a:lnTo>
                    <a:lnTo>
                      <a:pt x="870" y="1923"/>
                    </a:lnTo>
                    <a:lnTo>
                      <a:pt x="870" y="1923"/>
                    </a:lnTo>
                    <a:lnTo>
                      <a:pt x="871" y="1904"/>
                    </a:lnTo>
                    <a:lnTo>
                      <a:pt x="875" y="1889"/>
                    </a:lnTo>
                    <a:lnTo>
                      <a:pt x="880" y="1877"/>
                    </a:lnTo>
                    <a:lnTo>
                      <a:pt x="886" y="1868"/>
                    </a:lnTo>
                    <a:lnTo>
                      <a:pt x="892" y="1861"/>
                    </a:lnTo>
                    <a:lnTo>
                      <a:pt x="900" y="1857"/>
                    </a:lnTo>
                    <a:lnTo>
                      <a:pt x="908" y="1855"/>
                    </a:lnTo>
                    <a:lnTo>
                      <a:pt x="916" y="1855"/>
                    </a:lnTo>
                    <a:lnTo>
                      <a:pt x="916" y="1855"/>
                    </a:lnTo>
                    <a:lnTo>
                      <a:pt x="924" y="1855"/>
                    </a:lnTo>
                    <a:lnTo>
                      <a:pt x="931" y="1857"/>
                    </a:lnTo>
                    <a:lnTo>
                      <a:pt x="938" y="1860"/>
                    </a:lnTo>
                    <a:lnTo>
                      <a:pt x="943" y="1863"/>
                    </a:lnTo>
                    <a:lnTo>
                      <a:pt x="948" y="1867"/>
                    </a:lnTo>
                    <a:lnTo>
                      <a:pt x="953" y="1871"/>
                    </a:lnTo>
                    <a:lnTo>
                      <a:pt x="959" y="1879"/>
                    </a:lnTo>
                    <a:lnTo>
                      <a:pt x="959" y="1975"/>
                    </a:lnTo>
                    <a:lnTo>
                      <a:pt x="959" y="1975"/>
                    </a:lnTo>
                    <a:lnTo>
                      <a:pt x="951" y="1984"/>
                    </a:lnTo>
                    <a:lnTo>
                      <a:pt x="943" y="1991"/>
                    </a:lnTo>
                    <a:lnTo>
                      <a:pt x="938" y="1995"/>
                    </a:lnTo>
                    <a:lnTo>
                      <a:pt x="931" y="1997"/>
                    </a:lnTo>
                    <a:lnTo>
                      <a:pt x="925" y="1998"/>
                    </a:lnTo>
                    <a:lnTo>
                      <a:pt x="916" y="2000"/>
                    </a:lnTo>
                    <a:lnTo>
                      <a:pt x="916" y="2000"/>
                    </a:lnTo>
                    <a:close/>
                    <a:moveTo>
                      <a:pt x="2278" y="1799"/>
                    </a:moveTo>
                    <a:lnTo>
                      <a:pt x="2278" y="1799"/>
                    </a:lnTo>
                    <a:lnTo>
                      <a:pt x="2272" y="1800"/>
                    </a:lnTo>
                    <a:lnTo>
                      <a:pt x="2265" y="1801"/>
                    </a:lnTo>
                    <a:lnTo>
                      <a:pt x="2250" y="1805"/>
                    </a:lnTo>
                    <a:lnTo>
                      <a:pt x="2237" y="1812"/>
                    </a:lnTo>
                    <a:lnTo>
                      <a:pt x="2225" y="1822"/>
                    </a:lnTo>
                    <a:lnTo>
                      <a:pt x="2225" y="1709"/>
                    </a:lnTo>
                    <a:lnTo>
                      <a:pt x="2164" y="1739"/>
                    </a:lnTo>
                    <a:lnTo>
                      <a:pt x="2164" y="2049"/>
                    </a:lnTo>
                    <a:lnTo>
                      <a:pt x="2225" y="2049"/>
                    </a:lnTo>
                    <a:lnTo>
                      <a:pt x="2225" y="2031"/>
                    </a:lnTo>
                    <a:lnTo>
                      <a:pt x="2225" y="2031"/>
                    </a:lnTo>
                    <a:lnTo>
                      <a:pt x="2230" y="2037"/>
                    </a:lnTo>
                    <a:lnTo>
                      <a:pt x="2237" y="2042"/>
                    </a:lnTo>
                    <a:lnTo>
                      <a:pt x="2243" y="2046"/>
                    </a:lnTo>
                    <a:lnTo>
                      <a:pt x="2250" y="2049"/>
                    </a:lnTo>
                    <a:lnTo>
                      <a:pt x="2257" y="2052"/>
                    </a:lnTo>
                    <a:lnTo>
                      <a:pt x="2265" y="2053"/>
                    </a:lnTo>
                    <a:lnTo>
                      <a:pt x="2272" y="2054"/>
                    </a:lnTo>
                    <a:lnTo>
                      <a:pt x="2280" y="2055"/>
                    </a:lnTo>
                    <a:lnTo>
                      <a:pt x="2280" y="2055"/>
                    </a:lnTo>
                    <a:lnTo>
                      <a:pt x="2291" y="2054"/>
                    </a:lnTo>
                    <a:lnTo>
                      <a:pt x="2302" y="2053"/>
                    </a:lnTo>
                    <a:lnTo>
                      <a:pt x="2311" y="2051"/>
                    </a:lnTo>
                    <a:lnTo>
                      <a:pt x="2321" y="2046"/>
                    </a:lnTo>
                    <a:lnTo>
                      <a:pt x="2329" y="2041"/>
                    </a:lnTo>
                    <a:lnTo>
                      <a:pt x="2337" y="2036"/>
                    </a:lnTo>
                    <a:lnTo>
                      <a:pt x="2344" y="2029"/>
                    </a:lnTo>
                    <a:lnTo>
                      <a:pt x="2350" y="2021"/>
                    </a:lnTo>
                    <a:lnTo>
                      <a:pt x="2356" y="2012"/>
                    </a:lnTo>
                    <a:lnTo>
                      <a:pt x="2361" y="2002"/>
                    </a:lnTo>
                    <a:lnTo>
                      <a:pt x="2365" y="1991"/>
                    </a:lnTo>
                    <a:lnTo>
                      <a:pt x="2368" y="1980"/>
                    </a:lnTo>
                    <a:lnTo>
                      <a:pt x="2372" y="1968"/>
                    </a:lnTo>
                    <a:lnTo>
                      <a:pt x="2373" y="1955"/>
                    </a:lnTo>
                    <a:lnTo>
                      <a:pt x="2374" y="1940"/>
                    </a:lnTo>
                    <a:lnTo>
                      <a:pt x="2376" y="1924"/>
                    </a:lnTo>
                    <a:lnTo>
                      <a:pt x="2376" y="1924"/>
                    </a:lnTo>
                    <a:lnTo>
                      <a:pt x="2374" y="1911"/>
                    </a:lnTo>
                    <a:lnTo>
                      <a:pt x="2373" y="1897"/>
                    </a:lnTo>
                    <a:lnTo>
                      <a:pt x="2371" y="1884"/>
                    </a:lnTo>
                    <a:lnTo>
                      <a:pt x="2368" y="1872"/>
                    </a:lnTo>
                    <a:lnTo>
                      <a:pt x="2365" y="1861"/>
                    </a:lnTo>
                    <a:lnTo>
                      <a:pt x="2360" y="1851"/>
                    </a:lnTo>
                    <a:lnTo>
                      <a:pt x="2355" y="1842"/>
                    </a:lnTo>
                    <a:lnTo>
                      <a:pt x="2349" y="1833"/>
                    </a:lnTo>
                    <a:lnTo>
                      <a:pt x="2343" y="1826"/>
                    </a:lnTo>
                    <a:lnTo>
                      <a:pt x="2336" y="1818"/>
                    </a:lnTo>
                    <a:lnTo>
                      <a:pt x="2327" y="1812"/>
                    </a:lnTo>
                    <a:lnTo>
                      <a:pt x="2319" y="1807"/>
                    </a:lnTo>
                    <a:lnTo>
                      <a:pt x="2310" y="1804"/>
                    </a:lnTo>
                    <a:lnTo>
                      <a:pt x="2300" y="1801"/>
                    </a:lnTo>
                    <a:lnTo>
                      <a:pt x="2289" y="1800"/>
                    </a:lnTo>
                    <a:lnTo>
                      <a:pt x="2278" y="1799"/>
                    </a:lnTo>
                    <a:lnTo>
                      <a:pt x="2278" y="1799"/>
                    </a:lnTo>
                    <a:close/>
                    <a:moveTo>
                      <a:pt x="2267" y="1855"/>
                    </a:moveTo>
                    <a:lnTo>
                      <a:pt x="2267" y="1855"/>
                    </a:lnTo>
                    <a:lnTo>
                      <a:pt x="2276" y="1856"/>
                    </a:lnTo>
                    <a:lnTo>
                      <a:pt x="2284" y="1859"/>
                    </a:lnTo>
                    <a:lnTo>
                      <a:pt x="2292" y="1863"/>
                    </a:lnTo>
                    <a:lnTo>
                      <a:pt x="2299" y="1871"/>
                    </a:lnTo>
                    <a:lnTo>
                      <a:pt x="2305" y="1879"/>
                    </a:lnTo>
                    <a:lnTo>
                      <a:pt x="2309" y="1891"/>
                    </a:lnTo>
                    <a:lnTo>
                      <a:pt x="2312" y="1906"/>
                    </a:lnTo>
                    <a:lnTo>
                      <a:pt x="2314" y="1923"/>
                    </a:lnTo>
                    <a:lnTo>
                      <a:pt x="2314" y="1923"/>
                    </a:lnTo>
                    <a:lnTo>
                      <a:pt x="2312" y="1941"/>
                    </a:lnTo>
                    <a:lnTo>
                      <a:pt x="2310" y="1957"/>
                    </a:lnTo>
                    <a:lnTo>
                      <a:pt x="2308" y="1969"/>
                    </a:lnTo>
                    <a:lnTo>
                      <a:pt x="2303" y="1980"/>
                    </a:lnTo>
                    <a:lnTo>
                      <a:pt x="2295" y="1989"/>
                    </a:lnTo>
                    <a:lnTo>
                      <a:pt x="2288" y="1995"/>
                    </a:lnTo>
                    <a:lnTo>
                      <a:pt x="2280" y="1998"/>
                    </a:lnTo>
                    <a:lnTo>
                      <a:pt x="2269" y="2000"/>
                    </a:lnTo>
                    <a:lnTo>
                      <a:pt x="2269" y="2000"/>
                    </a:lnTo>
                    <a:lnTo>
                      <a:pt x="2260" y="1998"/>
                    </a:lnTo>
                    <a:lnTo>
                      <a:pt x="2253" y="1997"/>
                    </a:lnTo>
                    <a:lnTo>
                      <a:pt x="2247" y="1993"/>
                    </a:lnTo>
                    <a:lnTo>
                      <a:pt x="2241" y="1991"/>
                    </a:lnTo>
                    <a:lnTo>
                      <a:pt x="2231" y="1983"/>
                    </a:lnTo>
                    <a:lnTo>
                      <a:pt x="2225" y="1976"/>
                    </a:lnTo>
                    <a:lnTo>
                      <a:pt x="2225" y="1879"/>
                    </a:lnTo>
                    <a:lnTo>
                      <a:pt x="2225" y="1879"/>
                    </a:lnTo>
                    <a:lnTo>
                      <a:pt x="2229" y="1874"/>
                    </a:lnTo>
                    <a:lnTo>
                      <a:pt x="2233" y="1869"/>
                    </a:lnTo>
                    <a:lnTo>
                      <a:pt x="2238" y="1865"/>
                    </a:lnTo>
                    <a:lnTo>
                      <a:pt x="2243" y="1861"/>
                    </a:lnTo>
                    <a:lnTo>
                      <a:pt x="2249" y="1859"/>
                    </a:lnTo>
                    <a:lnTo>
                      <a:pt x="2255" y="1856"/>
                    </a:lnTo>
                    <a:lnTo>
                      <a:pt x="2261" y="1855"/>
                    </a:lnTo>
                    <a:lnTo>
                      <a:pt x="2267" y="1855"/>
                    </a:lnTo>
                    <a:lnTo>
                      <a:pt x="2267" y="1855"/>
                    </a:lnTo>
                    <a:close/>
                    <a:moveTo>
                      <a:pt x="1591" y="1822"/>
                    </a:moveTo>
                    <a:lnTo>
                      <a:pt x="1591" y="1822"/>
                    </a:lnTo>
                    <a:lnTo>
                      <a:pt x="1586" y="1817"/>
                    </a:lnTo>
                    <a:lnTo>
                      <a:pt x="1580" y="1812"/>
                    </a:lnTo>
                    <a:lnTo>
                      <a:pt x="1572" y="1809"/>
                    </a:lnTo>
                    <a:lnTo>
                      <a:pt x="1566" y="1805"/>
                    </a:lnTo>
                    <a:lnTo>
                      <a:pt x="1559" y="1803"/>
                    </a:lnTo>
                    <a:lnTo>
                      <a:pt x="1552" y="1800"/>
                    </a:lnTo>
                    <a:lnTo>
                      <a:pt x="1544" y="1800"/>
                    </a:lnTo>
                    <a:lnTo>
                      <a:pt x="1537" y="1799"/>
                    </a:lnTo>
                    <a:lnTo>
                      <a:pt x="1537" y="1799"/>
                    </a:lnTo>
                    <a:lnTo>
                      <a:pt x="1526" y="1800"/>
                    </a:lnTo>
                    <a:lnTo>
                      <a:pt x="1515" y="1801"/>
                    </a:lnTo>
                    <a:lnTo>
                      <a:pt x="1506" y="1804"/>
                    </a:lnTo>
                    <a:lnTo>
                      <a:pt x="1497" y="1807"/>
                    </a:lnTo>
                    <a:lnTo>
                      <a:pt x="1489" y="1812"/>
                    </a:lnTo>
                    <a:lnTo>
                      <a:pt x="1480" y="1818"/>
                    </a:lnTo>
                    <a:lnTo>
                      <a:pt x="1473" y="1826"/>
                    </a:lnTo>
                    <a:lnTo>
                      <a:pt x="1467" y="1833"/>
                    </a:lnTo>
                    <a:lnTo>
                      <a:pt x="1461" y="1842"/>
                    </a:lnTo>
                    <a:lnTo>
                      <a:pt x="1456" y="1851"/>
                    </a:lnTo>
                    <a:lnTo>
                      <a:pt x="1451" y="1861"/>
                    </a:lnTo>
                    <a:lnTo>
                      <a:pt x="1447" y="1872"/>
                    </a:lnTo>
                    <a:lnTo>
                      <a:pt x="1445" y="1884"/>
                    </a:lnTo>
                    <a:lnTo>
                      <a:pt x="1442" y="1897"/>
                    </a:lnTo>
                    <a:lnTo>
                      <a:pt x="1441" y="1911"/>
                    </a:lnTo>
                    <a:lnTo>
                      <a:pt x="1441" y="1924"/>
                    </a:lnTo>
                    <a:lnTo>
                      <a:pt x="1441" y="1924"/>
                    </a:lnTo>
                    <a:lnTo>
                      <a:pt x="1441" y="1940"/>
                    </a:lnTo>
                    <a:lnTo>
                      <a:pt x="1442" y="1953"/>
                    </a:lnTo>
                    <a:lnTo>
                      <a:pt x="1445" y="1967"/>
                    </a:lnTo>
                    <a:lnTo>
                      <a:pt x="1447" y="1979"/>
                    </a:lnTo>
                    <a:lnTo>
                      <a:pt x="1451" y="1991"/>
                    </a:lnTo>
                    <a:lnTo>
                      <a:pt x="1455" y="2002"/>
                    </a:lnTo>
                    <a:lnTo>
                      <a:pt x="1461" y="2012"/>
                    </a:lnTo>
                    <a:lnTo>
                      <a:pt x="1465" y="2020"/>
                    </a:lnTo>
                    <a:lnTo>
                      <a:pt x="1473" y="2029"/>
                    </a:lnTo>
                    <a:lnTo>
                      <a:pt x="1479" y="2035"/>
                    </a:lnTo>
                    <a:lnTo>
                      <a:pt x="1487" y="2041"/>
                    </a:lnTo>
                    <a:lnTo>
                      <a:pt x="1496" y="2046"/>
                    </a:lnTo>
                    <a:lnTo>
                      <a:pt x="1504" y="2049"/>
                    </a:lnTo>
                    <a:lnTo>
                      <a:pt x="1514" y="2053"/>
                    </a:lnTo>
                    <a:lnTo>
                      <a:pt x="1525" y="2054"/>
                    </a:lnTo>
                    <a:lnTo>
                      <a:pt x="1536" y="2054"/>
                    </a:lnTo>
                    <a:lnTo>
                      <a:pt x="1536" y="2054"/>
                    </a:lnTo>
                    <a:lnTo>
                      <a:pt x="1543" y="2054"/>
                    </a:lnTo>
                    <a:lnTo>
                      <a:pt x="1551" y="2053"/>
                    </a:lnTo>
                    <a:lnTo>
                      <a:pt x="1558" y="2052"/>
                    </a:lnTo>
                    <a:lnTo>
                      <a:pt x="1565" y="2049"/>
                    </a:lnTo>
                    <a:lnTo>
                      <a:pt x="1572" y="2046"/>
                    </a:lnTo>
                    <a:lnTo>
                      <a:pt x="1578" y="2041"/>
                    </a:lnTo>
                    <a:lnTo>
                      <a:pt x="1585" y="2037"/>
                    </a:lnTo>
                    <a:lnTo>
                      <a:pt x="1591" y="2031"/>
                    </a:lnTo>
                    <a:lnTo>
                      <a:pt x="1591" y="2037"/>
                    </a:lnTo>
                    <a:lnTo>
                      <a:pt x="1591" y="2037"/>
                    </a:lnTo>
                    <a:lnTo>
                      <a:pt x="1591" y="2047"/>
                    </a:lnTo>
                    <a:lnTo>
                      <a:pt x="1589" y="2058"/>
                    </a:lnTo>
                    <a:lnTo>
                      <a:pt x="1587" y="2069"/>
                    </a:lnTo>
                    <a:lnTo>
                      <a:pt x="1585" y="2074"/>
                    </a:lnTo>
                    <a:lnTo>
                      <a:pt x="1581" y="2079"/>
                    </a:lnTo>
                    <a:lnTo>
                      <a:pt x="1577" y="2083"/>
                    </a:lnTo>
                    <a:lnTo>
                      <a:pt x="1572" y="2088"/>
                    </a:lnTo>
                    <a:lnTo>
                      <a:pt x="1565" y="2092"/>
                    </a:lnTo>
                    <a:lnTo>
                      <a:pt x="1558" y="2094"/>
                    </a:lnTo>
                    <a:lnTo>
                      <a:pt x="1549" y="2098"/>
                    </a:lnTo>
                    <a:lnTo>
                      <a:pt x="1538" y="2099"/>
                    </a:lnTo>
                    <a:lnTo>
                      <a:pt x="1526" y="2102"/>
                    </a:lnTo>
                    <a:lnTo>
                      <a:pt x="1513" y="2102"/>
                    </a:lnTo>
                    <a:lnTo>
                      <a:pt x="1510" y="2102"/>
                    </a:lnTo>
                    <a:lnTo>
                      <a:pt x="1531" y="2149"/>
                    </a:lnTo>
                    <a:lnTo>
                      <a:pt x="1532" y="2149"/>
                    </a:lnTo>
                    <a:lnTo>
                      <a:pt x="1532" y="2149"/>
                    </a:lnTo>
                    <a:lnTo>
                      <a:pt x="1547" y="2149"/>
                    </a:lnTo>
                    <a:lnTo>
                      <a:pt x="1560" y="2147"/>
                    </a:lnTo>
                    <a:lnTo>
                      <a:pt x="1574" y="2144"/>
                    </a:lnTo>
                    <a:lnTo>
                      <a:pt x="1585" y="2141"/>
                    </a:lnTo>
                    <a:lnTo>
                      <a:pt x="1595" y="2137"/>
                    </a:lnTo>
                    <a:lnTo>
                      <a:pt x="1605" y="2132"/>
                    </a:lnTo>
                    <a:lnTo>
                      <a:pt x="1614" y="2125"/>
                    </a:lnTo>
                    <a:lnTo>
                      <a:pt x="1622" y="2119"/>
                    </a:lnTo>
                    <a:lnTo>
                      <a:pt x="1630" y="2110"/>
                    </a:lnTo>
                    <a:lnTo>
                      <a:pt x="1634" y="2100"/>
                    </a:lnTo>
                    <a:lnTo>
                      <a:pt x="1640" y="2091"/>
                    </a:lnTo>
                    <a:lnTo>
                      <a:pt x="1644" y="2080"/>
                    </a:lnTo>
                    <a:lnTo>
                      <a:pt x="1648" y="2068"/>
                    </a:lnTo>
                    <a:lnTo>
                      <a:pt x="1650" y="2055"/>
                    </a:lnTo>
                    <a:lnTo>
                      <a:pt x="1651" y="2042"/>
                    </a:lnTo>
                    <a:lnTo>
                      <a:pt x="1651" y="2026"/>
                    </a:lnTo>
                    <a:lnTo>
                      <a:pt x="1651" y="1805"/>
                    </a:lnTo>
                    <a:lnTo>
                      <a:pt x="1591" y="1805"/>
                    </a:lnTo>
                    <a:lnTo>
                      <a:pt x="1591" y="1822"/>
                    </a:lnTo>
                    <a:close/>
                    <a:moveTo>
                      <a:pt x="1591" y="1879"/>
                    </a:moveTo>
                    <a:lnTo>
                      <a:pt x="1591" y="1975"/>
                    </a:lnTo>
                    <a:lnTo>
                      <a:pt x="1591" y="1975"/>
                    </a:lnTo>
                    <a:lnTo>
                      <a:pt x="1583" y="1984"/>
                    </a:lnTo>
                    <a:lnTo>
                      <a:pt x="1574" y="1992"/>
                    </a:lnTo>
                    <a:lnTo>
                      <a:pt x="1569" y="1995"/>
                    </a:lnTo>
                    <a:lnTo>
                      <a:pt x="1563" y="1997"/>
                    </a:lnTo>
                    <a:lnTo>
                      <a:pt x="1555" y="1998"/>
                    </a:lnTo>
                    <a:lnTo>
                      <a:pt x="1548" y="2000"/>
                    </a:lnTo>
                    <a:lnTo>
                      <a:pt x="1548" y="2000"/>
                    </a:lnTo>
                    <a:lnTo>
                      <a:pt x="1540" y="1998"/>
                    </a:lnTo>
                    <a:lnTo>
                      <a:pt x="1532" y="1996"/>
                    </a:lnTo>
                    <a:lnTo>
                      <a:pt x="1524" y="1991"/>
                    </a:lnTo>
                    <a:lnTo>
                      <a:pt x="1518" y="1985"/>
                    </a:lnTo>
                    <a:lnTo>
                      <a:pt x="1512" y="1975"/>
                    </a:lnTo>
                    <a:lnTo>
                      <a:pt x="1507" y="1962"/>
                    </a:lnTo>
                    <a:lnTo>
                      <a:pt x="1503" y="1945"/>
                    </a:lnTo>
                    <a:lnTo>
                      <a:pt x="1502" y="1923"/>
                    </a:lnTo>
                    <a:lnTo>
                      <a:pt x="1502" y="1923"/>
                    </a:lnTo>
                    <a:lnTo>
                      <a:pt x="1503" y="1904"/>
                    </a:lnTo>
                    <a:lnTo>
                      <a:pt x="1507" y="1889"/>
                    </a:lnTo>
                    <a:lnTo>
                      <a:pt x="1512" y="1877"/>
                    </a:lnTo>
                    <a:lnTo>
                      <a:pt x="1518" y="1868"/>
                    </a:lnTo>
                    <a:lnTo>
                      <a:pt x="1524" y="1861"/>
                    </a:lnTo>
                    <a:lnTo>
                      <a:pt x="1532" y="1857"/>
                    </a:lnTo>
                    <a:lnTo>
                      <a:pt x="1540" y="1855"/>
                    </a:lnTo>
                    <a:lnTo>
                      <a:pt x="1548" y="1855"/>
                    </a:lnTo>
                    <a:lnTo>
                      <a:pt x="1548" y="1855"/>
                    </a:lnTo>
                    <a:lnTo>
                      <a:pt x="1555" y="1855"/>
                    </a:lnTo>
                    <a:lnTo>
                      <a:pt x="1563" y="1857"/>
                    </a:lnTo>
                    <a:lnTo>
                      <a:pt x="1570" y="1860"/>
                    </a:lnTo>
                    <a:lnTo>
                      <a:pt x="1575" y="1862"/>
                    </a:lnTo>
                    <a:lnTo>
                      <a:pt x="1580" y="1867"/>
                    </a:lnTo>
                    <a:lnTo>
                      <a:pt x="1585" y="1871"/>
                    </a:lnTo>
                    <a:lnTo>
                      <a:pt x="1591" y="1879"/>
                    </a:lnTo>
                    <a:lnTo>
                      <a:pt x="1591" y="1879"/>
                    </a:lnTo>
                    <a:close/>
                    <a:moveTo>
                      <a:pt x="1840" y="1865"/>
                    </a:moveTo>
                    <a:lnTo>
                      <a:pt x="1840" y="1865"/>
                    </a:lnTo>
                    <a:lnTo>
                      <a:pt x="1854" y="1857"/>
                    </a:lnTo>
                    <a:lnTo>
                      <a:pt x="1869" y="1852"/>
                    </a:lnTo>
                    <a:lnTo>
                      <a:pt x="1885" y="1849"/>
                    </a:lnTo>
                    <a:lnTo>
                      <a:pt x="1902" y="1848"/>
                    </a:lnTo>
                    <a:lnTo>
                      <a:pt x="1902" y="1848"/>
                    </a:lnTo>
                    <a:lnTo>
                      <a:pt x="1913" y="1849"/>
                    </a:lnTo>
                    <a:lnTo>
                      <a:pt x="1921" y="1850"/>
                    </a:lnTo>
                    <a:lnTo>
                      <a:pt x="1928" y="1852"/>
                    </a:lnTo>
                    <a:lnTo>
                      <a:pt x="1935" y="1857"/>
                    </a:lnTo>
                    <a:lnTo>
                      <a:pt x="1939" y="1862"/>
                    </a:lnTo>
                    <a:lnTo>
                      <a:pt x="1943" y="1868"/>
                    </a:lnTo>
                    <a:lnTo>
                      <a:pt x="1945" y="1874"/>
                    </a:lnTo>
                    <a:lnTo>
                      <a:pt x="1945" y="1883"/>
                    </a:lnTo>
                    <a:lnTo>
                      <a:pt x="1945" y="1900"/>
                    </a:lnTo>
                    <a:lnTo>
                      <a:pt x="1945" y="1900"/>
                    </a:lnTo>
                    <a:lnTo>
                      <a:pt x="1935" y="1895"/>
                    </a:lnTo>
                    <a:lnTo>
                      <a:pt x="1921" y="1891"/>
                    </a:lnTo>
                    <a:lnTo>
                      <a:pt x="1908" y="1889"/>
                    </a:lnTo>
                    <a:lnTo>
                      <a:pt x="1893" y="1888"/>
                    </a:lnTo>
                    <a:lnTo>
                      <a:pt x="1893" y="1888"/>
                    </a:lnTo>
                    <a:lnTo>
                      <a:pt x="1876" y="1889"/>
                    </a:lnTo>
                    <a:lnTo>
                      <a:pt x="1859" y="1893"/>
                    </a:lnTo>
                    <a:lnTo>
                      <a:pt x="1843" y="1897"/>
                    </a:lnTo>
                    <a:lnTo>
                      <a:pt x="1835" y="1901"/>
                    </a:lnTo>
                    <a:lnTo>
                      <a:pt x="1828" y="1906"/>
                    </a:lnTo>
                    <a:lnTo>
                      <a:pt x="1822" y="1911"/>
                    </a:lnTo>
                    <a:lnTo>
                      <a:pt x="1815" y="1917"/>
                    </a:lnTo>
                    <a:lnTo>
                      <a:pt x="1809" y="1923"/>
                    </a:lnTo>
                    <a:lnTo>
                      <a:pt x="1805" y="1930"/>
                    </a:lnTo>
                    <a:lnTo>
                      <a:pt x="1801" y="1939"/>
                    </a:lnTo>
                    <a:lnTo>
                      <a:pt x="1798" y="1948"/>
                    </a:lnTo>
                    <a:lnTo>
                      <a:pt x="1797" y="1958"/>
                    </a:lnTo>
                    <a:lnTo>
                      <a:pt x="1796" y="1968"/>
                    </a:lnTo>
                    <a:lnTo>
                      <a:pt x="1796" y="1968"/>
                    </a:lnTo>
                    <a:lnTo>
                      <a:pt x="1797" y="1980"/>
                    </a:lnTo>
                    <a:lnTo>
                      <a:pt x="1798" y="1991"/>
                    </a:lnTo>
                    <a:lnTo>
                      <a:pt x="1801" y="2000"/>
                    </a:lnTo>
                    <a:lnTo>
                      <a:pt x="1805" y="2009"/>
                    </a:lnTo>
                    <a:lnTo>
                      <a:pt x="1808" y="2017"/>
                    </a:lnTo>
                    <a:lnTo>
                      <a:pt x="1814" y="2024"/>
                    </a:lnTo>
                    <a:lnTo>
                      <a:pt x="1819" y="2030"/>
                    </a:lnTo>
                    <a:lnTo>
                      <a:pt x="1826" y="2036"/>
                    </a:lnTo>
                    <a:lnTo>
                      <a:pt x="1832" y="2041"/>
                    </a:lnTo>
                    <a:lnTo>
                      <a:pt x="1840" y="2045"/>
                    </a:lnTo>
                    <a:lnTo>
                      <a:pt x="1856" y="2051"/>
                    </a:lnTo>
                    <a:lnTo>
                      <a:pt x="1871" y="2054"/>
                    </a:lnTo>
                    <a:lnTo>
                      <a:pt x="1887" y="2055"/>
                    </a:lnTo>
                    <a:lnTo>
                      <a:pt x="1887" y="2055"/>
                    </a:lnTo>
                    <a:lnTo>
                      <a:pt x="1901" y="2053"/>
                    </a:lnTo>
                    <a:lnTo>
                      <a:pt x="1909" y="2052"/>
                    </a:lnTo>
                    <a:lnTo>
                      <a:pt x="1916" y="2049"/>
                    </a:lnTo>
                    <a:lnTo>
                      <a:pt x="1925" y="2046"/>
                    </a:lnTo>
                    <a:lnTo>
                      <a:pt x="1932" y="2041"/>
                    </a:lnTo>
                    <a:lnTo>
                      <a:pt x="1939" y="2036"/>
                    </a:lnTo>
                    <a:lnTo>
                      <a:pt x="1945" y="2030"/>
                    </a:lnTo>
                    <a:lnTo>
                      <a:pt x="1945" y="2049"/>
                    </a:lnTo>
                    <a:lnTo>
                      <a:pt x="2006" y="2049"/>
                    </a:lnTo>
                    <a:lnTo>
                      <a:pt x="2006" y="1884"/>
                    </a:lnTo>
                    <a:lnTo>
                      <a:pt x="2006" y="1884"/>
                    </a:lnTo>
                    <a:lnTo>
                      <a:pt x="2006" y="1874"/>
                    </a:lnTo>
                    <a:lnTo>
                      <a:pt x="2005" y="1866"/>
                    </a:lnTo>
                    <a:lnTo>
                      <a:pt x="2003" y="1857"/>
                    </a:lnTo>
                    <a:lnTo>
                      <a:pt x="2000" y="1849"/>
                    </a:lnTo>
                    <a:lnTo>
                      <a:pt x="1995" y="1842"/>
                    </a:lnTo>
                    <a:lnTo>
                      <a:pt x="1992" y="1834"/>
                    </a:lnTo>
                    <a:lnTo>
                      <a:pt x="1986" y="1828"/>
                    </a:lnTo>
                    <a:lnTo>
                      <a:pt x="1979" y="1822"/>
                    </a:lnTo>
                    <a:lnTo>
                      <a:pt x="1973" y="1817"/>
                    </a:lnTo>
                    <a:lnTo>
                      <a:pt x="1966" y="1812"/>
                    </a:lnTo>
                    <a:lnTo>
                      <a:pt x="1958" y="1809"/>
                    </a:lnTo>
                    <a:lnTo>
                      <a:pt x="1949" y="1805"/>
                    </a:lnTo>
                    <a:lnTo>
                      <a:pt x="1939" y="1803"/>
                    </a:lnTo>
                    <a:lnTo>
                      <a:pt x="1930" y="1801"/>
                    </a:lnTo>
                    <a:lnTo>
                      <a:pt x="1919" y="1800"/>
                    </a:lnTo>
                    <a:lnTo>
                      <a:pt x="1908" y="1799"/>
                    </a:lnTo>
                    <a:lnTo>
                      <a:pt x="1908" y="1799"/>
                    </a:lnTo>
                    <a:lnTo>
                      <a:pt x="1894" y="1800"/>
                    </a:lnTo>
                    <a:lnTo>
                      <a:pt x="1883" y="1800"/>
                    </a:lnTo>
                    <a:lnTo>
                      <a:pt x="1871" y="1803"/>
                    </a:lnTo>
                    <a:lnTo>
                      <a:pt x="1859" y="1805"/>
                    </a:lnTo>
                    <a:lnTo>
                      <a:pt x="1848" y="1809"/>
                    </a:lnTo>
                    <a:lnTo>
                      <a:pt x="1837" y="1812"/>
                    </a:lnTo>
                    <a:lnTo>
                      <a:pt x="1826" y="1817"/>
                    </a:lnTo>
                    <a:lnTo>
                      <a:pt x="1815" y="1823"/>
                    </a:lnTo>
                    <a:lnTo>
                      <a:pt x="1840" y="1865"/>
                    </a:lnTo>
                    <a:close/>
                    <a:moveTo>
                      <a:pt x="1857" y="1968"/>
                    </a:moveTo>
                    <a:lnTo>
                      <a:pt x="1857" y="1968"/>
                    </a:lnTo>
                    <a:lnTo>
                      <a:pt x="1857" y="1961"/>
                    </a:lnTo>
                    <a:lnTo>
                      <a:pt x="1859" y="1953"/>
                    </a:lnTo>
                    <a:lnTo>
                      <a:pt x="1863" y="1947"/>
                    </a:lnTo>
                    <a:lnTo>
                      <a:pt x="1868" y="1942"/>
                    </a:lnTo>
                    <a:lnTo>
                      <a:pt x="1874" y="1939"/>
                    </a:lnTo>
                    <a:lnTo>
                      <a:pt x="1881" y="1936"/>
                    </a:lnTo>
                    <a:lnTo>
                      <a:pt x="1890" y="1934"/>
                    </a:lnTo>
                    <a:lnTo>
                      <a:pt x="1898" y="1934"/>
                    </a:lnTo>
                    <a:lnTo>
                      <a:pt x="1898" y="1934"/>
                    </a:lnTo>
                    <a:lnTo>
                      <a:pt x="1911" y="1934"/>
                    </a:lnTo>
                    <a:lnTo>
                      <a:pt x="1924" y="1936"/>
                    </a:lnTo>
                    <a:lnTo>
                      <a:pt x="1935" y="1940"/>
                    </a:lnTo>
                    <a:lnTo>
                      <a:pt x="1945" y="1946"/>
                    </a:lnTo>
                    <a:lnTo>
                      <a:pt x="1945" y="1979"/>
                    </a:lnTo>
                    <a:lnTo>
                      <a:pt x="1945" y="1979"/>
                    </a:lnTo>
                    <a:lnTo>
                      <a:pt x="1943" y="1984"/>
                    </a:lnTo>
                    <a:lnTo>
                      <a:pt x="1938" y="1989"/>
                    </a:lnTo>
                    <a:lnTo>
                      <a:pt x="1933" y="1993"/>
                    </a:lnTo>
                    <a:lnTo>
                      <a:pt x="1927" y="1997"/>
                    </a:lnTo>
                    <a:lnTo>
                      <a:pt x="1921" y="2001"/>
                    </a:lnTo>
                    <a:lnTo>
                      <a:pt x="1914" y="2003"/>
                    </a:lnTo>
                    <a:lnTo>
                      <a:pt x="1907" y="2004"/>
                    </a:lnTo>
                    <a:lnTo>
                      <a:pt x="1898" y="2006"/>
                    </a:lnTo>
                    <a:lnTo>
                      <a:pt x="1898" y="2006"/>
                    </a:lnTo>
                    <a:lnTo>
                      <a:pt x="1890" y="2004"/>
                    </a:lnTo>
                    <a:lnTo>
                      <a:pt x="1881" y="2002"/>
                    </a:lnTo>
                    <a:lnTo>
                      <a:pt x="1874" y="2000"/>
                    </a:lnTo>
                    <a:lnTo>
                      <a:pt x="1868" y="1995"/>
                    </a:lnTo>
                    <a:lnTo>
                      <a:pt x="1863" y="1990"/>
                    </a:lnTo>
                    <a:lnTo>
                      <a:pt x="1859" y="1984"/>
                    </a:lnTo>
                    <a:lnTo>
                      <a:pt x="1858" y="1976"/>
                    </a:lnTo>
                    <a:lnTo>
                      <a:pt x="1857" y="1968"/>
                    </a:lnTo>
                    <a:lnTo>
                      <a:pt x="1857" y="1968"/>
                    </a:lnTo>
                    <a:close/>
                    <a:moveTo>
                      <a:pt x="2569" y="1979"/>
                    </a:moveTo>
                    <a:lnTo>
                      <a:pt x="2569" y="1979"/>
                    </a:lnTo>
                    <a:lnTo>
                      <a:pt x="2560" y="1986"/>
                    </a:lnTo>
                    <a:lnTo>
                      <a:pt x="2549" y="1992"/>
                    </a:lnTo>
                    <a:lnTo>
                      <a:pt x="2543" y="1995"/>
                    </a:lnTo>
                    <a:lnTo>
                      <a:pt x="2536" y="1997"/>
                    </a:lnTo>
                    <a:lnTo>
                      <a:pt x="2529" y="1998"/>
                    </a:lnTo>
                    <a:lnTo>
                      <a:pt x="2521" y="2000"/>
                    </a:lnTo>
                    <a:lnTo>
                      <a:pt x="2521" y="2000"/>
                    </a:lnTo>
                    <a:lnTo>
                      <a:pt x="2515" y="1998"/>
                    </a:lnTo>
                    <a:lnTo>
                      <a:pt x="2508" y="1998"/>
                    </a:lnTo>
                    <a:lnTo>
                      <a:pt x="2500" y="1996"/>
                    </a:lnTo>
                    <a:lnTo>
                      <a:pt x="2490" y="1991"/>
                    </a:lnTo>
                    <a:lnTo>
                      <a:pt x="2481" y="1985"/>
                    </a:lnTo>
                    <a:lnTo>
                      <a:pt x="2478" y="1980"/>
                    </a:lnTo>
                    <a:lnTo>
                      <a:pt x="2474" y="1975"/>
                    </a:lnTo>
                    <a:lnTo>
                      <a:pt x="2472" y="1969"/>
                    </a:lnTo>
                    <a:lnTo>
                      <a:pt x="2469" y="1962"/>
                    </a:lnTo>
                    <a:lnTo>
                      <a:pt x="2468" y="1955"/>
                    </a:lnTo>
                    <a:lnTo>
                      <a:pt x="2467" y="1946"/>
                    </a:lnTo>
                    <a:lnTo>
                      <a:pt x="2616" y="1946"/>
                    </a:lnTo>
                    <a:lnTo>
                      <a:pt x="2616" y="1946"/>
                    </a:lnTo>
                    <a:lnTo>
                      <a:pt x="2617" y="1928"/>
                    </a:lnTo>
                    <a:lnTo>
                      <a:pt x="2617" y="1928"/>
                    </a:lnTo>
                    <a:lnTo>
                      <a:pt x="2617" y="1913"/>
                    </a:lnTo>
                    <a:lnTo>
                      <a:pt x="2615" y="1900"/>
                    </a:lnTo>
                    <a:lnTo>
                      <a:pt x="2614" y="1886"/>
                    </a:lnTo>
                    <a:lnTo>
                      <a:pt x="2610" y="1874"/>
                    </a:lnTo>
                    <a:lnTo>
                      <a:pt x="2607" y="1863"/>
                    </a:lnTo>
                    <a:lnTo>
                      <a:pt x="2602" y="1852"/>
                    </a:lnTo>
                    <a:lnTo>
                      <a:pt x="2596" y="1843"/>
                    </a:lnTo>
                    <a:lnTo>
                      <a:pt x="2589" y="1834"/>
                    </a:lnTo>
                    <a:lnTo>
                      <a:pt x="2582" y="1826"/>
                    </a:lnTo>
                    <a:lnTo>
                      <a:pt x="2575" y="1820"/>
                    </a:lnTo>
                    <a:lnTo>
                      <a:pt x="2566" y="1814"/>
                    </a:lnTo>
                    <a:lnTo>
                      <a:pt x="2557" y="1809"/>
                    </a:lnTo>
                    <a:lnTo>
                      <a:pt x="2547" y="1805"/>
                    </a:lnTo>
                    <a:lnTo>
                      <a:pt x="2537" y="1801"/>
                    </a:lnTo>
                    <a:lnTo>
                      <a:pt x="2526" y="1800"/>
                    </a:lnTo>
                    <a:lnTo>
                      <a:pt x="2514" y="1799"/>
                    </a:lnTo>
                    <a:lnTo>
                      <a:pt x="2514" y="1799"/>
                    </a:lnTo>
                    <a:lnTo>
                      <a:pt x="2503" y="1800"/>
                    </a:lnTo>
                    <a:lnTo>
                      <a:pt x="2492" y="1801"/>
                    </a:lnTo>
                    <a:lnTo>
                      <a:pt x="2481" y="1805"/>
                    </a:lnTo>
                    <a:lnTo>
                      <a:pt x="2470" y="1809"/>
                    </a:lnTo>
                    <a:lnTo>
                      <a:pt x="2461" y="1814"/>
                    </a:lnTo>
                    <a:lnTo>
                      <a:pt x="2452" y="1821"/>
                    </a:lnTo>
                    <a:lnTo>
                      <a:pt x="2444" y="1827"/>
                    </a:lnTo>
                    <a:lnTo>
                      <a:pt x="2436" y="1835"/>
                    </a:lnTo>
                    <a:lnTo>
                      <a:pt x="2429" y="1844"/>
                    </a:lnTo>
                    <a:lnTo>
                      <a:pt x="2423" y="1854"/>
                    </a:lnTo>
                    <a:lnTo>
                      <a:pt x="2418" y="1865"/>
                    </a:lnTo>
                    <a:lnTo>
                      <a:pt x="2413" y="1876"/>
                    </a:lnTo>
                    <a:lnTo>
                      <a:pt x="2410" y="1888"/>
                    </a:lnTo>
                    <a:lnTo>
                      <a:pt x="2407" y="1901"/>
                    </a:lnTo>
                    <a:lnTo>
                      <a:pt x="2406" y="1913"/>
                    </a:lnTo>
                    <a:lnTo>
                      <a:pt x="2405" y="1928"/>
                    </a:lnTo>
                    <a:lnTo>
                      <a:pt x="2405" y="1928"/>
                    </a:lnTo>
                    <a:lnTo>
                      <a:pt x="2406" y="1941"/>
                    </a:lnTo>
                    <a:lnTo>
                      <a:pt x="2407" y="1955"/>
                    </a:lnTo>
                    <a:lnTo>
                      <a:pt x="2410" y="1968"/>
                    </a:lnTo>
                    <a:lnTo>
                      <a:pt x="2413" y="1980"/>
                    </a:lnTo>
                    <a:lnTo>
                      <a:pt x="2418" y="1991"/>
                    </a:lnTo>
                    <a:lnTo>
                      <a:pt x="2423" y="2002"/>
                    </a:lnTo>
                    <a:lnTo>
                      <a:pt x="2429" y="2012"/>
                    </a:lnTo>
                    <a:lnTo>
                      <a:pt x="2436" y="2020"/>
                    </a:lnTo>
                    <a:lnTo>
                      <a:pt x="2445" y="2028"/>
                    </a:lnTo>
                    <a:lnTo>
                      <a:pt x="2453" y="2035"/>
                    </a:lnTo>
                    <a:lnTo>
                      <a:pt x="2463" y="2041"/>
                    </a:lnTo>
                    <a:lnTo>
                      <a:pt x="2473" y="2046"/>
                    </a:lnTo>
                    <a:lnTo>
                      <a:pt x="2484" y="2049"/>
                    </a:lnTo>
                    <a:lnTo>
                      <a:pt x="2496" y="2053"/>
                    </a:lnTo>
                    <a:lnTo>
                      <a:pt x="2508" y="2054"/>
                    </a:lnTo>
                    <a:lnTo>
                      <a:pt x="2521" y="2055"/>
                    </a:lnTo>
                    <a:lnTo>
                      <a:pt x="2521" y="2055"/>
                    </a:lnTo>
                    <a:lnTo>
                      <a:pt x="2534" y="2054"/>
                    </a:lnTo>
                    <a:lnTo>
                      <a:pt x="2545" y="2053"/>
                    </a:lnTo>
                    <a:lnTo>
                      <a:pt x="2557" y="2049"/>
                    </a:lnTo>
                    <a:lnTo>
                      <a:pt x="2568" y="2046"/>
                    </a:lnTo>
                    <a:lnTo>
                      <a:pt x="2579" y="2040"/>
                    </a:lnTo>
                    <a:lnTo>
                      <a:pt x="2588" y="2034"/>
                    </a:lnTo>
                    <a:lnTo>
                      <a:pt x="2598" y="2025"/>
                    </a:lnTo>
                    <a:lnTo>
                      <a:pt x="2608" y="2017"/>
                    </a:lnTo>
                    <a:lnTo>
                      <a:pt x="2569" y="1979"/>
                    </a:lnTo>
                    <a:close/>
                    <a:moveTo>
                      <a:pt x="2468" y="1901"/>
                    </a:moveTo>
                    <a:lnTo>
                      <a:pt x="2468" y="1901"/>
                    </a:lnTo>
                    <a:lnTo>
                      <a:pt x="2469" y="1890"/>
                    </a:lnTo>
                    <a:lnTo>
                      <a:pt x="2472" y="1880"/>
                    </a:lnTo>
                    <a:lnTo>
                      <a:pt x="2475" y="1872"/>
                    </a:lnTo>
                    <a:lnTo>
                      <a:pt x="2481" y="1865"/>
                    </a:lnTo>
                    <a:lnTo>
                      <a:pt x="2487" y="1859"/>
                    </a:lnTo>
                    <a:lnTo>
                      <a:pt x="2495" y="1855"/>
                    </a:lnTo>
                    <a:lnTo>
                      <a:pt x="2503" y="1851"/>
                    </a:lnTo>
                    <a:lnTo>
                      <a:pt x="2513" y="1851"/>
                    </a:lnTo>
                    <a:lnTo>
                      <a:pt x="2513" y="1851"/>
                    </a:lnTo>
                    <a:lnTo>
                      <a:pt x="2524" y="1852"/>
                    </a:lnTo>
                    <a:lnTo>
                      <a:pt x="2534" y="1855"/>
                    </a:lnTo>
                    <a:lnTo>
                      <a:pt x="2541" y="1860"/>
                    </a:lnTo>
                    <a:lnTo>
                      <a:pt x="2547" y="1867"/>
                    </a:lnTo>
                    <a:lnTo>
                      <a:pt x="2552" y="1874"/>
                    </a:lnTo>
                    <a:lnTo>
                      <a:pt x="2555" y="1883"/>
                    </a:lnTo>
                    <a:lnTo>
                      <a:pt x="2558" y="1893"/>
                    </a:lnTo>
                    <a:lnTo>
                      <a:pt x="2559" y="1901"/>
                    </a:lnTo>
                    <a:lnTo>
                      <a:pt x="2468" y="1901"/>
                    </a:lnTo>
                    <a:close/>
                    <a:moveTo>
                      <a:pt x="3153" y="1979"/>
                    </a:moveTo>
                    <a:lnTo>
                      <a:pt x="3153" y="1979"/>
                    </a:lnTo>
                    <a:lnTo>
                      <a:pt x="3144" y="1986"/>
                    </a:lnTo>
                    <a:lnTo>
                      <a:pt x="3134" y="1992"/>
                    </a:lnTo>
                    <a:lnTo>
                      <a:pt x="3127" y="1995"/>
                    </a:lnTo>
                    <a:lnTo>
                      <a:pt x="3121" y="1997"/>
                    </a:lnTo>
                    <a:lnTo>
                      <a:pt x="3113" y="1998"/>
                    </a:lnTo>
                    <a:lnTo>
                      <a:pt x="3105" y="2000"/>
                    </a:lnTo>
                    <a:lnTo>
                      <a:pt x="3105" y="2000"/>
                    </a:lnTo>
                    <a:lnTo>
                      <a:pt x="3099" y="1998"/>
                    </a:lnTo>
                    <a:lnTo>
                      <a:pt x="3091" y="1998"/>
                    </a:lnTo>
                    <a:lnTo>
                      <a:pt x="3083" y="1996"/>
                    </a:lnTo>
                    <a:lnTo>
                      <a:pt x="3074" y="1991"/>
                    </a:lnTo>
                    <a:lnTo>
                      <a:pt x="3066" y="1985"/>
                    </a:lnTo>
                    <a:lnTo>
                      <a:pt x="3062" y="1980"/>
                    </a:lnTo>
                    <a:lnTo>
                      <a:pt x="3059" y="1975"/>
                    </a:lnTo>
                    <a:lnTo>
                      <a:pt x="3056" y="1969"/>
                    </a:lnTo>
                    <a:lnTo>
                      <a:pt x="3054" y="1962"/>
                    </a:lnTo>
                    <a:lnTo>
                      <a:pt x="3051" y="1955"/>
                    </a:lnTo>
                    <a:lnTo>
                      <a:pt x="3050" y="1946"/>
                    </a:lnTo>
                    <a:lnTo>
                      <a:pt x="3201" y="1946"/>
                    </a:lnTo>
                    <a:lnTo>
                      <a:pt x="3201" y="1946"/>
                    </a:lnTo>
                    <a:lnTo>
                      <a:pt x="3202" y="1928"/>
                    </a:lnTo>
                    <a:lnTo>
                      <a:pt x="3202" y="1928"/>
                    </a:lnTo>
                    <a:lnTo>
                      <a:pt x="3201" y="1913"/>
                    </a:lnTo>
                    <a:lnTo>
                      <a:pt x="3199" y="1900"/>
                    </a:lnTo>
                    <a:lnTo>
                      <a:pt x="3197" y="1886"/>
                    </a:lnTo>
                    <a:lnTo>
                      <a:pt x="3195" y="1874"/>
                    </a:lnTo>
                    <a:lnTo>
                      <a:pt x="3190" y="1863"/>
                    </a:lnTo>
                    <a:lnTo>
                      <a:pt x="3185" y="1852"/>
                    </a:lnTo>
                    <a:lnTo>
                      <a:pt x="3180" y="1843"/>
                    </a:lnTo>
                    <a:lnTo>
                      <a:pt x="3174" y="1834"/>
                    </a:lnTo>
                    <a:lnTo>
                      <a:pt x="3167" y="1826"/>
                    </a:lnTo>
                    <a:lnTo>
                      <a:pt x="3158" y="1820"/>
                    </a:lnTo>
                    <a:lnTo>
                      <a:pt x="3150" y="1814"/>
                    </a:lnTo>
                    <a:lnTo>
                      <a:pt x="3141" y="1809"/>
                    </a:lnTo>
                    <a:lnTo>
                      <a:pt x="3131" y="1805"/>
                    </a:lnTo>
                    <a:lnTo>
                      <a:pt x="3121" y="1801"/>
                    </a:lnTo>
                    <a:lnTo>
                      <a:pt x="3110" y="1800"/>
                    </a:lnTo>
                    <a:lnTo>
                      <a:pt x="3099" y="1799"/>
                    </a:lnTo>
                    <a:lnTo>
                      <a:pt x="3099" y="1799"/>
                    </a:lnTo>
                    <a:lnTo>
                      <a:pt x="3086" y="1800"/>
                    </a:lnTo>
                    <a:lnTo>
                      <a:pt x="3076" y="1801"/>
                    </a:lnTo>
                    <a:lnTo>
                      <a:pt x="3065" y="1805"/>
                    </a:lnTo>
                    <a:lnTo>
                      <a:pt x="3055" y="1809"/>
                    </a:lnTo>
                    <a:lnTo>
                      <a:pt x="3045" y="1814"/>
                    </a:lnTo>
                    <a:lnTo>
                      <a:pt x="3035" y="1821"/>
                    </a:lnTo>
                    <a:lnTo>
                      <a:pt x="3028" y="1827"/>
                    </a:lnTo>
                    <a:lnTo>
                      <a:pt x="3020" y="1835"/>
                    </a:lnTo>
                    <a:lnTo>
                      <a:pt x="3012" y="1844"/>
                    </a:lnTo>
                    <a:lnTo>
                      <a:pt x="3006" y="1854"/>
                    </a:lnTo>
                    <a:lnTo>
                      <a:pt x="3001" y="1865"/>
                    </a:lnTo>
                    <a:lnTo>
                      <a:pt x="2997" y="1876"/>
                    </a:lnTo>
                    <a:lnTo>
                      <a:pt x="2994" y="1888"/>
                    </a:lnTo>
                    <a:lnTo>
                      <a:pt x="2990" y="1901"/>
                    </a:lnTo>
                    <a:lnTo>
                      <a:pt x="2989" y="1913"/>
                    </a:lnTo>
                    <a:lnTo>
                      <a:pt x="2989" y="1928"/>
                    </a:lnTo>
                    <a:lnTo>
                      <a:pt x="2989" y="1928"/>
                    </a:lnTo>
                    <a:lnTo>
                      <a:pt x="2989" y="1941"/>
                    </a:lnTo>
                    <a:lnTo>
                      <a:pt x="2990" y="1955"/>
                    </a:lnTo>
                    <a:lnTo>
                      <a:pt x="2993" y="1968"/>
                    </a:lnTo>
                    <a:lnTo>
                      <a:pt x="2997" y="1980"/>
                    </a:lnTo>
                    <a:lnTo>
                      <a:pt x="3001" y="1991"/>
                    </a:lnTo>
                    <a:lnTo>
                      <a:pt x="3008" y="2002"/>
                    </a:lnTo>
                    <a:lnTo>
                      <a:pt x="3014" y="2012"/>
                    </a:lnTo>
                    <a:lnTo>
                      <a:pt x="3021" y="2020"/>
                    </a:lnTo>
                    <a:lnTo>
                      <a:pt x="3028" y="2028"/>
                    </a:lnTo>
                    <a:lnTo>
                      <a:pt x="3037" y="2035"/>
                    </a:lnTo>
                    <a:lnTo>
                      <a:pt x="3046" y="2041"/>
                    </a:lnTo>
                    <a:lnTo>
                      <a:pt x="3057" y="2046"/>
                    </a:lnTo>
                    <a:lnTo>
                      <a:pt x="3068" y="2049"/>
                    </a:lnTo>
                    <a:lnTo>
                      <a:pt x="3079" y="2053"/>
                    </a:lnTo>
                    <a:lnTo>
                      <a:pt x="3093" y="2054"/>
                    </a:lnTo>
                    <a:lnTo>
                      <a:pt x="3105" y="2055"/>
                    </a:lnTo>
                    <a:lnTo>
                      <a:pt x="3105" y="2055"/>
                    </a:lnTo>
                    <a:lnTo>
                      <a:pt x="3117" y="2054"/>
                    </a:lnTo>
                    <a:lnTo>
                      <a:pt x="3129" y="2053"/>
                    </a:lnTo>
                    <a:lnTo>
                      <a:pt x="3140" y="2049"/>
                    </a:lnTo>
                    <a:lnTo>
                      <a:pt x="3151" y="2046"/>
                    </a:lnTo>
                    <a:lnTo>
                      <a:pt x="3162" y="2040"/>
                    </a:lnTo>
                    <a:lnTo>
                      <a:pt x="3173" y="2034"/>
                    </a:lnTo>
                    <a:lnTo>
                      <a:pt x="3182" y="2025"/>
                    </a:lnTo>
                    <a:lnTo>
                      <a:pt x="3191" y="2017"/>
                    </a:lnTo>
                    <a:lnTo>
                      <a:pt x="3153" y="1979"/>
                    </a:lnTo>
                    <a:close/>
                    <a:moveTo>
                      <a:pt x="3051" y="1901"/>
                    </a:moveTo>
                    <a:lnTo>
                      <a:pt x="3051" y="1901"/>
                    </a:lnTo>
                    <a:lnTo>
                      <a:pt x="3052" y="1890"/>
                    </a:lnTo>
                    <a:lnTo>
                      <a:pt x="3056" y="1880"/>
                    </a:lnTo>
                    <a:lnTo>
                      <a:pt x="3060" y="1872"/>
                    </a:lnTo>
                    <a:lnTo>
                      <a:pt x="3065" y="1865"/>
                    </a:lnTo>
                    <a:lnTo>
                      <a:pt x="3072" y="1859"/>
                    </a:lnTo>
                    <a:lnTo>
                      <a:pt x="3079" y="1855"/>
                    </a:lnTo>
                    <a:lnTo>
                      <a:pt x="3088" y="1851"/>
                    </a:lnTo>
                    <a:lnTo>
                      <a:pt x="3097" y="1851"/>
                    </a:lnTo>
                    <a:lnTo>
                      <a:pt x="3097" y="1851"/>
                    </a:lnTo>
                    <a:lnTo>
                      <a:pt x="3108" y="1852"/>
                    </a:lnTo>
                    <a:lnTo>
                      <a:pt x="3117" y="1855"/>
                    </a:lnTo>
                    <a:lnTo>
                      <a:pt x="3125" y="1860"/>
                    </a:lnTo>
                    <a:lnTo>
                      <a:pt x="3131" y="1867"/>
                    </a:lnTo>
                    <a:lnTo>
                      <a:pt x="3136" y="1874"/>
                    </a:lnTo>
                    <a:lnTo>
                      <a:pt x="3140" y="1883"/>
                    </a:lnTo>
                    <a:lnTo>
                      <a:pt x="3142" y="1893"/>
                    </a:lnTo>
                    <a:lnTo>
                      <a:pt x="3144" y="1901"/>
                    </a:lnTo>
                    <a:lnTo>
                      <a:pt x="3051" y="1901"/>
                    </a:lnTo>
                    <a:close/>
                    <a:moveTo>
                      <a:pt x="2905" y="1964"/>
                    </a:moveTo>
                    <a:lnTo>
                      <a:pt x="2905" y="1964"/>
                    </a:lnTo>
                    <a:lnTo>
                      <a:pt x="2905" y="1973"/>
                    </a:lnTo>
                    <a:lnTo>
                      <a:pt x="2907" y="1979"/>
                    </a:lnTo>
                    <a:lnTo>
                      <a:pt x="2909" y="1985"/>
                    </a:lnTo>
                    <a:lnTo>
                      <a:pt x="2912" y="1990"/>
                    </a:lnTo>
                    <a:lnTo>
                      <a:pt x="2915" y="1993"/>
                    </a:lnTo>
                    <a:lnTo>
                      <a:pt x="2920" y="1996"/>
                    </a:lnTo>
                    <a:lnTo>
                      <a:pt x="2925" y="1997"/>
                    </a:lnTo>
                    <a:lnTo>
                      <a:pt x="2932" y="1997"/>
                    </a:lnTo>
                    <a:lnTo>
                      <a:pt x="2932" y="1997"/>
                    </a:lnTo>
                    <a:lnTo>
                      <a:pt x="2941" y="1997"/>
                    </a:lnTo>
                    <a:lnTo>
                      <a:pt x="2950" y="1995"/>
                    </a:lnTo>
                    <a:lnTo>
                      <a:pt x="2960" y="1991"/>
                    </a:lnTo>
                    <a:lnTo>
                      <a:pt x="2969" y="1986"/>
                    </a:lnTo>
                    <a:lnTo>
                      <a:pt x="2961" y="2043"/>
                    </a:lnTo>
                    <a:lnTo>
                      <a:pt x="2961" y="2043"/>
                    </a:lnTo>
                    <a:lnTo>
                      <a:pt x="2950" y="2048"/>
                    </a:lnTo>
                    <a:lnTo>
                      <a:pt x="2937" y="2052"/>
                    </a:lnTo>
                    <a:lnTo>
                      <a:pt x="2924" y="2054"/>
                    </a:lnTo>
                    <a:lnTo>
                      <a:pt x="2910" y="2055"/>
                    </a:lnTo>
                    <a:lnTo>
                      <a:pt x="2910" y="2055"/>
                    </a:lnTo>
                    <a:lnTo>
                      <a:pt x="2902" y="2054"/>
                    </a:lnTo>
                    <a:lnTo>
                      <a:pt x="2893" y="2053"/>
                    </a:lnTo>
                    <a:lnTo>
                      <a:pt x="2886" y="2051"/>
                    </a:lnTo>
                    <a:lnTo>
                      <a:pt x="2880" y="2048"/>
                    </a:lnTo>
                    <a:lnTo>
                      <a:pt x="2874" y="2045"/>
                    </a:lnTo>
                    <a:lnTo>
                      <a:pt x="2868" y="2041"/>
                    </a:lnTo>
                    <a:lnTo>
                      <a:pt x="2864" y="2036"/>
                    </a:lnTo>
                    <a:lnTo>
                      <a:pt x="2859" y="2030"/>
                    </a:lnTo>
                    <a:lnTo>
                      <a:pt x="2853" y="2019"/>
                    </a:lnTo>
                    <a:lnTo>
                      <a:pt x="2848" y="2006"/>
                    </a:lnTo>
                    <a:lnTo>
                      <a:pt x="2846" y="1993"/>
                    </a:lnTo>
                    <a:lnTo>
                      <a:pt x="2845" y="1980"/>
                    </a:lnTo>
                    <a:lnTo>
                      <a:pt x="2845" y="1861"/>
                    </a:lnTo>
                    <a:lnTo>
                      <a:pt x="2807" y="1861"/>
                    </a:lnTo>
                    <a:lnTo>
                      <a:pt x="2807" y="1805"/>
                    </a:lnTo>
                    <a:lnTo>
                      <a:pt x="2845" y="1805"/>
                    </a:lnTo>
                    <a:lnTo>
                      <a:pt x="2845" y="1742"/>
                    </a:lnTo>
                    <a:lnTo>
                      <a:pt x="2905" y="1711"/>
                    </a:lnTo>
                    <a:lnTo>
                      <a:pt x="2905" y="1805"/>
                    </a:lnTo>
                    <a:lnTo>
                      <a:pt x="2960" y="1805"/>
                    </a:lnTo>
                    <a:lnTo>
                      <a:pt x="2960" y="1861"/>
                    </a:lnTo>
                    <a:lnTo>
                      <a:pt x="2905" y="1861"/>
                    </a:lnTo>
                    <a:lnTo>
                      <a:pt x="2905" y="1964"/>
                    </a:lnTo>
                    <a:close/>
                    <a:moveTo>
                      <a:pt x="2788" y="2043"/>
                    </a:moveTo>
                    <a:lnTo>
                      <a:pt x="2788" y="2043"/>
                    </a:lnTo>
                    <a:lnTo>
                      <a:pt x="2777" y="2048"/>
                    </a:lnTo>
                    <a:lnTo>
                      <a:pt x="2764" y="2052"/>
                    </a:lnTo>
                    <a:lnTo>
                      <a:pt x="2751" y="2054"/>
                    </a:lnTo>
                    <a:lnTo>
                      <a:pt x="2738" y="2055"/>
                    </a:lnTo>
                    <a:lnTo>
                      <a:pt x="2738" y="2055"/>
                    </a:lnTo>
                    <a:lnTo>
                      <a:pt x="2728" y="2054"/>
                    </a:lnTo>
                    <a:lnTo>
                      <a:pt x="2721" y="2053"/>
                    </a:lnTo>
                    <a:lnTo>
                      <a:pt x="2713" y="2051"/>
                    </a:lnTo>
                    <a:lnTo>
                      <a:pt x="2706" y="2048"/>
                    </a:lnTo>
                    <a:lnTo>
                      <a:pt x="2701" y="2045"/>
                    </a:lnTo>
                    <a:lnTo>
                      <a:pt x="2695" y="2041"/>
                    </a:lnTo>
                    <a:lnTo>
                      <a:pt x="2690" y="2036"/>
                    </a:lnTo>
                    <a:lnTo>
                      <a:pt x="2687" y="2030"/>
                    </a:lnTo>
                    <a:lnTo>
                      <a:pt x="2679" y="2019"/>
                    </a:lnTo>
                    <a:lnTo>
                      <a:pt x="2676" y="2006"/>
                    </a:lnTo>
                    <a:lnTo>
                      <a:pt x="2672" y="1993"/>
                    </a:lnTo>
                    <a:lnTo>
                      <a:pt x="2672" y="1980"/>
                    </a:lnTo>
                    <a:lnTo>
                      <a:pt x="2672" y="1861"/>
                    </a:lnTo>
                    <a:lnTo>
                      <a:pt x="2634" y="1861"/>
                    </a:lnTo>
                    <a:lnTo>
                      <a:pt x="2634" y="1805"/>
                    </a:lnTo>
                    <a:lnTo>
                      <a:pt x="2672" y="1805"/>
                    </a:lnTo>
                    <a:lnTo>
                      <a:pt x="2672" y="1742"/>
                    </a:lnTo>
                    <a:lnTo>
                      <a:pt x="2733" y="1711"/>
                    </a:lnTo>
                    <a:lnTo>
                      <a:pt x="2733" y="1805"/>
                    </a:lnTo>
                    <a:lnTo>
                      <a:pt x="2784" y="1805"/>
                    </a:lnTo>
                    <a:lnTo>
                      <a:pt x="2784" y="1861"/>
                    </a:lnTo>
                    <a:lnTo>
                      <a:pt x="2733" y="1861"/>
                    </a:lnTo>
                    <a:lnTo>
                      <a:pt x="2733" y="1964"/>
                    </a:lnTo>
                    <a:lnTo>
                      <a:pt x="2733" y="1964"/>
                    </a:lnTo>
                    <a:lnTo>
                      <a:pt x="2733" y="1973"/>
                    </a:lnTo>
                    <a:lnTo>
                      <a:pt x="2734" y="1979"/>
                    </a:lnTo>
                    <a:lnTo>
                      <a:pt x="2737" y="1985"/>
                    </a:lnTo>
                    <a:lnTo>
                      <a:pt x="2739" y="1990"/>
                    </a:lnTo>
                    <a:lnTo>
                      <a:pt x="2743" y="1993"/>
                    </a:lnTo>
                    <a:lnTo>
                      <a:pt x="2747" y="1996"/>
                    </a:lnTo>
                    <a:lnTo>
                      <a:pt x="2752" y="1997"/>
                    </a:lnTo>
                    <a:lnTo>
                      <a:pt x="2758" y="1997"/>
                    </a:lnTo>
                    <a:lnTo>
                      <a:pt x="2758" y="1997"/>
                    </a:lnTo>
                    <a:lnTo>
                      <a:pt x="2768" y="1997"/>
                    </a:lnTo>
                    <a:lnTo>
                      <a:pt x="2778" y="1995"/>
                    </a:lnTo>
                    <a:lnTo>
                      <a:pt x="2786" y="1991"/>
                    </a:lnTo>
                    <a:lnTo>
                      <a:pt x="2795" y="1986"/>
                    </a:lnTo>
                    <a:lnTo>
                      <a:pt x="2788" y="2043"/>
                    </a:lnTo>
                    <a:close/>
                    <a:moveTo>
                      <a:pt x="3384" y="1873"/>
                    </a:moveTo>
                    <a:lnTo>
                      <a:pt x="3384" y="1873"/>
                    </a:lnTo>
                    <a:lnTo>
                      <a:pt x="3376" y="1867"/>
                    </a:lnTo>
                    <a:lnTo>
                      <a:pt x="3366" y="1863"/>
                    </a:lnTo>
                    <a:lnTo>
                      <a:pt x="3355" y="1861"/>
                    </a:lnTo>
                    <a:lnTo>
                      <a:pt x="3344" y="1860"/>
                    </a:lnTo>
                    <a:lnTo>
                      <a:pt x="3344" y="1860"/>
                    </a:lnTo>
                    <a:lnTo>
                      <a:pt x="3334" y="1861"/>
                    </a:lnTo>
                    <a:lnTo>
                      <a:pt x="3325" y="1863"/>
                    </a:lnTo>
                    <a:lnTo>
                      <a:pt x="3317" y="1868"/>
                    </a:lnTo>
                    <a:lnTo>
                      <a:pt x="3311" y="1874"/>
                    </a:lnTo>
                    <a:lnTo>
                      <a:pt x="3306" y="1882"/>
                    </a:lnTo>
                    <a:lnTo>
                      <a:pt x="3304" y="1891"/>
                    </a:lnTo>
                    <a:lnTo>
                      <a:pt x="3302" y="1904"/>
                    </a:lnTo>
                    <a:lnTo>
                      <a:pt x="3300" y="1917"/>
                    </a:lnTo>
                    <a:lnTo>
                      <a:pt x="3300" y="2049"/>
                    </a:lnTo>
                    <a:lnTo>
                      <a:pt x="3241" y="2049"/>
                    </a:lnTo>
                    <a:lnTo>
                      <a:pt x="3241" y="1805"/>
                    </a:lnTo>
                    <a:lnTo>
                      <a:pt x="3300" y="1805"/>
                    </a:lnTo>
                    <a:lnTo>
                      <a:pt x="3300" y="1826"/>
                    </a:lnTo>
                    <a:lnTo>
                      <a:pt x="3300" y="1826"/>
                    </a:lnTo>
                    <a:lnTo>
                      <a:pt x="3306" y="1820"/>
                    </a:lnTo>
                    <a:lnTo>
                      <a:pt x="3313" y="1814"/>
                    </a:lnTo>
                    <a:lnTo>
                      <a:pt x="3319" y="1810"/>
                    </a:lnTo>
                    <a:lnTo>
                      <a:pt x="3326" y="1806"/>
                    </a:lnTo>
                    <a:lnTo>
                      <a:pt x="3332" y="1803"/>
                    </a:lnTo>
                    <a:lnTo>
                      <a:pt x="3339" y="1801"/>
                    </a:lnTo>
                    <a:lnTo>
                      <a:pt x="3347" y="1800"/>
                    </a:lnTo>
                    <a:lnTo>
                      <a:pt x="3355" y="1799"/>
                    </a:lnTo>
                    <a:lnTo>
                      <a:pt x="3355" y="1799"/>
                    </a:lnTo>
                    <a:lnTo>
                      <a:pt x="3367" y="1800"/>
                    </a:lnTo>
                    <a:lnTo>
                      <a:pt x="3379" y="1804"/>
                    </a:lnTo>
                    <a:lnTo>
                      <a:pt x="3390" y="1807"/>
                    </a:lnTo>
                    <a:lnTo>
                      <a:pt x="3400" y="1814"/>
                    </a:lnTo>
                    <a:lnTo>
                      <a:pt x="3384" y="1873"/>
                    </a:lnTo>
                    <a:close/>
                    <a:moveTo>
                      <a:pt x="653" y="1747"/>
                    </a:moveTo>
                    <a:lnTo>
                      <a:pt x="653" y="1770"/>
                    </a:lnTo>
                    <a:lnTo>
                      <a:pt x="592" y="1770"/>
                    </a:lnTo>
                    <a:lnTo>
                      <a:pt x="592" y="1709"/>
                    </a:lnTo>
                    <a:lnTo>
                      <a:pt x="653" y="1709"/>
                    </a:lnTo>
                    <a:lnTo>
                      <a:pt x="653" y="1747"/>
                    </a:lnTo>
                    <a:close/>
                    <a:moveTo>
                      <a:pt x="1073" y="1805"/>
                    </a:moveTo>
                    <a:lnTo>
                      <a:pt x="1134" y="1805"/>
                    </a:lnTo>
                    <a:lnTo>
                      <a:pt x="1134" y="1930"/>
                    </a:lnTo>
                    <a:lnTo>
                      <a:pt x="1134" y="2049"/>
                    </a:lnTo>
                    <a:lnTo>
                      <a:pt x="1073" y="2049"/>
                    </a:lnTo>
                    <a:lnTo>
                      <a:pt x="1073" y="1805"/>
                    </a:lnTo>
                    <a:close/>
                    <a:moveTo>
                      <a:pt x="1134" y="1739"/>
                    </a:moveTo>
                    <a:lnTo>
                      <a:pt x="1134" y="1770"/>
                    </a:lnTo>
                    <a:lnTo>
                      <a:pt x="1073" y="1770"/>
                    </a:lnTo>
                    <a:lnTo>
                      <a:pt x="1073" y="1709"/>
                    </a:lnTo>
                    <a:lnTo>
                      <a:pt x="1134" y="1709"/>
                    </a:lnTo>
                    <a:lnTo>
                      <a:pt x="1134" y="1739"/>
                    </a:lnTo>
                    <a:close/>
                    <a:moveTo>
                      <a:pt x="2796" y="2250"/>
                    </a:moveTo>
                    <a:lnTo>
                      <a:pt x="2796" y="2250"/>
                    </a:lnTo>
                    <a:lnTo>
                      <a:pt x="2790" y="2245"/>
                    </a:lnTo>
                    <a:lnTo>
                      <a:pt x="2784" y="2240"/>
                    </a:lnTo>
                    <a:lnTo>
                      <a:pt x="2778" y="2237"/>
                    </a:lnTo>
                    <a:lnTo>
                      <a:pt x="2771" y="2233"/>
                    </a:lnTo>
                    <a:lnTo>
                      <a:pt x="2764" y="2231"/>
                    </a:lnTo>
                    <a:lnTo>
                      <a:pt x="2757" y="2229"/>
                    </a:lnTo>
                    <a:lnTo>
                      <a:pt x="2741" y="2227"/>
                    </a:lnTo>
                    <a:lnTo>
                      <a:pt x="2741" y="2227"/>
                    </a:lnTo>
                    <a:lnTo>
                      <a:pt x="2730" y="2228"/>
                    </a:lnTo>
                    <a:lnTo>
                      <a:pt x="2721" y="2229"/>
                    </a:lnTo>
                    <a:lnTo>
                      <a:pt x="2711" y="2233"/>
                    </a:lnTo>
                    <a:lnTo>
                      <a:pt x="2701" y="2237"/>
                    </a:lnTo>
                    <a:lnTo>
                      <a:pt x="2693" y="2241"/>
                    </a:lnTo>
                    <a:lnTo>
                      <a:pt x="2685" y="2246"/>
                    </a:lnTo>
                    <a:lnTo>
                      <a:pt x="2678" y="2254"/>
                    </a:lnTo>
                    <a:lnTo>
                      <a:pt x="2671" y="2261"/>
                    </a:lnTo>
                    <a:lnTo>
                      <a:pt x="2666" y="2269"/>
                    </a:lnTo>
                    <a:lnTo>
                      <a:pt x="2660" y="2279"/>
                    </a:lnTo>
                    <a:lnTo>
                      <a:pt x="2656" y="2289"/>
                    </a:lnTo>
                    <a:lnTo>
                      <a:pt x="2653" y="2301"/>
                    </a:lnTo>
                    <a:lnTo>
                      <a:pt x="2649" y="2312"/>
                    </a:lnTo>
                    <a:lnTo>
                      <a:pt x="2648" y="2325"/>
                    </a:lnTo>
                    <a:lnTo>
                      <a:pt x="2647" y="2339"/>
                    </a:lnTo>
                    <a:lnTo>
                      <a:pt x="2645" y="2353"/>
                    </a:lnTo>
                    <a:lnTo>
                      <a:pt x="2645" y="2353"/>
                    </a:lnTo>
                    <a:lnTo>
                      <a:pt x="2647" y="2368"/>
                    </a:lnTo>
                    <a:lnTo>
                      <a:pt x="2648" y="2381"/>
                    </a:lnTo>
                    <a:lnTo>
                      <a:pt x="2649" y="2395"/>
                    </a:lnTo>
                    <a:lnTo>
                      <a:pt x="2653" y="2408"/>
                    </a:lnTo>
                    <a:lnTo>
                      <a:pt x="2655" y="2419"/>
                    </a:lnTo>
                    <a:lnTo>
                      <a:pt x="2660" y="2430"/>
                    </a:lnTo>
                    <a:lnTo>
                      <a:pt x="2665" y="2440"/>
                    </a:lnTo>
                    <a:lnTo>
                      <a:pt x="2671" y="2448"/>
                    </a:lnTo>
                    <a:lnTo>
                      <a:pt x="2677" y="2457"/>
                    </a:lnTo>
                    <a:lnTo>
                      <a:pt x="2684" y="2463"/>
                    </a:lnTo>
                    <a:lnTo>
                      <a:pt x="2692" y="2469"/>
                    </a:lnTo>
                    <a:lnTo>
                      <a:pt x="2700" y="2474"/>
                    </a:lnTo>
                    <a:lnTo>
                      <a:pt x="2710" y="2479"/>
                    </a:lnTo>
                    <a:lnTo>
                      <a:pt x="2720" y="2481"/>
                    </a:lnTo>
                    <a:lnTo>
                      <a:pt x="2729" y="2482"/>
                    </a:lnTo>
                    <a:lnTo>
                      <a:pt x="2740" y="2483"/>
                    </a:lnTo>
                    <a:lnTo>
                      <a:pt x="2740" y="2483"/>
                    </a:lnTo>
                    <a:lnTo>
                      <a:pt x="2747" y="2482"/>
                    </a:lnTo>
                    <a:lnTo>
                      <a:pt x="2756" y="2481"/>
                    </a:lnTo>
                    <a:lnTo>
                      <a:pt x="2763" y="2480"/>
                    </a:lnTo>
                    <a:lnTo>
                      <a:pt x="2769" y="2477"/>
                    </a:lnTo>
                    <a:lnTo>
                      <a:pt x="2777" y="2474"/>
                    </a:lnTo>
                    <a:lnTo>
                      <a:pt x="2784" y="2470"/>
                    </a:lnTo>
                    <a:lnTo>
                      <a:pt x="2790" y="2465"/>
                    </a:lnTo>
                    <a:lnTo>
                      <a:pt x="2796" y="2459"/>
                    </a:lnTo>
                    <a:lnTo>
                      <a:pt x="2796" y="2477"/>
                    </a:lnTo>
                    <a:lnTo>
                      <a:pt x="2857" y="2477"/>
                    </a:lnTo>
                    <a:lnTo>
                      <a:pt x="2857" y="2131"/>
                    </a:lnTo>
                    <a:lnTo>
                      <a:pt x="2796" y="2161"/>
                    </a:lnTo>
                    <a:lnTo>
                      <a:pt x="2796" y="2250"/>
                    </a:lnTo>
                    <a:close/>
                    <a:moveTo>
                      <a:pt x="2754" y="2427"/>
                    </a:moveTo>
                    <a:lnTo>
                      <a:pt x="2754" y="2427"/>
                    </a:lnTo>
                    <a:lnTo>
                      <a:pt x="2745" y="2426"/>
                    </a:lnTo>
                    <a:lnTo>
                      <a:pt x="2738" y="2424"/>
                    </a:lnTo>
                    <a:lnTo>
                      <a:pt x="2729" y="2420"/>
                    </a:lnTo>
                    <a:lnTo>
                      <a:pt x="2722" y="2413"/>
                    </a:lnTo>
                    <a:lnTo>
                      <a:pt x="2716" y="2403"/>
                    </a:lnTo>
                    <a:lnTo>
                      <a:pt x="2711" y="2390"/>
                    </a:lnTo>
                    <a:lnTo>
                      <a:pt x="2709" y="2373"/>
                    </a:lnTo>
                    <a:lnTo>
                      <a:pt x="2707" y="2351"/>
                    </a:lnTo>
                    <a:lnTo>
                      <a:pt x="2707" y="2351"/>
                    </a:lnTo>
                    <a:lnTo>
                      <a:pt x="2709" y="2333"/>
                    </a:lnTo>
                    <a:lnTo>
                      <a:pt x="2711" y="2317"/>
                    </a:lnTo>
                    <a:lnTo>
                      <a:pt x="2716" y="2305"/>
                    </a:lnTo>
                    <a:lnTo>
                      <a:pt x="2722" y="2296"/>
                    </a:lnTo>
                    <a:lnTo>
                      <a:pt x="2729" y="2290"/>
                    </a:lnTo>
                    <a:lnTo>
                      <a:pt x="2737" y="2285"/>
                    </a:lnTo>
                    <a:lnTo>
                      <a:pt x="2745" y="2284"/>
                    </a:lnTo>
                    <a:lnTo>
                      <a:pt x="2752" y="2283"/>
                    </a:lnTo>
                    <a:lnTo>
                      <a:pt x="2752" y="2283"/>
                    </a:lnTo>
                    <a:lnTo>
                      <a:pt x="2761" y="2284"/>
                    </a:lnTo>
                    <a:lnTo>
                      <a:pt x="2768" y="2285"/>
                    </a:lnTo>
                    <a:lnTo>
                      <a:pt x="2774" y="2288"/>
                    </a:lnTo>
                    <a:lnTo>
                      <a:pt x="2780" y="2291"/>
                    </a:lnTo>
                    <a:lnTo>
                      <a:pt x="2785" y="2295"/>
                    </a:lnTo>
                    <a:lnTo>
                      <a:pt x="2790" y="2299"/>
                    </a:lnTo>
                    <a:lnTo>
                      <a:pt x="2796" y="2307"/>
                    </a:lnTo>
                    <a:lnTo>
                      <a:pt x="2796" y="2403"/>
                    </a:lnTo>
                    <a:lnTo>
                      <a:pt x="2796" y="2403"/>
                    </a:lnTo>
                    <a:lnTo>
                      <a:pt x="2789" y="2412"/>
                    </a:lnTo>
                    <a:lnTo>
                      <a:pt x="2780" y="2419"/>
                    </a:lnTo>
                    <a:lnTo>
                      <a:pt x="2774" y="2423"/>
                    </a:lnTo>
                    <a:lnTo>
                      <a:pt x="2768" y="2425"/>
                    </a:lnTo>
                    <a:lnTo>
                      <a:pt x="2761" y="2426"/>
                    </a:lnTo>
                    <a:lnTo>
                      <a:pt x="2754" y="2427"/>
                    </a:lnTo>
                    <a:lnTo>
                      <a:pt x="2754" y="2427"/>
                    </a:lnTo>
                    <a:close/>
                    <a:moveTo>
                      <a:pt x="740" y="2301"/>
                    </a:moveTo>
                    <a:lnTo>
                      <a:pt x="740" y="2301"/>
                    </a:lnTo>
                    <a:lnTo>
                      <a:pt x="732" y="2296"/>
                    </a:lnTo>
                    <a:lnTo>
                      <a:pt x="722" y="2291"/>
                    </a:lnTo>
                    <a:lnTo>
                      <a:pt x="711" y="2289"/>
                    </a:lnTo>
                    <a:lnTo>
                      <a:pt x="700" y="2288"/>
                    </a:lnTo>
                    <a:lnTo>
                      <a:pt x="700" y="2288"/>
                    </a:lnTo>
                    <a:lnTo>
                      <a:pt x="690" y="2289"/>
                    </a:lnTo>
                    <a:lnTo>
                      <a:pt x="680" y="2291"/>
                    </a:lnTo>
                    <a:lnTo>
                      <a:pt x="673" y="2296"/>
                    </a:lnTo>
                    <a:lnTo>
                      <a:pt x="667" y="2302"/>
                    </a:lnTo>
                    <a:lnTo>
                      <a:pt x="662" y="2310"/>
                    </a:lnTo>
                    <a:lnTo>
                      <a:pt x="660" y="2319"/>
                    </a:lnTo>
                    <a:lnTo>
                      <a:pt x="657" y="2331"/>
                    </a:lnTo>
                    <a:lnTo>
                      <a:pt x="656" y="2345"/>
                    </a:lnTo>
                    <a:lnTo>
                      <a:pt x="656" y="2477"/>
                    </a:lnTo>
                    <a:lnTo>
                      <a:pt x="597" y="2477"/>
                    </a:lnTo>
                    <a:lnTo>
                      <a:pt x="597" y="2233"/>
                    </a:lnTo>
                    <a:lnTo>
                      <a:pt x="656" y="2233"/>
                    </a:lnTo>
                    <a:lnTo>
                      <a:pt x="656" y="2254"/>
                    </a:lnTo>
                    <a:lnTo>
                      <a:pt x="656" y="2254"/>
                    </a:lnTo>
                    <a:lnTo>
                      <a:pt x="662" y="2248"/>
                    </a:lnTo>
                    <a:lnTo>
                      <a:pt x="668" y="2241"/>
                    </a:lnTo>
                    <a:lnTo>
                      <a:pt x="674" y="2238"/>
                    </a:lnTo>
                    <a:lnTo>
                      <a:pt x="682" y="2234"/>
                    </a:lnTo>
                    <a:lnTo>
                      <a:pt x="688" y="2231"/>
                    </a:lnTo>
                    <a:lnTo>
                      <a:pt x="695" y="2229"/>
                    </a:lnTo>
                    <a:lnTo>
                      <a:pt x="704" y="2228"/>
                    </a:lnTo>
                    <a:lnTo>
                      <a:pt x="711" y="2227"/>
                    </a:lnTo>
                    <a:lnTo>
                      <a:pt x="711" y="2227"/>
                    </a:lnTo>
                    <a:lnTo>
                      <a:pt x="723" y="2228"/>
                    </a:lnTo>
                    <a:lnTo>
                      <a:pt x="735" y="2232"/>
                    </a:lnTo>
                    <a:lnTo>
                      <a:pt x="747" y="2237"/>
                    </a:lnTo>
                    <a:lnTo>
                      <a:pt x="757" y="2243"/>
                    </a:lnTo>
                    <a:lnTo>
                      <a:pt x="740" y="2301"/>
                    </a:lnTo>
                    <a:close/>
                    <a:moveTo>
                      <a:pt x="265" y="2233"/>
                    </a:moveTo>
                    <a:lnTo>
                      <a:pt x="324" y="2233"/>
                    </a:lnTo>
                    <a:lnTo>
                      <a:pt x="255" y="2477"/>
                    </a:lnTo>
                    <a:lnTo>
                      <a:pt x="203" y="2477"/>
                    </a:lnTo>
                    <a:lnTo>
                      <a:pt x="176" y="2376"/>
                    </a:lnTo>
                    <a:lnTo>
                      <a:pt x="176" y="2376"/>
                    </a:lnTo>
                    <a:lnTo>
                      <a:pt x="163" y="2323"/>
                    </a:lnTo>
                    <a:lnTo>
                      <a:pt x="163" y="2323"/>
                    </a:lnTo>
                    <a:lnTo>
                      <a:pt x="157" y="2348"/>
                    </a:lnTo>
                    <a:lnTo>
                      <a:pt x="149" y="2378"/>
                    </a:lnTo>
                    <a:lnTo>
                      <a:pt x="122" y="2477"/>
                    </a:lnTo>
                    <a:lnTo>
                      <a:pt x="69" y="2477"/>
                    </a:lnTo>
                    <a:lnTo>
                      <a:pt x="69" y="2476"/>
                    </a:lnTo>
                    <a:lnTo>
                      <a:pt x="0" y="2233"/>
                    </a:lnTo>
                    <a:lnTo>
                      <a:pt x="63" y="2233"/>
                    </a:lnTo>
                    <a:lnTo>
                      <a:pt x="85" y="2324"/>
                    </a:lnTo>
                    <a:lnTo>
                      <a:pt x="85" y="2324"/>
                    </a:lnTo>
                    <a:lnTo>
                      <a:pt x="91" y="2353"/>
                    </a:lnTo>
                    <a:lnTo>
                      <a:pt x="97" y="2384"/>
                    </a:lnTo>
                    <a:lnTo>
                      <a:pt x="97" y="2384"/>
                    </a:lnTo>
                    <a:lnTo>
                      <a:pt x="105" y="2353"/>
                    </a:lnTo>
                    <a:lnTo>
                      <a:pt x="112" y="2323"/>
                    </a:lnTo>
                    <a:lnTo>
                      <a:pt x="137" y="2233"/>
                    </a:lnTo>
                    <a:lnTo>
                      <a:pt x="190" y="2233"/>
                    </a:lnTo>
                    <a:lnTo>
                      <a:pt x="215" y="2323"/>
                    </a:lnTo>
                    <a:lnTo>
                      <a:pt x="215" y="2323"/>
                    </a:lnTo>
                    <a:lnTo>
                      <a:pt x="222" y="2352"/>
                    </a:lnTo>
                    <a:lnTo>
                      <a:pt x="230" y="2385"/>
                    </a:lnTo>
                    <a:lnTo>
                      <a:pt x="230" y="2385"/>
                    </a:lnTo>
                    <a:lnTo>
                      <a:pt x="235" y="2357"/>
                    </a:lnTo>
                    <a:lnTo>
                      <a:pt x="242" y="2323"/>
                    </a:lnTo>
                    <a:lnTo>
                      <a:pt x="265" y="2233"/>
                    </a:lnTo>
                    <a:close/>
                    <a:moveTo>
                      <a:pt x="447" y="2227"/>
                    </a:moveTo>
                    <a:lnTo>
                      <a:pt x="447" y="2227"/>
                    </a:lnTo>
                    <a:lnTo>
                      <a:pt x="436" y="2228"/>
                    </a:lnTo>
                    <a:lnTo>
                      <a:pt x="424" y="2229"/>
                    </a:lnTo>
                    <a:lnTo>
                      <a:pt x="413" y="2233"/>
                    </a:lnTo>
                    <a:lnTo>
                      <a:pt x="403" y="2237"/>
                    </a:lnTo>
                    <a:lnTo>
                      <a:pt x="394" y="2241"/>
                    </a:lnTo>
                    <a:lnTo>
                      <a:pt x="384" y="2248"/>
                    </a:lnTo>
                    <a:lnTo>
                      <a:pt x="375" y="2255"/>
                    </a:lnTo>
                    <a:lnTo>
                      <a:pt x="368" y="2263"/>
                    </a:lnTo>
                    <a:lnTo>
                      <a:pt x="361" y="2272"/>
                    </a:lnTo>
                    <a:lnTo>
                      <a:pt x="355" y="2282"/>
                    </a:lnTo>
                    <a:lnTo>
                      <a:pt x="349" y="2293"/>
                    </a:lnTo>
                    <a:lnTo>
                      <a:pt x="345" y="2303"/>
                    </a:lnTo>
                    <a:lnTo>
                      <a:pt x="341" y="2316"/>
                    </a:lnTo>
                    <a:lnTo>
                      <a:pt x="339" y="2328"/>
                    </a:lnTo>
                    <a:lnTo>
                      <a:pt x="337" y="2341"/>
                    </a:lnTo>
                    <a:lnTo>
                      <a:pt x="337" y="2356"/>
                    </a:lnTo>
                    <a:lnTo>
                      <a:pt x="337" y="2356"/>
                    </a:lnTo>
                    <a:lnTo>
                      <a:pt x="337" y="2369"/>
                    </a:lnTo>
                    <a:lnTo>
                      <a:pt x="339" y="2382"/>
                    </a:lnTo>
                    <a:lnTo>
                      <a:pt x="341" y="2395"/>
                    </a:lnTo>
                    <a:lnTo>
                      <a:pt x="345" y="2407"/>
                    </a:lnTo>
                    <a:lnTo>
                      <a:pt x="349" y="2418"/>
                    </a:lnTo>
                    <a:lnTo>
                      <a:pt x="355" y="2429"/>
                    </a:lnTo>
                    <a:lnTo>
                      <a:pt x="361" y="2438"/>
                    </a:lnTo>
                    <a:lnTo>
                      <a:pt x="368" y="2447"/>
                    </a:lnTo>
                    <a:lnTo>
                      <a:pt x="375" y="2455"/>
                    </a:lnTo>
                    <a:lnTo>
                      <a:pt x="384" y="2463"/>
                    </a:lnTo>
                    <a:lnTo>
                      <a:pt x="394" y="2469"/>
                    </a:lnTo>
                    <a:lnTo>
                      <a:pt x="403" y="2474"/>
                    </a:lnTo>
                    <a:lnTo>
                      <a:pt x="413" y="2477"/>
                    </a:lnTo>
                    <a:lnTo>
                      <a:pt x="424" y="2481"/>
                    </a:lnTo>
                    <a:lnTo>
                      <a:pt x="436" y="2482"/>
                    </a:lnTo>
                    <a:lnTo>
                      <a:pt x="447" y="2483"/>
                    </a:lnTo>
                    <a:lnTo>
                      <a:pt x="447" y="2483"/>
                    </a:lnTo>
                    <a:lnTo>
                      <a:pt x="459" y="2482"/>
                    </a:lnTo>
                    <a:lnTo>
                      <a:pt x="471" y="2481"/>
                    </a:lnTo>
                    <a:lnTo>
                      <a:pt x="482" y="2477"/>
                    </a:lnTo>
                    <a:lnTo>
                      <a:pt x="492" y="2474"/>
                    </a:lnTo>
                    <a:lnTo>
                      <a:pt x="502" y="2469"/>
                    </a:lnTo>
                    <a:lnTo>
                      <a:pt x="512" y="2463"/>
                    </a:lnTo>
                    <a:lnTo>
                      <a:pt x="520" y="2455"/>
                    </a:lnTo>
                    <a:lnTo>
                      <a:pt x="527" y="2447"/>
                    </a:lnTo>
                    <a:lnTo>
                      <a:pt x="535" y="2438"/>
                    </a:lnTo>
                    <a:lnTo>
                      <a:pt x="541" y="2429"/>
                    </a:lnTo>
                    <a:lnTo>
                      <a:pt x="546" y="2418"/>
                    </a:lnTo>
                    <a:lnTo>
                      <a:pt x="550" y="2407"/>
                    </a:lnTo>
                    <a:lnTo>
                      <a:pt x="554" y="2395"/>
                    </a:lnTo>
                    <a:lnTo>
                      <a:pt x="557" y="2382"/>
                    </a:lnTo>
                    <a:lnTo>
                      <a:pt x="559" y="2369"/>
                    </a:lnTo>
                    <a:lnTo>
                      <a:pt x="559" y="2356"/>
                    </a:lnTo>
                    <a:lnTo>
                      <a:pt x="559" y="2356"/>
                    </a:lnTo>
                    <a:lnTo>
                      <a:pt x="559" y="2341"/>
                    </a:lnTo>
                    <a:lnTo>
                      <a:pt x="557" y="2328"/>
                    </a:lnTo>
                    <a:lnTo>
                      <a:pt x="554" y="2316"/>
                    </a:lnTo>
                    <a:lnTo>
                      <a:pt x="550" y="2303"/>
                    </a:lnTo>
                    <a:lnTo>
                      <a:pt x="546" y="2293"/>
                    </a:lnTo>
                    <a:lnTo>
                      <a:pt x="541" y="2282"/>
                    </a:lnTo>
                    <a:lnTo>
                      <a:pt x="535" y="2272"/>
                    </a:lnTo>
                    <a:lnTo>
                      <a:pt x="527" y="2263"/>
                    </a:lnTo>
                    <a:lnTo>
                      <a:pt x="520" y="2255"/>
                    </a:lnTo>
                    <a:lnTo>
                      <a:pt x="512" y="2248"/>
                    </a:lnTo>
                    <a:lnTo>
                      <a:pt x="502" y="2241"/>
                    </a:lnTo>
                    <a:lnTo>
                      <a:pt x="492" y="2237"/>
                    </a:lnTo>
                    <a:lnTo>
                      <a:pt x="482" y="2233"/>
                    </a:lnTo>
                    <a:lnTo>
                      <a:pt x="471" y="2229"/>
                    </a:lnTo>
                    <a:lnTo>
                      <a:pt x="459" y="2228"/>
                    </a:lnTo>
                    <a:lnTo>
                      <a:pt x="447" y="2227"/>
                    </a:lnTo>
                    <a:lnTo>
                      <a:pt x="447" y="2227"/>
                    </a:lnTo>
                    <a:close/>
                    <a:moveTo>
                      <a:pt x="447" y="2426"/>
                    </a:moveTo>
                    <a:lnTo>
                      <a:pt x="447" y="2426"/>
                    </a:lnTo>
                    <a:lnTo>
                      <a:pt x="436" y="2425"/>
                    </a:lnTo>
                    <a:lnTo>
                      <a:pt x="427" y="2421"/>
                    </a:lnTo>
                    <a:lnTo>
                      <a:pt x="419" y="2415"/>
                    </a:lnTo>
                    <a:lnTo>
                      <a:pt x="412" y="2407"/>
                    </a:lnTo>
                    <a:lnTo>
                      <a:pt x="406" y="2397"/>
                    </a:lnTo>
                    <a:lnTo>
                      <a:pt x="401" y="2385"/>
                    </a:lnTo>
                    <a:lnTo>
                      <a:pt x="399" y="2370"/>
                    </a:lnTo>
                    <a:lnTo>
                      <a:pt x="399" y="2356"/>
                    </a:lnTo>
                    <a:lnTo>
                      <a:pt x="399" y="2356"/>
                    </a:lnTo>
                    <a:lnTo>
                      <a:pt x="399" y="2340"/>
                    </a:lnTo>
                    <a:lnTo>
                      <a:pt x="401" y="2325"/>
                    </a:lnTo>
                    <a:lnTo>
                      <a:pt x="406" y="2314"/>
                    </a:lnTo>
                    <a:lnTo>
                      <a:pt x="412" y="2303"/>
                    </a:lnTo>
                    <a:lnTo>
                      <a:pt x="419" y="2295"/>
                    </a:lnTo>
                    <a:lnTo>
                      <a:pt x="427" y="2289"/>
                    </a:lnTo>
                    <a:lnTo>
                      <a:pt x="436" y="2285"/>
                    </a:lnTo>
                    <a:lnTo>
                      <a:pt x="447" y="2284"/>
                    </a:lnTo>
                    <a:lnTo>
                      <a:pt x="447" y="2284"/>
                    </a:lnTo>
                    <a:lnTo>
                      <a:pt x="458" y="2285"/>
                    </a:lnTo>
                    <a:lnTo>
                      <a:pt x="468" y="2289"/>
                    </a:lnTo>
                    <a:lnTo>
                      <a:pt x="476" y="2295"/>
                    </a:lnTo>
                    <a:lnTo>
                      <a:pt x="484" y="2303"/>
                    </a:lnTo>
                    <a:lnTo>
                      <a:pt x="490" y="2314"/>
                    </a:lnTo>
                    <a:lnTo>
                      <a:pt x="493" y="2325"/>
                    </a:lnTo>
                    <a:lnTo>
                      <a:pt x="496" y="2340"/>
                    </a:lnTo>
                    <a:lnTo>
                      <a:pt x="497" y="2356"/>
                    </a:lnTo>
                    <a:lnTo>
                      <a:pt x="497" y="2356"/>
                    </a:lnTo>
                    <a:lnTo>
                      <a:pt x="496" y="2370"/>
                    </a:lnTo>
                    <a:lnTo>
                      <a:pt x="493" y="2385"/>
                    </a:lnTo>
                    <a:lnTo>
                      <a:pt x="490" y="2397"/>
                    </a:lnTo>
                    <a:lnTo>
                      <a:pt x="484" y="2407"/>
                    </a:lnTo>
                    <a:lnTo>
                      <a:pt x="476" y="2415"/>
                    </a:lnTo>
                    <a:lnTo>
                      <a:pt x="468" y="2421"/>
                    </a:lnTo>
                    <a:lnTo>
                      <a:pt x="458" y="2425"/>
                    </a:lnTo>
                    <a:lnTo>
                      <a:pt x="447" y="2426"/>
                    </a:lnTo>
                    <a:lnTo>
                      <a:pt x="447" y="2426"/>
                    </a:lnTo>
                    <a:close/>
                    <a:moveTo>
                      <a:pt x="2498" y="2301"/>
                    </a:moveTo>
                    <a:lnTo>
                      <a:pt x="2498" y="2301"/>
                    </a:lnTo>
                    <a:lnTo>
                      <a:pt x="2489" y="2296"/>
                    </a:lnTo>
                    <a:lnTo>
                      <a:pt x="2479" y="2291"/>
                    </a:lnTo>
                    <a:lnTo>
                      <a:pt x="2468" y="2289"/>
                    </a:lnTo>
                    <a:lnTo>
                      <a:pt x="2458" y="2288"/>
                    </a:lnTo>
                    <a:lnTo>
                      <a:pt x="2458" y="2288"/>
                    </a:lnTo>
                    <a:lnTo>
                      <a:pt x="2447" y="2289"/>
                    </a:lnTo>
                    <a:lnTo>
                      <a:pt x="2439" y="2291"/>
                    </a:lnTo>
                    <a:lnTo>
                      <a:pt x="2432" y="2296"/>
                    </a:lnTo>
                    <a:lnTo>
                      <a:pt x="2425" y="2302"/>
                    </a:lnTo>
                    <a:lnTo>
                      <a:pt x="2421" y="2310"/>
                    </a:lnTo>
                    <a:lnTo>
                      <a:pt x="2417" y="2319"/>
                    </a:lnTo>
                    <a:lnTo>
                      <a:pt x="2415" y="2331"/>
                    </a:lnTo>
                    <a:lnTo>
                      <a:pt x="2415" y="2345"/>
                    </a:lnTo>
                    <a:lnTo>
                      <a:pt x="2415" y="2477"/>
                    </a:lnTo>
                    <a:lnTo>
                      <a:pt x="2354" y="2477"/>
                    </a:lnTo>
                    <a:lnTo>
                      <a:pt x="2354" y="2233"/>
                    </a:lnTo>
                    <a:lnTo>
                      <a:pt x="2415" y="2233"/>
                    </a:lnTo>
                    <a:lnTo>
                      <a:pt x="2415" y="2254"/>
                    </a:lnTo>
                    <a:lnTo>
                      <a:pt x="2415" y="2254"/>
                    </a:lnTo>
                    <a:lnTo>
                      <a:pt x="2419" y="2248"/>
                    </a:lnTo>
                    <a:lnTo>
                      <a:pt x="2425" y="2241"/>
                    </a:lnTo>
                    <a:lnTo>
                      <a:pt x="2432" y="2238"/>
                    </a:lnTo>
                    <a:lnTo>
                      <a:pt x="2439" y="2234"/>
                    </a:lnTo>
                    <a:lnTo>
                      <a:pt x="2446" y="2231"/>
                    </a:lnTo>
                    <a:lnTo>
                      <a:pt x="2453" y="2229"/>
                    </a:lnTo>
                    <a:lnTo>
                      <a:pt x="2461" y="2228"/>
                    </a:lnTo>
                    <a:lnTo>
                      <a:pt x="2468" y="2227"/>
                    </a:lnTo>
                    <a:lnTo>
                      <a:pt x="2468" y="2227"/>
                    </a:lnTo>
                    <a:lnTo>
                      <a:pt x="2480" y="2228"/>
                    </a:lnTo>
                    <a:lnTo>
                      <a:pt x="2492" y="2232"/>
                    </a:lnTo>
                    <a:lnTo>
                      <a:pt x="2504" y="2237"/>
                    </a:lnTo>
                    <a:lnTo>
                      <a:pt x="2514" y="2243"/>
                    </a:lnTo>
                    <a:lnTo>
                      <a:pt x="2498" y="2301"/>
                    </a:lnTo>
                    <a:close/>
                    <a:moveTo>
                      <a:pt x="2022" y="2233"/>
                    </a:moveTo>
                    <a:lnTo>
                      <a:pt x="2082" y="2233"/>
                    </a:lnTo>
                    <a:lnTo>
                      <a:pt x="2012" y="2477"/>
                    </a:lnTo>
                    <a:lnTo>
                      <a:pt x="1960" y="2477"/>
                    </a:lnTo>
                    <a:lnTo>
                      <a:pt x="1933" y="2376"/>
                    </a:lnTo>
                    <a:lnTo>
                      <a:pt x="1933" y="2376"/>
                    </a:lnTo>
                    <a:lnTo>
                      <a:pt x="1920" y="2323"/>
                    </a:lnTo>
                    <a:lnTo>
                      <a:pt x="1920" y="2323"/>
                    </a:lnTo>
                    <a:lnTo>
                      <a:pt x="1914" y="2348"/>
                    </a:lnTo>
                    <a:lnTo>
                      <a:pt x="1907" y="2378"/>
                    </a:lnTo>
                    <a:lnTo>
                      <a:pt x="1880" y="2477"/>
                    </a:lnTo>
                    <a:lnTo>
                      <a:pt x="1828" y="2477"/>
                    </a:lnTo>
                    <a:lnTo>
                      <a:pt x="1826" y="2476"/>
                    </a:lnTo>
                    <a:lnTo>
                      <a:pt x="1758" y="2233"/>
                    </a:lnTo>
                    <a:lnTo>
                      <a:pt x="1820" y="2233"/>
                    </a:lnTo>
                    <a:lnTo>
                      <a:pt x="1843" y="2324"/>
                    </a:lnTo>
                    <a:lnTo>
                      <a:pt x="1843" y="2324"/>
                    </a:lnTo>
                    <a:lnTo>
                      <a:pt x="1849" y="2353"/>
                    </a:lnTo>
                    <a:lnTo>
                      <a:pt x="1856" y="2384"/>
                    </a:lnTo>
                    <a:lnTo>
                      <a:pt x="1856" y="2384"/>
                    </a:lnTo>
                    <a:lnTo>
                      <a:pt x="1862" y="2353"/>
                    </a:lnTo>
                    <a:lnTo>
                      <a:pt x="1870" y="2323"/>
                    </a:lnTo>
                    <a:lnTo>
                      <a:pt x="1896" y="2233"/>
                    </a:lnTo>
                    <a:lnTo>
                      <a:pt x="1947" y="2233"/>
                    </a:lnTo>
                    <a:lnTo>
                      <a:pt x="1972" y="2323"/>
                    </a:lnTo>
                    <a:lnTo>
                      <a:pt x="1972" y="2323"/>
                    </a:lnTo>
                    <a:lnTo>
                      <a:pt x="1979" y="2352"/>
                    </a:lnTo>
                    <a:lnTo>
                      <a:pt x="1987" y="2385"/>
                    </a:lnTo>
                    <a:lnTo>
                      <a:pt x="1987" y="2385"/>
                    </a:lnTo>
                    <a:lnTo>
                      <a:pt x="1993" y="2357"/>
                    </a:lnTo>
                    <a:lnTo>
                      <a:pt x="2000" y="2323"/>
                    </a:lnTo>
                    <a:lnTo>
                      <a:pt x="2022" y="2233"/>
                    </a:lnTo>
                    <a:close/>
                    <a:moveTo>
                      <a:pt x="2204" y="2227"/>
                    </a:moveTo>
                    <a:lnTo>
                      <a:pt x="2204" y="2227"/>
                    </a:lnTo>
                    <a:lnTo>
                      <a:pt x="2193" y="2228"/>
                    </a:lnTo>
                    <a:lnTo>
                      <a:pt x="2181" y="2229"/>
                    </a:lnTo>
                    <a:lnTo>
                      <a:pt x="2170" y="2233"/>
                    </a:lnTo>
                    <a:lnTo>
                      <a:pt x="2161" y="2237"/>
                    </a:lnTo>
                    <a:lnTo>
                      <a:pt x="2151" y="2241"/>
                    </a:lnTo>
                    <a:lnTo>
                      <a:pt x="2141" y="2249"/>
                    </a:lnTo>
                    <a:lnTo>
                      <a:pt x="2133" y="2255"/>
                    </a:lnTo>
                    <a:lnTo>
                      <a:pt x="2125" y="2263"/>
                    </a:lnTo>
                    <a:lnTo>
                      <a:pt x="2118" y="2272"/>
                    </a:lnTo>
                    <a:lnTo>
                      <a:pt x="2112" y="2282"/>
                    </a:lnTo>
                    <a:lnTo>
                      <a:pt x="2106" y="2293"/>
                    </a:lnTo>
                    <a:lnTo>
                      <a:pt x="2102" y="2303"/>
                    </a:lnTo>
                    <a:lnTo>
                      <a:pt x="2099" y="2316"/>
                    </a:lnTo>
                    <a:lnTo>
                      <a:pt x="2095" y="2329"/>
                    </a:lnTo>
                    <a:lnTo>
                      <a:pt x="2094" y="2341"/>
                    </a:lnTo>
                    <a:lnTo>
                      <a:pt x="2094" y="2356"/>
                    </a:lnTo>
                    <a:lnTo>
                      <a:pt x="2094" y="2356"/>
                    </a:lnTo>
                    <a:lnTo>
                      <a:pt x="2094" y="2369"/>
                    </a:lnTo>
                    <a:lnTo>
                      <a:pt x="2095" y="2382"/>
                    </a:lnTo>
                    <a:lnTo>
                      <a:pt x="2099" y="2395"/>
                    </a:lnTo>
                    <a:lnTo>
                      <a:pt x="2102" y="2407"/>
                    </a:lnTo>
                    <a:lnTo>
                      <a:pt x="2106" y="2418"/>
                    </a:lnTo>
                    <a:lnTo>
                      <a:pt x="2112" y="2429"/>
                    </a:lnTo>
                    <a:lnTo>
                      <a:pt x="2118" y="2438"/>
                    </a:lnTo>
                    <a:lnTo>
                      <a:pt x="2125" y="2447"/>
                    </a:lnTo>
                    <a:lnTo>
                      <a:pt x="2133" y="2455"/>
                    </a:lnTo>
                    <a:lnTo>
                      <a:pt x="2141" y="2463"/>
                    </a:lnTo>
                    <a:lnTo>
                      <a:pt x="2151" y="2469"/>
                    </a:lnTo>
                    <a:lnTo>
                      <a:pt x="2161" y="2474"/>
                    </a:lnTo>
                    <a:lnTo>
                      <a:pt x="2170" y="2477"/>
                    </a:lnTo>
                    <a:lnTo>
                      <a:pt x="2181" y="2481"/>
                    </a:lnTo>
                    <a:lnTo>
                      <a:pt x="2193" y="2482"/>
                    </a:lnTo>
                    <a:lnTo>
                      <a:pt x="2204" y="2483"/>
                    </a:lnTo>
                    <a:lnTo>
                      <a:pt x="2204" y="2483"/>
                    </a:lnTo>
                    <a:lnTo>
                      <a:pt x="2216" y="2482"/>
                    </a:lnTo>
                    <a:lnTo>
                      <a:pt x="2229" y="2481"/>
                    </a:lnTo>
                    <a:lnTo>
                      <a:pt x="2240" y="2477"/>
                    </a:lnTo>
                    <a:lnTo>
                      <a:pt x="2249" y="2474"/>
                    </a:lnTo>
                    <a:lnTo>
                      <a:pt x="2259" y="2469"/>
                    </a:lnTo>
                    <a:lnTo>
                      <a:pt x="2269" y="2463"/>
                    </a:lnTo>
                    <a:lnTo>
                      <a:pt x="2277" y="2455"/>
                    </a:lnTo>
                    <a:lnTo>
                      <a:pt x="2284" y="2447"/>
                    </a:lnTo>
                    <a:lnTo>
                      <a:pt x="2292" y="2438"/>
                    </a:lnTo>
                    <a:lnTo>
                      <a:pt x="2298" y="2429"/>
                    </a:lnTo>
                    <a:lnTo>
                      <a:pt x="2303" y="2418"/>
                    </a:lnTo>
                    <a:lnTo>
                      <a:pt x="2308" y="2407"/>
                    </a:lnTo>
                    <a:lnTo>
                      <a:pt x="2311" y="2395"/>
                    </a:lnTo>
                    <a:lnTo>
                      <a:pt x="2314" y="2382"/>
                    </a:lnTo>
                    <a:lnTo>
                      <a:pt x="2316" y="2369"/>
                    </a:lnTo>
                    <a:lnTo>
                      <a:pt x="2316" y="2356"/>
                    </a:lnTo>
                    <a:lnTo>
                      <a:pt x="2316" y="2356"/>
                    </a:lnTo>
                    <a:lnTo>
                      <a:pt x="2316" y="2341"/>
                    </a:lnTo>
                    <a:lnTo>
                      <a:pt x="2314" y="2329"/>
                    </a:lnTo>
                    <a:lnTo>
                      <a:pt x="2311" y="2316"/>
                    </a:lnTo>
                    <a:lnTo>
                      <a:pt x="2308" y="2303"/>
                    </a:lnTo>
                    <a:lnTo>
                      <a:pt x="2303" y="2293"/>
                    </a:lnTo>
                    <a:lnTo>
                      <a:pt x="2298" y="2282"/>
                    </a:lnTo>
                    <a:lnTo>
                      <a:pt x="2292" y="2272"/>
                    </a:lnTo>
                    <a:lnTo>
                      <a:pt x="2284" y="2263"/>
                    </a:lnTo>
                    <a:lnTo>
                      <a:pt x="2277" y="2255"/>
                    </a:lnTo>
                    <a:lnTo>
                      <a:pt x="2269" y="2249"/>
                    </a:lnTo>
                    <a:lnTo>
                      <a:pt x="2259" y="2241"/>
                    </a:lnTo>
                    <a:lnTo>
                      <a:pt x="2249" y="2237"/>
                    </a:lnTo>
                    <a:lnTo>
                      <a:pt x="2240" y="2233"/>
                    </a:lnTo>
                    <a:lnTo>
                      <a:pt x="2229" y="2229"/>
                    </a:lnTo>
                    <a:lnTo>
                      <a:pt x="2216" y="2228"/>
                    </a:lnTo>
                    <a:lnTo>
                      <a:pt x="2204" y="2227"/>
                    </a:lnTo>
                    <a:lnTo>
                      <a:pt x="2204" y="2227"/>
                    </a:lnTo>
                    <a:close/>
                    <a:moveTo>
                      <a:pt x="2204" y="2426"/>
                    </a:moveTo>
                    <a:lnTo>
                      <a:pt x="2204" y="2426"/>
                    </a:lnTo>
                    <a:lnTo>
                      <a:pt x="2193" y="2425"/>
                    </a:lnTo>
                    <a:lnTo>
                      <a:pt x="2185" y="2421"/>
                    </a:lnTo>
                    <a:lnTo>
                      <a:pt x="2176" y="2415"/>
                    </a:lnTo>
                    <a:lnTo>
                      <a:pt x="2169" y="2407"/>
                    </a:lnTo>
                    <a:lnTo>
                      <a:pt x="2163" y="2397"/>
                    </a:lnTo>
                    <a:lnTo>
                      <a:pt x="2158" y="2385"/>
                    </a:lnTo>
                    <a:lnTo>
                      <a:pt x="2156" y="2370"/>
                    </a:lnTo>
                    <a:lnTo>
                      <a:pt x="2156" y="2356"/>
                    </a:lnTo>
                    <a:lnTo>
                      <a:pt x="2156" y="2356"/>
                    </a:lnTo>
                    <a:lnTo>
                      <a:pt x="2156" y="2340"/>
                    </a:lnTo>
                    <a:lnTo>
                      <a:pt x="2158" y="2327"/>
                    </a:lnTo>
                    <a:lnTo>
                      <a:pt x="2163" y="2314"/>
                    </a:lnTo>
                    <a:lnTo>
                      <a:pt x="2169" y="2303"/>
                    </a:lnTo>
                    <a:lnTo>
                      <a:pt x="2176" y="2295"/>
                    </a:lnTo>
                    <a:lnTo>
                      <a:pt x="2185" y="2289"/>
                    </a:lnTo>
                    <a:lnTo>
                      <a:pt x="2193" y="2285"/>
                    </a:lnTo>
                    <a:lnTo>
                      <a:pt x="2204" y="2284"/>
                    </a:lnTo>
                    <a:lnTo>
                      <a:pt x="2204" y="2284"/>
                    </a:lnTo>
                    <a:lnTo>
                      <a:pt x="2215" y="2285"/>
                    </a:lnTo>
                    <a:lnTo>
                      <a:pt x="2225" y="2289"/>
                    </a:lnTo>
                    <a:lnTo>
                      <a:pt x="2233" y="2295"/>
                    </a:lnTo>
                    <a:lnTo>
                      <a:pt x="2241" y="2303"/>
                    </a:lnTo>
                    <a:lnTo>
                      <a:pt x="2247" y="2314"/>
                    </a:lnTo>
                    <a:lnTo>
                      <a:pt x="2250" y="2327"/>
                    </a:lnTo>
                    <a:lnTo>
                      <a:pt x="2253" y="2340"/>
                    </a:lnTo>
                    <a:lnTo>
                      <a:pt x="2254" y="2356"/>
                    </a:lnTo>
                    <a:lnTo>
                      <a:pt x="2254" y="2356"/>
                    </a:lnTo>
                    <a:lnTo>
                      <a:pt x="2253" y="2370"/>
                    </a:lnTo>
                    <a:lnTo>
                      <a:pt x="2250" y="2385"/>
                    </a:lnTo>
                    <a:lnTo>
                      <a:pt x="2247" y="2397"/>
                    </a:lnTo>
                    <a:lnTo>
                      <a:pt x="2241" y="2407"/>
                    </a:lnTo>
                    <a:lnTo>
                      <a:pt x="2233" y="2415"/>
                    </a:lnTo>
                    <a:lnTo>
                      <a:pt x="2225" y="2421"/>
                    </a:lnTo>
                    <a:lnTo>
                      <a:pt x="2215" y="2425"/>
                    </a:lnTo>
                    <a:lnTo>
                      <a:pt x="2204" y="2426"/>
                    </a:lnTo>
                    <a:lnTo>
                      <a:pt x="2204" y="2426"/>
                    </a:lnTo>
                    <a:close/>
                    <a:moveTo>
                      <a:pt x="921" y="2313"/>
                    </a:moveTo>
                    <a:lnTo>
                      <a:pt x="995" y="2477"/>
                    </a:lnTo>
                    <a:lnTo>
                      <a:pt x="928" y="2477"/>
                    </a:lnTo>
                    <a:lnTo>
                      <a:pt x="877" y="2364"/>
                    </a:lnTo>
                    <a:lnTo>
                      <a:pt x="845" y="2404"/>
                    </a:lnTo>
                    <a:lnTo>
                      <a:pt x="845" y="2477"/>
                    </a:lnTo>
                    <a:lnTo>
                      <a:pt x="785" y="2477"/>
                    </a:lnTo>
                    <a:lnTo>
                      <a:pt x="785" y="2161"/>
                    </a:lnTo>
                    <a:lnTo>
                      <a:pt x="845" y="2131"/>
                    </a:lnTo>
                    <a:lnTo>
                      <a:pt x="845" y="2327"/>
                    </a:lnTo>
                    <a:lnTo>
                      <a:pt x="845" y="2327"/>
                    </a:lnTo>
                    <a:lnTo>
                      <a:pt x="868" y="2295"/>
                    </a:lnTo>
                    <a:lnTo>
                      <a:pt x="916" y="2233"/>
                    </a:lnTo>
                    <a:lnTo>
                      <a:pt x="987" y="2233"/>
                    </a:lnTo>
                    <a:lnTo>
                      <a:pt x="921" y="2313"/>
                    </a:lnTo>
                    <a:close/>
                    <a:moveTo>
                      <a:pt x="1208" y="2477"/>
                    </a:moveTo>
                    <a:lnTo>
                      <a:pt x="1147" y="2477"/>
                    </a:lnTo>
                    <a:lnTo>
                      <a:pt x="1147" y="2233"/>
                    </a:lnTo>
                    <a:lnTo>
                      <a:pt x="1208" y="2233"/>
                    </a:lnTo>
                    <a:lnTo>
                      <a:pt x="1208" y="2254"/>
                    </a:lnTo>
                    <a:lnTo>
                      <a:pt x="1208" y="2254"/>
                    </a:lnTo>
                    <a:lnTo>
                      <a:pt x="1214" y="2248"/>
                    </a:lnTo>
                    <a:lnTo>
                      <a:pt x="1220" y="2243"/>
                    </a:lnTo>
                    <a:lnTo>
                      <a:pt x="1227" y="2238"/>
                    </a:lnTo>
                    <a:lnTo>
                      <a:pt x="1235" y="2234"/>
                    </a:lnTo>
                    <a:lnTo>
                      <a:pt x="1243" y="2232"/>
                    </a:lnTo>
                    <a:lnTo>
                      <a:pt x="1252" y="2229"/>
                    </a:lnTo>
                    <a:lnTo>
                      <a:pt x="1260" y="2228"/>
                    </a:lnTo>
                    <a:lnTo>
                      <a:pt x="1270" y="2227"/>
                    </a:lnTo>
                    <a:lnTo>
                      <a:pt x="1270" y="2227"/>
                    </a:lnTo>
                    <a:lnTo>
                      <a:pt x="1281" y="2228"/>
                    </a:lnTo>
                    <a:lnTo>
                      <a:pt x="1290" y="2229"/>
                    </a:lnTo>
                    <a:lnTo>
                      <a:pt x="1299" y="2232"/>
                    </a:lnTo>
                    <a:lnTo>
                      <a:pt x="1309" y="2234"/>
                    </a:lnTo>
                    <a:lnTo>
                      <a:pt x="1316" y="2239"/>
                    </a:lnTo>
                    <a:lnTo>
                      <a:pt x="1323" y="2244"/>
                    </a:lnTo>
                    <a:lnTo>
                      <a:pt x="1331" y="2249"/>
                    </a:lnTo>
                    <a:lnTo>
                      <a:pt x="1337" y="2256"/>
                    </a:lnTo>
                    <a:lnTo>
                      <a:pt x="1342" y="2263"/>
                    </a:lnTo>
                    <a:lnTo>
                      <a:pt x="1346" y="2272"/>
                    </a:lnTo>
                    <a:lnTo>
                      <a:pt x="1350" y="2280"/>
                    </a:lnTo>
                    <a:lnTo>
                      <a:pt x="1354" y="2291"/>
                    </a:lnTo>
                    <a:lnTo>
                      <a:pt x="1356" y="2302"/>
                    </a:lnTo>
                    <a:lnTo>
                      <a:pt x="1357" y="2313"/>
                    </a:lnTo>
                    <a:lnTo>
                      <a:pt x="1359" y="2325"/>
                    </a:lnTo>
                    <a:lnTo>
                      <a:pt x="1360" y="2339"/>
                    </a:lnTo>
                    <a:lnTo>
                      <a:pt x="1360" y="2477"/>
                    </a:lnTo>
                    <a:lnTo>
                      <a:pt x="1299" y="2477"/>
                    </a:lnTo>
                    <a:lnTo>
                      <a:pt x="1299" y="2342"/>
                    </a:lnTo>
                    <a:lnTo>
                      <a:pt x="1299" y="2342"/>
                    </a:lnTo>
                    <a:lnTo>
                      <a:pt x="1298" y="2329"/>
                    </a:lnTo>
                    <a:lnTo>
                      <a:pt x="1297" y="2316"/>
                    </a:lnTo>
                    <a:lnTo>
                      <a:pt x="1293" y="2306"/>
                    </a:lnTo>
                    <a:lnTo>
                      <a:pt x="1288" y="2297"/>
                    </a:lnTo>
                    <a:lnTo>
                      <a:pt x="1282" y="2291"/>
                    </a:lnTo>
                    <a:lnTo>
                      <a:pt x="1275" y="2286"/>
                    </a:lnTo>
                    <a:lnTo>
                      <a:pt x="1265" y="2284"/>
                    </a:lnTo>
                    <a:lnTo>
                      <a:pt x="1254" y="2283"/>
                    </a:lnTo>
                    <a:lnTo>
                      <a:pt x="1254" y="2283"/>
                    </a:lnTo>
                    <a:lnTo>
                      <a:pt x="1244" y="2284"/>
                    </a:lnTo>
                    <a:lnTo>
                      <a:pt x="1235" y="2286"/>
                    </a:lnTo>
                    <a:lnTo>
                      <a:pt x="1226" y="2291"/>
                    </a:lnTo>
                    <a:lnTo>
                      <a:pt x="1220" y="2299"/>
                    </a:lnTo>
                    <a:lnTo>
                      <a:pt x="1215" y="2306"/>
                    </a:lnTo>
                    <a:lnTo>
                      <a:pt x="1212" y="2317"/>
                    </a:lnTo>
                    <a:lnTo>
                      <a:pt x="1209" y="2329"/>
                    </a:lnTo>
                    <a:lnTo>
                      <a:pt x="1208" y="2342"/>
                    </a:lnTo>
                    <a:lnTo>
                      <a:pt x="1208" y="2477"/>
                    </a:lnTo>
                    <a:close/>
                    <a:moveTo>
                      <a:pt x="1551" y="2250"/>
                    </a:moveTo>
                    <a:lnTo>
                      <a:pt x="1551" y="2250"/>
                    </a:lnTo>
                    <a:lnTo>
                      <a:pt x="1544" y="2245"/>
                    </a:lnTo>
                    <a:lnTo>
                      <a:pt x="1538" y="2240"/>
                    </a:lnTo>
                    <a:lnTo>
                      <a:pt x="1532" y="2237"/>
                    </a:lnTo>
                    <a:lnTo>
                      <a:pt x="1525" y="2233"/>
                    </a:lnTo>
                    <a:lnTo>
                      <a:pt x="1518" y="2231"/>
                    </a:lnTo>
                    <a:lnTo>
                      <a:pt x="1510" y="2229"/>
                    </a:lnTo>
                    <a:lnTo>
                      <a:pt x="1503" y="2228"/>
                    </a:lnTo>
                    <a:lnTo>
                      <a:pt x="1496" y="2227"/>
                    </a:lnTo>
                    <a:lnTo>
                      <a:pt x="1496" y="2227"/>
                    </a:lnTo>
                    <a:lnTo>
                      <a:pt x="1485" y="2228"/>
                    </a:lnTo>
                    <a:lnTo>
                      <a:pt x="1475" y="2229"/>
                    </a:lnTo>
                    <a:lnTo>
                      <a:pt x="1465" y="2232"/>
                    </a:lnTo>
                    <a:lnTo>
                      <a:pt x="1456" y="2237"/>
                    </a:lnTo>
                    <a:lnTo>
                      <a:pt x="1447" y="2240"/>
                    </a:lnTo>
                    <a:lnTo>
                      <a:pt x="1440" y="2246"/>
                    </a:lnTo>
                    <a:lnTo>
                      <a:pt x="1433" y="2254"/>
                    </a:lnTo>
                    <a:lnTo>
                      <a:pt x="1425" y="2261"/>
                    </a:lnTo>
                    <a:lnTo>
                      <a:pt x="1419" y="2269"/>
                    </a:lnTo>
                    <a:lnTo>
                      <a:pt x="1414" y="2279"/>
                    </a:lnTo>
                    <a:lnTo>
                      <a:pt x="1410" y="2289"/>
                    </a:lnTo>
                    <a:lnTo>
                      <a:pt x="1406" y="2301"/>
                    </a:lnTo>
                    <a:lnTo>
                      <a:pt x="1404" y="2312"/>
                    </a:lnTo>
                    <a:lnTo>
                      <a:pt x="1401" y="2325"/>
                    </a:lnTo>
                    <a:lnTo>
                      <a:pt x="1400" y="2339"/>
                    </a:lnTo>
                    <a:lnTo>
                      <a:pt x="1400" y="2352"/>
                    </a:lnTo>
                    <a:lnTo>
                      <a:pt x="1400" y="2352"/>
                    </a:lnTo>
                    <a:lnTo>
                      <a:pt x="1400" y="2368"/>
                    </a:lnTo>
                    <a:lnTo>
                      <a:pt x="1401" y="2381"/>
                    </a:lnTo>
                    <a:lnTo>
                      <a:pt x="1404" y="2395"/>
                    </a:lnTo>
                    <a:lnTo>
                      <a:pt x="1406" y="2408"/>
                    </a:lnTo>
                    <a:lnTo>
                      <a:pt x="1410" y="2419"/>
                    </a:lnTo>
                    <a:lnTo>
                      <a:pt x="1414" y="2430"/>
                    </a:lnTo>
                    <a:lnTo>
                      <a:pt x="1419" y="2440"/>
                    </a:lnTo>
                    <a:lnTo>
                      <a:pt x="1425" y="2448"/>
                    </a:lnTo>
                    <a:lnTo>
                      <a:pt x="1431" y="2457"/>
                    </a:lnTo>
                    <a:lnTo>
                      <a:pt x="1439" y="2463"/>
                    </a:lnTo>
                    <a:lnTo>
                      <a:pt x="1446" y="2469"/>
                    </a:lnTo>
                    <a:lnTo>
                      <a:pt x="1455" y="2474"/>
                    </a:lnTo>
                    <a:lnTo>
                      <a:pt x="1464" y="2477"/>
                    </a:lnTo>
                    <a:lnTo>
                      <a:pt x="1474" y="2481"/>
                    </a:lnTo>
                    <a:lnTo>
                      <a:pt x="1484" y="2482"/>
                    </a:lnTo>
                    <a:lnTo>
                      <a:pt x="1495" y="2483"/>
                    </a:lnTo>
                    <a:lnTo>
                      <a:pt x="1495" y="2483"/>
                    </a:lnTo>
                    <a:lnTo>
                      <a:pt x="1502" y="2482"/>
                    </a:lnTo>
                    <a:lnTo>
                      <a:pt x="1510" y="2481"/>
                    </a:lnTo>
                    <a:lnTo>
                      <a:pt x="1518" y="2480"/>
                    </a:lnTo>
                    <a:lnTo>
                      <a:pt x="1525" y="2477"/>
                    </a:lnTo>
                    <a:lnTo>
                      <a:pt x="1531" y="2474"/>
                    </a:lnTo>
                    <a:lnTo>
                      <a:pt x="1538" y="2470"/>
                    </a:lnTo>
                    <a:lnTo>
                      <a:pt x="1544" y="2465"/>
                    </a:lnTo>
                    <a:lnTo>
                      <a:pt x="1551" y="2459"/>
                    </a:lnTo>
                    <a:lnTo>
                      <a:pt x="1551" y="2465"/>
                    </a:lnTo>
                    <a:lnTo>
                      <a:pt x="1551" y="2465"/>
                    </a:lnTo>
                    <a:lnTo>
                      <a:pt x="1551" y="2475"/>
                    </a:lnTo>
                    <a:lnTo>
                      <a:pt x="1549" y="2486"/>
                    </a:lnTo>
                    <a:lnTo>
                      <a:pt x="1546" y="2497"/>
                    </a:lnTo>
                    <a:lnTo>
                      <a:pt x="1543" y="2502"/>
                    </a:lnTo>
                    <a:lnTo>
                      <a:pt x="1541" y="2506"/>
                    </a:lnTo>
                    <a:lnTo>
                      <a:pt x="1536" y="2511"/>
                    </a:lnTo>
                    <a:lnTo>
                      <a:pt x="1531" y="2516"/>
                    </a:lnTo>
                    <a:lnTo>
                      <a:pt x="1525" y="2520"/>
                    </a:lnTo>
                    <a:lnTo>
                      <a:pt x="1518" y="2524"/>
                    </a:lnTo>
                    <a:lnTo>
                      <a:pt x="1508" y="2526"/>
                    </a:lnTo>
                    <a:lnTo>
                      <a:pt x="1498" y="2528"/>
                    </a:lnTo>
                    <a:lnTo>
                      <a:pt x="1486" y="2530"/>
                    </a:lnTo>
                    <a:lnTo>
                      <a:pt x="1472" y="2530"/>
                    </a:lnTo>
                    <a:lnTo>
                      <a:pt x="1469" y="2530"/>
                    </a:lnTo>
                    <a:lnTo>
                      <a:pt x="1491" y="2577"/>
                    </a:lnTo>
                    <a:lnTo>
                      <a:pt x="1492" y="2577"/>
                    </a:lnTo>
                    <a:lnTo>
                      <a:pt x="1492" y="2577"/>
                    </a:lnTo>
                    <a:lnTo>
                      <a:pt x="1507" y="2577"/>
                    </a:lnTo>
                    <a:lnTo>
                      <a:pt x="1520" y="2576"/>
                    </a:lnTo>
                    <a:lnTo>
                      <a:pt x="1532" y="2572"/>
                    </a:lnTo>
                    <a:lnTo>
                      <a:pt x="1544" y="2570"/>
                    </a:lnTo>
                    <a:lnTo>
                      <a:pt x="1555" y="2565"/>
                    </a:lnTo>
                    <a:lnTo>
                      <a:pt x="1565" y="2560"/>
                    </a:lnTo>
                    <a:lnTo>
                      <a:pt x="1574" y="2554"/>
                    </a:lnTo>
                    <a:lnTo>
                      <a:pt x="1581" y="2547"/>
                    </a:lnTo>
                    <a:lnTo>
                      <a:pt x="1588" y="2538"/>
                    </a:lnTo>
                    <a:lnTo>
                      <a:pt x="1594" y="2530"/>
                    </a:lnTo>
                    <a:lnTo>
                      <a:pt x="1599" y="2519"/>
                    </a:lnTo>
                    <a:lnTo>
                      <a:pt x="1603" y="2508"/>
                    </a:lnTo>
                    <a:lnTo>
                      <a:pt x="1606" y="2497"/>
                    </a:lnTo>
                    <a:lnTo>
                      <a:pt x="1609" y="2483"/>
                    </a:lnTo>
                    <a:lnTo>
                      <a:pt x="1610" y="2470"/>
                    </a:lnTo>
                    <a:lnTo>
                      <a:pt x="1610" y="2455"/>
                    </a:lnTo>
                    <a:lnTo>
                      <a:pt x="1610" y="2233"/>
                    </a:lnTo>
                    <a:lnTo>
                      <a:pt x="1551" y="2233"/>
                    </a:lnTo>
                    <a:lnTo>
                      <a:pt x="1551" y="2250"/>
                    </a:lnTo>
                    <a:close/>
                    <a:moveTo>
                      <a:pt x="1551" y="2307"/>
                    </a:moveTo>
                    <a:lnTo>
                      <a:pt x="1551" y="2403"/>
                    </a:lnTo>
                    <a:lnTo>
                      <a:pt x="1551" y="2403"/>
                    </a:lnTo>
                    <a:lnTo>
                      <a:pt x="1542" y="2412"/>
                    </a:lnTo>
                    <a:lnTo>
                      <a:pt x="1534" y="2420"/>
                    </a:lnTo>
                    <a:lnTo>
                      <a:pt x="1527" y="2423"/>
                    </a:lnTo>
                    <a:lnTo>
                      <a:pt x="1521" y="2425"/>
                    </a:lnTo>
                    <a:lnTo>
                      <a:pt x="1515" y="2426"/>
                    </a:lnTo>
                    <a:lnTo>
                      <a:pt x="1507" y="2427"/>
                    </a:lnTo>
                    <a:lnTo>
                      <a:pt x="1507" y="2427"/>
                    </a:lnTo>
                    <a:lnTo>
                      <a:pt x="1499" y="2426"/>
                    </a:lnTo>
                    <a:lnTo>
                      <a:pt x="1491" y="2424"/>
                    </a:lnTo>
                    <a:lnTo>
                      <a:pt x="1484" y="2420"/>
                    </a:lnTo>
                    <a:lnTo>
                      <a:pt x="1476" y="2413"/>
                    </a:lnTo>
                    <a:lnTo>
                      <a:pt x="1470" y="2403"/>
                    </a:lnTo>
                    <a:lnTo>
                      <a:pt x="1465" y="2390"/>
                    </a:lnTo>
                    <a:lnTo>
                      <a:pt x="1463" y="2373"/>
                    </a:lnTo>
                    <a:lnTo>
                      <a:pt x="1462" y="2351"/>
                    </a:lnTo>
                    <a:lnTo>
                      <a:pt x="1462" y="2351"/>
                    </a:lnTo>
                    <a:lnTo>
                      <a:pt x="1463" y="2333"/>
                    </a:lnTo>
                    <a:lnTo>
                      <a:pt x="1465" y="2317"/>
                    </a:lnTo>
                    <a:lnTo>
                      <a:pt x="1470" y="2305"/>
                    </a:lnTo>
                    <a:lnTo>
                      <a:pt x="1476" y="2296"/>
                    </a:lnTo>
                    <a:lnTo>
                      <a:pt x="1484" y="2290"/>
                    </a:lnTo>
                    <a:lnTo>
                      <a:pt x="1491" y="2285"/>
                    </a:lnTo>
                    <a:lnTo>
                      <a:pt x="1499" y="2284"/>
                    </a:lnTo>
                    <a:lnTo>
                      <a:pt x="1507" y="2283"/>
                    </a:lnTo>
                    <a:lnTo>
                      <a:pt x="1507" y="2283"/>
                    </a:lnTo>
                    <a:lnTo>
                      <a:pt x="1515" y="2284"/>
                    </a:lnTo>
                    <a:lnTo>
                      <a:pt x="1523" y="2285"/>
                    </a:lnTo>
                    <a:lnTo>
                      <a:pt x="1529" y="2288"/>
                    </a:lnTo>
                    <a:lnTo>
                      <a:pt x="1535" y="2291"/>
                    </a:lnTo>
                    <a:lnTo>
                      <a:pt x="1540" y="2295"/>
                    </a:lnTo>
                    <a:lnTo>
                      <a:pt x="1543" y="2299"/>
                    </a:lnTo>
                    <a:lnTo>
                      <a:pt x="1551" y="2307"/>
                    </a:lnTo>
                    <a:lnTo>
                      <a:pt x="1551" y="2307"/>
                    </a:lnTo>
                    <a:close/>
                    <a:moveTo>
                      <a:pt x="1033" y="2233"/>
                    </a:moveTo>
                    <a:lnTo>
                      <a:pt x="1094" y="2233"/>
                    </a:lnTo>
                    <a:lnTo>
                      <a:pt x="1094" y="2341"/>
                    </a:lnTo>
                    <a:lnTo>
                      <a:pt x="1094" y="2477"/>
                    </a:lnTo>
                    <a:lnTo>
                      <a:pt x="1033" y="2477"/>
                    </a:lnTo>
                    <a:lnTo>
                      <a:pt x="1033" y="2233"/>
                    </a:lnTo>
                    <a:close/>
                    <a:moveTo>
                      <a:pt x="1094" y="2167"/>
                    </a:moveTo>
                    <a:lnTo>
                      <a:pt x="1094" y="2198"/>
                    </a:lnTo>
                    <a:lnTo>
                      <a:pt x="1033" y="2198"/>
                    </a:lnTo>
                    <a:lnTo>
                      <a:pt x="1033" y="2137"/>
                    </a:lnTo>
                    <a:lnTo>
                      <a:pt x="1094" y="2137"/>
                    </a:lnTo>
                    <a:lnTo>
                      <a:pt x="1094" y="2167"/>
                    </a:lnTo>
                    <a:close/>
                    <a:moveTo>
                      <a:pt x="2542" y="2161"/>
                    </a:moveTo>
                    <a:lnTo>
                      <a:pt x="2603" y="2131"/>
                    </a:lnTo>
                    <a:lnTo>
                      <a:pt x="2603" y="2352"/>
                    </a:lnTo>
                    <a:lnTo>
                      <a:pt x="2603" y="2477"/>
                    </a:lnTo>
                    <a:lnTo>
                      <a:pt x="2542" y="2477"/>
                    </a:lnTo>
                    <a:lnTo>
                      <a:pt x="2542" y="2161"/>
                    </a:lnTo>
                    <a:close/>
                    <a:moveTo>
                      <a:pt x="437" y="834"/>
                    </a:moveTo>
                    <a:lnTo>
                      <a:pt x="936" y="834"/>
                    </a:lnTo>
                    <a:lnTo>
                      <a:pt x="936" y="544"/>
                    </a:lnTo>
                    <a:lnTo>
                      <a:pt x="437" y="544"/>
                    </a:lnTo>
                    <a:lnTo>
                      <a:pt x="437" y="317"/>
                    </a:lnTo>
                    <a:lnTo>
                      <a:pt x="989" y="317"/>
                    </a:lnTo>
                    <a:lnTo>
                      <a:pt x="806" y="0"/>
                    </a:lnTo>
                    <a:lnTo>
                      <a:pt x="24" y="0"/>
                    </a:lnTo>
                    <a:lnTo>
                      <a:pt x="24" y="1378"/>
                    </a:lnTo>
                    <a:lnTo>
                      <a:pt x="1126" y="1378"/>
                    </a:lnTo>
                    <a:lnTo>
                      <a:pt x="1126" y="1061"/>
                    </a:lnTo>
                    <a:lnTo>
                      <a:pt x="437" y="1061"/>
                    </a:lnTo>
                    <a:lnTo>
                      <a:pt x="437" y="834"/>
                    </a:lnTo>
                    <a:close/>
                    <a:moveTo>
                      <a:pt x="1860" y="0"/>
                    </a:moveTo>
                    <a:lnTo>
                      <a:pt x="1626" y="450"/>
                    </a:lnTo>
                    <a:lnTo>
                      <a:pt x="1393" y="0"/>
                    </a:lnTo>
                    <a:lnTo>
                      <a:pt x="936" y="0"/>
                    </a:lnTo>
                    <a:lnTo>
                      <a:pt x="1417" y="834"/>
                    </a:lnTo>
                    <a:lnTo>
                      <a:pt x="1417" y="1378"/>
                    </a:lnTo>
                    <a:lnTo>
                      <a:pt x="1829" y="1378"/>
                    </a:lnTo>
                    <a:lnTo>
                      <a:pt x="1829" y="834"/>
                    </a:lnTo>
                    <a:lnTo>
                      <a:pt x="2311" y="0"/>
                    </a:lnTo>
                    <a:lnTo>
                      <a:pt x="18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539"/>
              </a:p>
            </p:txBody>
          </p:sp>
        </p:grpSp>
        <p:sp>
          <p:nvSpPr>
            <p:cNvPr id="40" name="Content Placeholder 5">
              <a:extLst>
                <a:ext uri="{FF2B5EF4-FFF2-40B4-BE49-F238E27FC236}">
                  <a16:creationId xmlns:a16="http://schemas.microsoft.com/office/drawing/2014/main" id="{9AAF22B4-521B-4EEF-82F1-4BBA14356EC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28588" y="-12187"/>
              <a:ext cx="799089" cy="310587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Context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&amp; Scope</a:t>
              </a:r>
            </a:p>
          </p:txBody>
        </p:sp>
        <p:sp>
          <p:nvSpPr>
            <p:cNvPr id="41" name="Content Placeholder 5">
              <a:extLst>
                <a:ext uri="{FF2B5EF4-FFF2-40B4-BE49-F238E27FC236}">
                  <a16:creationId xmlns:a16="http://schemas.microsoft.com/office/drawing/2014/main" id="{E3540032-5F0D-46AF-BEF4-0D7241FC9A1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653573" y="1246"/>
              <a:ext cx="1008804" cy="283721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en-US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 Timeline</a:t>
              </a:r>
            </a:p>
          </p:txBody>
        </p:sp>
        <p:sp>
          <p:nvSpPr>
            <p:cNvPr id="42" name="Content Placeholder 5">
              <a:extLst>
                <a:ext uri="{FF2B5EF4-FFF2-40B4-BE49-F238E27FC236}">
                  <a16:creationId xmlns:a16="http://schemas.microsoft.com/office/drawing/2014/main" id="{27051942-A396-44CE-A2D5-D4810CEAAF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77810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Detailed Scope &amp; Assumptions</a:t>
              </a:r>
            </a:p>
          </p:txBody>
        </p:sp>
        <p:sp>
          <p:nvSpPr>
            <p:cNvPr id="43" name="Content Placeholder 5">
              <a:extLst>
                <a:ext uri="{FF2B5EF4-FFF2-40B4-BE49-F238E27FC236}">
                  <a16:creationId xmlns:a16="http://schemas.microsoft.com/office/drawing/2014/main" id="{7BE85D54-8E62-4B88-8EF8-6F949779FC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97101" y="47457"/>
              <a:ext cx="1279397" cy="191298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posed</a:t>
              </a: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 Solution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roach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4" name="Content Placeholder 5">
              <a:extLst>
                <a:ext uri="{FF2B5EF4-FFF2-40B4-BE49-F238E27FC236}">
                  <a16:creationId xmlns:a16="http://schemas.microsoft.com/office/drawing/2014/main" id="{2146863A-1A42-45BA-98CA-ED17599281B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45922" y="75112"/>
              <a:ext cx="1138227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Project Team &amp; </a:t>
              </a:r>
              <a:r>
                <a:rPr lang="fr-FR" sz="800" kern="0" err="1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Governance</a:t>
              </a:r>
              <a:endParaRPr lang="fr-FR" sz="800" kern="0">
                <a:solidFill>
                  <a:schemeClr val="bg2"/>
                </a:solidFill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45" name="Content Placeholder 5">
              <a:extLst>
                <a:ext uri="{FF2B5EF4-FFF2-40B4-BE49-F238E27FC236}">
                  <a16:creationId xmlns:a16="http://schemas.microsoft.com/office/drawing/2014/main" id="{A3A96CEC-BE1E-4164-A455-086B54447BD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31801" y="75112"/>
              <a:ext cx="1097554" cy="13598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Our Value Proposition</a:t>
              </a:r>
            </a:p>
          </p:txBody>
        </p:sp>
        <p:sp>
          <p:nvSpPr>
            <p:cNvPr id="46" name="Content Placeholder 5">
              <a:extLst>
                <a:ext uri="{FF2B5EF4-FFF2-40B4-BE49-F238E27FC236}">
                  <a16:creationId xmlns:a16="http://schemas.microsoft.com/office/drawing/2014/main" id="{7860E4E4-76B1-45E5-B307-4CD6CA52DA0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734717" y="79567"/>
              <a:ext cx="773670" cy="127079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Teams Profiles</a:t>
              </a:r>
            </a:p>
          </p:txBody>
        </p:sp>
        <p:sp>
          <p:nvSpPr>
            <p:cNvPr id="47" name="Content Placeholder 5">
              <a:extLst>
                <a:ext uri="{FF2B5EF4-FFF2-40B4-BE49-F238E27FC236}">
                  <a16:creationId xmlns:a16="http://schemas.microsoft.com/office/drawing/2014/main" id="{B7C67D25-A5EF-4D94-9A4F-45041090D3B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98779" y="54928"/>
              <a:ext cx="866515" cy="1763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b="1" kern="0">
                  <a:solidFill>
                    <a:srgbClr val="FFE600"/>
                  </a:solidFill>
                  <a:latin typeface="EYInterstate Bold" panose="02000803030000020004" pitchFamily="2" charset="0"/>
                  <a:ea typeface="+mn-ea"/>
                  <a:cs typeface="+mn-cs"/>
                </a:rPr>
                <a:t>Our Credentials</a:t>
              </a:r>
            </a:p>
          </p:txBody>
        </p:sp>
        <p:sp>
          <p:nvSpPr>
            <p:cNvPr id="48" name="Content Placeholder 5">
              <a:extLst>
                <a:ext uri="{FF2B5EF4-FFF2-40B4-BE49-F238E27FC236}">
                  <a16:creationId xmlns:a16="http://schemas.microsoft.com/office/drawing/2014/main" id="{D2EBCE5A-B897-41FF-ACF5-57D2DB9C644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229765" y="67628"/>
              <a:ext cx="982533" cy="150956"/>
            </a:xfrm>
            <a:prstGeom prst="rect">
              <a:avLst/>
            </a:prstGeom>
          </p:spPr>
          <p:txBody>
            <a:bodyPr anchor="ctr"/>
            <a:lstStyle>
              <a:lvl1pPr algn="l" defTabSz="995363" rtl="0" fontAlgn="base">
                <a:lnSpc>
                  <a:spcPts val="2100"/>
                </a:lnSpc>
                <a:spcBef>
                  <a:spcPct val="0"/>
                </a:spcBef>
                <a:spcAft>
                  <a:spcPct val="40000"/>
                </a:spcAft>
                <a:defRPr sz="1400" b="0">
                  <a:solidFill>
                    <a:srgbClr val="646464"/>
                  </a:solidFill>
                  <a:latin typeface="+mj-lt"/>
                  <a:ea typeface="+mn-ea"/>
                  <a:cs typeface="+mn-cs"/>
                </a:defRPr>
              </a:lvl1pPr>
              <a:lvl2pPr marL="1588" algn="l" defTabSz="995363" rtl="0" fontAlgn="base">
                <a:lnSpc>
                  <a:spcPts val="17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lang="en-US" sz="1200" b="1" dirty="0" smtClean="0">
                  <a:solidFill>
                    <a:srgbClr val="646464"/>
                  </a:solidFill>
                  <a:latin typeface="+mn-lt"/>
                </a:defRPr>
              </a:lvl2pPr>
              <a:lvl3pPr marL="3175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SzPct val="30000"/>
                <a:buFont typeface="Arial" charset="0"/>
                <a:defRPr sz="1000">
                  <a:solidFill>
                    <a:srgbClr val="000000"/>
                  </a:solidFill>
                  <a:latin typeface="+mn-lt"/>
                </a:defRPr>
              </a:lvl3pPr>
              <a:lvl4pPr marL="152400" indent="-147638" algn="l" defTabSz="995363" rtl="0" fontAlgn="base">
                <a:lnSpc>
                  <a:spcPts val="13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" charset="0"/>
                <a:buChar char="►"/>
                <a:defRPr sz="1000">
                  <a:solidFill>
                    <a:srgbClr val="000000"/>
                  </a:solidFill>
                  <a:latin typeface="+mn-lt"/>
                </a:defRPr>
              </a:lvl4pPr>
              <a:lvl5pPr marL="2968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5pPr>
              <a:lvl6pPr marL="7540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6pPr>
              <a:lvl7pPr marL="12112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7pPr>
              <a:lvl8pPr marL="16684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8pPr>
              <a:lvl9pPr marL="2125663" indent="-136525" algn="l" defTabSz="995363" rtl="0" fontAlgn="base">
                <a:lnSpc>
                  <a:spcPts val="12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000000"/>
                </a:buClr>
                <a:buSzPct val="75000"/>
                <a:buFont typeface="Times New Roman" pitchFamily="18" charset="0"/>
                <a:defRPr sz="10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2" indent="0" algn="ctr" defTabSz="829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D200"/>
                </a:buClr>
                <a:buSzPct val="140000"/>
                <a:buFont typeface="Arial" charset="0"/>
                <a:buNone/>
                <a:tabLst>
                  <a:tab pos="4876815" algn="r"/>
                </a:tabLst>
              </a:pPr>
              <a:r>
                <a:rPr lang="fr-FR" sz="800" kern="0">
                  <a:solidFill>
                    <a:schemeClr val="bg2"/>
                  </a:solidFill>
                  <a:latin typeface="EYInterstate Light" panose="02000506000000020004" pitchFamily="2" charset="0"/>
                  <a:ea typeface="+mn-ea"/>
                  <a:cs typeface="+mn-cs"/>
                </a:rPr>
                <a:t>Append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698807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513559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895713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962559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73910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950929" y="2057400"/>
            <a:ext cx="3998777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145578" y="3048000"/>
            <a:ext cx="3579536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145578" y="4191001"/>
            <a:ext cx="3579536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209293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065469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467526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3833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677581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40037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240216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699066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6.xml"/><Relationship Id="rId18" Type="http://schemas.openxmlformats.org/officeDocument/2006/relationships/slideLayout" Target="../slideLayouts/slideLayout231.xml"/><Relationship Id="rId26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16.xml"/><Relationship Id="rId21" Type="http://schemas.openxmlformats.org/officeDocument/2006/relationships/slideLayout" Target="../slideLayouts/slideLayout234.xml"/><Relationship Id="rId34" Type="http://schemas.openxmlformats.org/officeDocument/2006/relationships/slideLayout" Target="../slideLayouts/slideLayout247.xml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17" Type="http://schemas.openxmlformats.org/officeDocument/2006/relationships/slideLayout" Target="../slideLayouts/slideLayout230.xml"/><Relationship Id="rId25" Type="http://schemas.openxmlformats.org/officeDocument/2006/relationships/slideLayout" Target="../slideLayouts/slideLayout238.xml"/><Relationship Id="rId33" Type="http://schemas.openxmlformats.org/officeDocument/2006/relationships/slideLayout" Target="../slideLayouts/slideLayout246.xml"/><Relationship Id="rId2" Type="http://schemas.openxmlformats.org/officeDocument/2006/relationships/slideLayout" Target="../slideLayouts/slideLayout215.xml"/><Relationship Id="rId16" Type="http://schemas.openxmlformats.org/officeDocument/2006/relationships/slideLayout" Target="../slideLayouts/slideLayout229.xml"/><Relationship Id="rId20" Type="http://schemas.openxmlformats.org/officeDocument/2006/relationships/slideLayout" Target="../slideLayouts/slideLayout233.xml"/><Relationship Id="rId29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24" Type="http://schemas.openxmlformats.org/officeDocument/2006/relationships/slideLayout" Target="../slideLayouts/slideLayout237.xml"/><Relationship Id="rId32" Type="http://schemas.openxmlformats.org/officeDocument/2006/relationships/slideLayout" Target="../slideLayouts/slideLayout245.xml"/><Relationship Id="rId5" Type="http://schemas.openxmlformats.org/officeDocument/2006/relationships/slideLayout" Target="../slideLayouts/slideLayout218.xml"/><Relationship Id="rId15" Type="http://schemas.openxmlformats.org/officeDocument/2006/relationships/slideLayout" Target="../slideLayouts/slideLayout228.xml"/><Relationship Id="rId23" Type="http://schemas.openxmlformats.org/officeDocument/2006/relationships/slideLayout" Target="../slideLayouts/slideLayout236.xml"/><Relationship Id="rId28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23.xml"/><Relationship Id="rId19" Type="http://schemas.openxmlformats.org/officeDocument/2006/relationships/slideLayout" Target="../slideLayouts/slideLayout232.xml"/><Relationship Id="rId31" Type="http://schemas.openxmlformats.org/officeDocument/2006/relationships/slideLayout" Target="../slideLayouts/slideLayout244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slideLayout" Target="../slideLayouts/slideLayout227.xml"/><Relationship Id="rId22" Type="http://schemas.openxmlformats.org/officeDocument/2006/relationships/slideLayout" Target="../slideLayouts/slideLayout235.xml"/><Relationship Id="rId27" Type="http://schemas.openxmlformats.org/officeDocument/2006/relationships/slideLayout" Target="../slideLayouts/slideLayout240.xml"/><Relationship Id="rId30" Type="http://schemas.openxmlformats.org/officeDocument/2006/relationships/slideLayout" Target="../slideLayouts/slideLayout243.xml"/><Relationship Id="rId35" Type="http://schemas.openxmlformats.org/officeDocument/2006/relationships/theme" Target="../theme/theme10.xml"/><Relationship Id="rId8" Type="http://schemas.openxmlformats.org/officeDocument/2006/relationships/slideLayout" Target="../slideLayouts/slideLayout22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7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oleObject" Target="../embeddings/oleObject14.bin"/><Relationship Id="rId5" Type="http://schemas.openxmlformats.org/officeDocument/2006/relationships/tags" Target="../tags/tag5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image" Target="../media/image19.wmf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16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9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99.xml"/><Relationship Id="rId42" Type="http://schemas.openxmlformats.org/officeDocument/2006/relationships/slideLayout" Target="../slideLayouts/slideLayout107.xml"/><Relationship Id="rId47" Type="http://schemas.openxmlformats.org/officeDocument/2006/relationships/slideLayout" Target="../slideLayouts/slideLayout112.xml"/><Relationship Id="rId50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slideLayout" Target="../slideLayouts/slideLayout102.xml"/><Relationship Id="rId40" Type="http://schemas.openxmlformats.org/officeDocument/2006/relationships/slideLayout" Target="../slideLayouts/slideLayout105.xml"/><Relationship Id="rId45" Type="http://schemas.openxmlformats.org/officeDocument/2006/relationships/slideLayout" Target="../slideLayouts/slideLayout110.xml"/><Relationship Id="rId53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4" Type="http://schemas.openxmlformats.org/officeDocument/2006/relationships/slideLayout" Target="../slideLayouts/slideLayout109.xml"/><Relationship Id="rId52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slideLayout" Target="../slideLayouts/slideLayout100.xml"/><Relationship Id="rId43" Type="http://schemas.openxmlformats.org/officeDocument/2006/relationships/slideLayout" Target="../slideLayouts/slideLayout108.xml"/><Relationship Id="rId48" Type="http://schemas.openxmlformats.org/officeDocument/2006/relationships/slideLayout" Target="../slideLayouts/slideLayout113.xml"/><Relationship Id="rId8" Type="http://schemas.openxmlformats.org/officeDocument/2006/relationships/slideLayout" Target="../slideLayouts/slideLayout73.xml"/><Relationship Id="rId51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slideLayout" Target="../slideLayouts/slideLayout103.xml"/><Relationship Id="rId4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85.xml"/><Relationship Id="rId41" Type="http://schemas.openxmlformats.org/officeDocument/2006/relationships/slideLayout" Target="../slideLayouts/slideLayout106.xml"/><Relationship Id="rId54" Type="http://schemas.openxmlformats.org/officeDocument/2006/relationships/theme" Target="../theme/theme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slideLayout" Target="../slideLayouts/slideLayout101.xml"/><Relationship Id="rId49" Type="http://schemas.openxmlformats.org/officeDocument/2006/relationships/slideLayout" Target="../slideLayouts/slideLayout11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26" Type="http://schemas.openxmlformats.org/officeDocument/2006/relationships/slideLayout" Target="../slideLayouts/slideLayout144.xml"/><Relationship Id="rId39" Type="http://schemas.openxmlformats.org/officeDocument/2006/relationships/slideLayout" Target="../slideLayouts/slideLayout157.xml"/><Relationship Id="rId21" Type="http://schemas.openxmlformats.org/officeDocument/2006/relationships/slideLayout" Target="../slideLayouts/slideLayout139.xml"/><Relationship Id="rId34" Type="http://schemas.openxmlformats.org/officeDocument/2006/relationships/slideLayout" Target="../slideLayouts/slideLayout152.xml"/><Relationship Id="rId42" Type="http://schemas.openxmlformats.org/officeDocument/2006/relationships/slideLayout" Target="../slideLayouts/slideLayout160.xml"/><Relationship Id="rId47" Type="http://schemas.openxmlformats.org/officeDocument/2006/relationships/slideLayout" Target="../slideLayouts/slideLayout165.xml"/><Relationship Id="rId50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9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29.xml"/><Relationship Id="rId24" Type="http://schemas.openxmlformats.org/officeDocument/2006/relationships/slideLayout" Target="../slideLayouts/slideLayout142.xml"/><Relationship Id="rId32" Type="http://schemas.openxmlformats.org/officeDocument/2006/relationships/slideLayout" Target="../slideLayouts/slideLayout150.xml"/><Relationship Id="rId37" Type="http://schemas.openxmlformats.org/officeDocument/2006/relationships/slideLayout" Target="../slideLayouts/slideLayout155.xml"/><Relationship Id="rId40" Type="http://schemas.openxmlformats.org/officeDocument/2006/relationships/slideLayout" Target="../slideLayouts/slideLayout158.xml"/><Relationship Id="rId45" Type="http://schemas.openxmlformats.org/officeDocument/2006/relationships/slideLayout" Target="../slideLayouts/slideLayout163.xml"/><Relationship Id="rId53" Type="http://schemas.openxmlformats.org/officeDocument/2006/relationships/theme" Target="../theme/theme6.xml"/><Relationship Id="rId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31" Type="http://schemas.openxmlformats.org/officeDocument/2006/relationships/slideLayout" Target="../slideLayouts/slideLayout149.xml"/><Relationship Id="rId44" Type="http://schemas.openxmlformats.org/officeDocument/2006/relationships/slideLayout" Target="../slideLayouts/slideLayout162.xml"/><Relationship Id="rId52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slideLayout" Target="../slideLayouts/slideLayout140.xml"/><Relationship Id="rId27" Type="http://schemas.openxmlformats.org/officeDocument/2006/relationships/slideLayout" Target="../slideLayouts/slideLayout145.xml"/><Relationship Id="rId30" Type="http://schemas.openxmlformats.org/officeDocument/2006/relationships/slideLayout" Target="../slideLayouts/slideLayout148.xml"/><Relationship Id="rId35" Type="http://schemas.openxmlformats.org/officeDocument/2006/relationships/slideLayout" Target="../slideLayouts/slideLayout153.xml"/><Relationship Id="rId43" Type="http://schemas.openxmlformats.org/officeDocument/2006/relationships/slideLayout" Target="../slideLayouts/slideLayout161.xml"/><Relationship Id="rId48" Type="http://schemas.openxmlformats.org/officeDocument/2006/relationships/slideLayout" Target="../slideLayouts/slideLayout166.xml"/><Relationship Id="rId8" Type="http://schemas.openxmlformats.org/officeDocument/2006/relationships/slideLayout" Target="../slideLayouts/slideLayout126.xml"/><Relationship Id="rId51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5" Type="http://schemas.openxmlformats.org/officeDocument/2006/relationships/slideLayout" Target="../slideLayouts/slideLayout143.xml"/><Relationship Id="rId33" Type="http://schemas.openxmlformats.org/officeDocument/2006/relationships/slideLayout" Target="../slideLayouts/slideLayout151.xml"/><Relationship Id="rId38" Type="http://schemas.openxmlformats.org/officeDocument/2006/relationships/slideLayout" Target="../slideLayouts/slideLayout156.xml"/><Relationship Id="rId46" Type="http://schemas.openxmlformats.org/officeDocument/2006/relationships/slideLayout" Target="../slideLayouts/slideLayout164.xml"/><Relationship Id="rId20" Type="http://schemas.openxmlformats.org/officeDocument/2006/relationships/slideLayout" Target="../slideLayouts/slideLayout138.xml"/><Relationship Id="rId41" Type="http://schemas.openxmlformats.org/officeDocument/2006/relationships/slideLayout" Target="../slideLayouts/slideLayout159.xml"/><Relationship Id="rId54" Type="http://schemas.openxmlformats.org/officeDocument/2006/relationships/image" Target="../media/image19.wmf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3.xml"/><Relationship Id="rId23" Type="http://schemas.openxmlformats.org/officeDocument/2006/relationships/slideLayout" Target="../slideLayouts/slideLayout141.xml"/><Relationship Id="rId28" Type="http://schemas.openxmlformats.org/officeDocument/2006/relationships/slideLayout" Target="../slideLayouts/slideLayout146.xml"/><Relationship Id="rId36" Type="http://schemas.openxmlformats.org/officeDocument/2006/relationships/slideLayout" Target="../slideLayouts/slideLayout154.xml"/><Relationship Id="rId49" Type="http://schemas.openxmlformats.org/officeDocument/2006/relationships/slideLayout" Target="../slideLayouts/slideLayout167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26" Type="http://schemas.openxmlformats.org/officeDocument/2006/relationships/slideLayout" Target="../slideLayouts/slideLayout196.xml"/><Relationship Id="rId39" Type="http://schemas.openxmlformats.org/officeDocument/2006/relationships/oleObject" Target="../embeddings/oleObject18.bin"/><Relationship Id="rId21" Type="http://schemas.openxmlformats.org/officeDocument/2006/relationships/slideLayout" Target="../slideLayouts/slideLayout191.xml"/><Relationship Id="rId34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72.xml"/><Relationship Id="rId16" Type="http://schemas.openxmlformats.org/officeDocument/2006/relationships/slideLayout" Target="../slideLayouts/slideLayout186.xml"/><Relationship Id="rId20" Type="http://schemas.openxmlformats.org/officeDocument/2006/relationships/slideLayout" Target="../slideLayouts/slideLayout190.xml"/><Relationship Id="rId29" Type="http://schemas.openxmlformats.org/officeDocument/2006/relationships/slideLayout" Target="../slideLayouts/slideLayout199.xml"/><Relationship Id="rId41" Type="http://schemas.openxmlformats.org/officeDocument/2006/relationships/image" Target="../media/image34.jpeg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24" Type="http://schemas.openxmlformats.org/officeDocument/2006/relationships/slideLayout" Target="../slideLayouts/slideLayout194.xml"/><Relationship Id="rId32" Type="http://schemas.openxmlformats.org/officeDocument/2006/relationships/slideLayout" Target="../slideLayouts/slideLayout202.xml"/><Relationship Id="rId37" Type="http://schemas.openxmlformats.org/officeDocument/2006/relationships/theme" Target="../theme/theme7.xml"/><Relationship Id="rId40" Type="http://schemas.openxmlformats.org/officeDocument/2006/relationships/image" Target="../media/image33.emf"/><Relationship Id="rId5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5.xml"/><Relationship Id="rId23" Type="http://schemas.openxmlformats.org/officeDocument/2006/relationships/slideLayout" Target="../slideLayouts/slideLayout193.xml"/><Relationship Id="rId28" Type="http://schemas.openxmlformats.org/officeDocument/2006/relationships/slideLayout" Target="../slideLayouts/slideLayout198.xml"/><Relationship Id="rId36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180.xml"/><Relationship Id="rId19" Type="http://schemas.openxmlformats.org/officeDocument/2006/relationships/slideLayout" Target="../slideLayouts/slideLayout189.xml"/><Relationship Id="rId31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84.xml"/><Relationship Id="rId22" Type="http://schemas.openxmlformats.org/officeDocument/2006/relationships/slideLayout" Target="../slideLayouts/slideLayout192.xml"/><Relationship Id="rId27" Type="http://schemas.openxmlformats.org/officeDocument/2006/relationships/slideLayout" Target="../slideLayouts/slideLayout197.xml"/><Relationship Id="rId30" Type="http://schemas.openxmlformats.org/officeDocument/2006/relationships/slideLayout" Target="../slideLayouts/slideLayout200.xml"/><Relationship Id="rId35" Type="http://schemas.openxmlformats.org/officeDocument/2006/relationships/slideLayout" Target="../slideLayouts/slideLayout205.xml"/><Relationship Id="rId8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5" Type="http://schemas.openxmlformats.org/officeDocument/2006/relationships/slideLayout" Target="../slideLayouts/slideLayout195.xml"/><Relationship Id="rId33" Type="http://schemas.openxmlformats.org/officeDocument/2006/relationships/slideLayout" Target="../slideLayouts/slideLayout203.xml"/><Relationship Id="rId38" Type="http://schemas.openxmlformats.org/officeDocument/2006/relationships/tags" Target="../tags/tag6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2.xml"/><Relationship Id="rId3" Type="http://schemas.openxmlformats.org/officeDocument/2006/relationships/slideLayout" Target="../slideLayouts/slideLayout209.xml"/><Relationship Id="rId7" Type="http://schemas.openxmlformats.org/officeDocument/2006/relationships/image" Target="../media/image42.svg"/><Relationship Id="rId12" Type="http://schemas.openxmlformats.org/officeDocument/2006/relationships/image" Target="../media/image46.svg"/><Relationship Id="rId2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207.xml"/><Relationship Id="rId6" Type="http://schemas.openxmlformats.org/officeDocument/2006/relationships/image" Target="../media/image41.png"/><Relationship Id="rId11" Type="http://schemas.openxmlformats.org/officeDocument/2006/relationships/image" Target="../media/image45.png"/><Relationship Id="rId5" Type="http://schemas.openxmlformats.org/officeDocument/2006/relationships/theme" Target="../theme/theme8.xml"/><Relationship Id="rId10" Type="http://schemas.openxmlformats.org/officeDocument/2006/relationships/image" Target="../media/image44.svg"/><Relationship Id="rId4" Type="http://schemas.openxmlformats.org/officeDocument/2006/relationships/slideLayout" Target="../slideLayouts/slideLayout210.xml"/><Relationship Id="rId9" Type="http://schemas.openxmlformats.org/officeDocument/2006/relationships/image" Target="../media/image43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3.xml"/><Relationship Id="rId7" Type="http://schemas.openxmlformats.org/officeDocument/2006/relationships/image" Target="../media/image17.emf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oleObject" Target="../embeddings/oleObject14.bin"/><Relationship Id="rId5" Type="http://schemas.openxmlformats.org/officeDocument/2006/relationships/tags" Target="../tags/tag70.xml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30D042-8262-45C2-B03B-E353F4312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948449649"/>
              </p:ext>
            </p:extLst>
          </p:nvPr>
        </p:nvGraphicFramePr>
        <p:xfrm>
          <a:off x="1590" y="1588"/>
          <a:ext cx="158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6" progId="TCLayout.ActiveDocument.1">
                  <p:embed/>
                </p:oleObj>
              </mc:Choice>
              <mc:Fallback>
                <p:oleObj name="think-cell Slide" r:id="rId26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030D042-8262-45C2-B03B-E353F4312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1689904"/>
            <a:ext cx="10972800" cy="4433696"/>
          </a:xfrm>
          <a:prstGeom prst="rect">
            <a:avLst/>
          </a:prstGeom>
        </p:spPr>
        <p:txBody>
          <a:bodyPr vert="horz" lIns="0" tIns="0" rIns="0" bIns="0" numCol="3" rtlCol="0" anchor="t" anchorCtr="0">
            <a:noAutofit/>
          </a:bodyPr>
          <a:lstStyle/>
          <a:p>
            <a:pPr lvl="0"/>
            <a:r>
              <a:rPr lang="en-US"/>
              <a:t>Master slide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1"/>
            <a:r>
              <a:rPr lang="en-US"/>
              <a:t>1st level </a:t>
            </a:r>
          </a:p>
          <a:p>
            <a:pPr lvl="2"/>
            <a:r>
              <a:rPr lang="en-US"/>
              <a:t>2nd level </a:t>
            </a:r>
          </a:p>
        </p:txBody>
      </p:sp>
      <p:sp>
        <p:nvSpPr>
          <p:cNvPr id="6" name="TextBox 6"/>
          <p:cNvSpPr txBox="1"/>
          <p:nvPr userDrawn="1"/>
        </p:nvSpPr>
        <p:spPr>
          <a:xfrm>
            <a:off x="11355558" y="6553409"/>
            <a:ext cx="886506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 rtl="0"/>
            <a:fld id="{9AE4D82F-B047-469B-AC52-A46321747EAF}" type="slidenum">
              <a:rPr lang="en-US" sz="800" smtClean="0">
                <a:solidFill>
                  <a:schemeClr val="tx1"/>
                </a:solidFill>
                <a:latin typeface="+mn-lt"/>
              </a:rPr>
              <a:pPr algn="ctr" rtl="0"/>
              <a:t>‹#›</a:t>
            </a:fld>
            <a:endParaRPr lang="en-US" sz="8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902817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4096" r:id="rId2"/>
    <p:sldLayoutId id="2147484097" r:id="rId3"/>
    <p:sldLayoutId id="2147484074" r:id="rId4"/>
    <p:sldLayoutId id="2147484304" r:id="rId5"/>
    <p:sldLayoutId id="2147484187" r:id="rId6"/>
    <p:sldLayoutId id="2147484188" r:id="rId7"/>
    <p:sldLayoutId id="2147484189" r:id="rId8"/>
    <p:sldLayoutId id="2147484190" r:id="rId9"/>
    <p:sldLayoutId id="2147484191" r:id="rId10"/>
    <p:sldLayoutId id="2147484237" r:id="rId11"/>
    <p:sldLayoutId id="2147484236" r:id="rId12"/>
    <p:sldLayoutId id="2147484402" r:id="rId13"/>
    <p:sldLayoutId id="2147484403" r:id="rId14"/>
    <p:sldLayoutId id="2147484161" r:id="rId15"/>
    <p:sldLayoutId id="2147484193" r:id="rId16"/>
    <p:sldLayoutId id="2147484194" r:id="rId17"/>
    <p:sldLayoutId id="2147484195" r:id="rId18"/>
    <p:sldLayoutId id="2147484299" r:id="rId19"/>
    <p:sldLayoutId id="2147484300" r:id="rId20"/>
    <p:sldLayoutId id="2147484301" r:id="rId21"/>
    <p:sldLayoutId id="2147484302" r:id="rId22"/>
    <p:sldLayoutId id="2147484404" r:id="rId23"/>
  </p:sldLayoutIdLst>
  <p:hf hdr="0" ftr="0" dt="0"/>
  <p:txStyles>
    <p:titleStyle>
      <a:lvl1pPr algn="l" defTabSz="913881" rtl="0" eaLnBrk="1" latinLnBrk="0" hangingPunct="1">
        <a:lnSpc>
          <a:spcPct val="85000"/>
        </a:lnSpc>
        <a:spcBef>
          <a:spcPct val="0"/>
        </a:spcBef>
        <a:buNone/>
        <a:defRPr sz="3498" b="1" kern="1200" cap="all" baseline="0">
          <a:solidFill>
            <a:srgbClr val="404040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3881" rtl="0" eaLnBrk="1" latinLnBrk="0" hangingPunct="1">
        <a:spcBef>
          <a:spcPct val="20000"/>
        </a:spcBef>
        <a:buClr>
          <a:schemeClr val="accent2"/>
        </a:buClr>
        <a:buSzPct val="100000"/>
        <a:buFont typeface="EYInterstate Light" panose="02000506000000020004" pitchFamily="2" charset="0"/>
        <a:buNone/>
        <a:tabLst/>
        <a:defRPr sz="1799" kern="1200" baseline="0">
          <a:solidFill>
            <a:schemeClr val="bg1"/>
          </a:solidFill>
          <a:latin typeface="+mn-lt"/>
          <a:ea typeface="+mn-ea"/>
          <a:cs typeface="+mn-cs"/>
        </a:defRPr>
      </a:lvl1pPr>
      <a:lvl2pPr marL="179899" indent="-179899" algn="l" defTabSz="913881" rtl="0" eaLnBrk="1" latinLnBrk="0" hangingPunct="1">
        <a:spcBef>
          <a:spcPct val="20000"/>
        </a:spcBef>
        <a:buClr>
          <a:schemeClr val="accent2"/>
        </a:buClr>
        <a:buSzPct val="100000"/>
        <a:buFont typeface="EYInterstate Light" panose="02000506000000020004" pitchFamily="2" charset="0"/>
        <a:buChar char="•"/>
        <a:defRPr sz="1799" kern="1200" baseline="0">
          <a:solidFill>
            <a:schemeClr val="bg1"/>
          </a:solidFill>
          <a:latin typeface="+mn-lt"/>
          <a:ea typeface="+mn-ea"/>
          <a:cs typeface="+mn-cs"/>
        </a:defRPr>
      </a:lvl2pPr>
      <a:lvl3pPr marL="359796" indent="-179899" algn="l" defTabSz="913881" rtl="0" eaLnBrk="1" latinLnBrk="0" hangingPunct="1">
        <a:spcBef>
          <a:spcPct val="20000"/>
        </a:spcBef>
        <a:buClr>
          <a:schemeClr val="accent2"/>
        </a:buClr>
        <a:buSzPct val="100000"/>
        <a:buFont typeface="EYInterstate Light" panose="02000506000000020004" pitchFamily="2" charset="0"/>
        <a:buChar char="•"/>
        <a:defRPr sz="1799" kern="1200" baseline="0">
          <a:solidFill>
            <a:schemeClr val="bg1"/>
          </a:solidFill>
          <a:latin typeface="+mn-lt"/>
          <a:ea typeface="+mn-ea"/>
          <a:cs typeface="+mn-cs"/>
        </a:defRPr>
      </a:lvl3pPr>
      <a:lvl4pPr marL="1069241" indent="0" algn="l" defTabSz="9138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None/>
        <a:defRPr sz="1799" kern="1200">
          <a:solidFill>
            <a:schemeClr val="bg1"/>
          </a:solidFill>
          <a:latin typeface="+mn-lt"/>
          <a:ea typeface="+mn-ea"/>
          <a:cs typeface="+mn-cs"/>
        </a:defRPr>
      </a:lvl4pPr>
      <a:lvl5pPr marL="1425654" indent="0" algn="l" defTabSz="9138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None/>
        <a:defRPr sz="1799" kern="1200">
          <a:solidFill>
            <a:schemeClr val="bg1"/>
          </a:solidFill>
          <a:latin typeface="+mn-lt"/>
          <a:ea typeface="+mn-ea"/>
          <a:cs typeface="+mn-cs"/>
        </a:defRPr>
      </a:lvl5pPr>
      <a:lvl6pPr marL="2513173" indent="-228471" algn="l" defTabSz="913881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4" indent="-228471" algn="l" defTabSz="913881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4" indent="-228471" algn="l" defTabSz="913881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5" indent="-228471" algn="l" defTabSz="913881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38" algn="l" defTabSz="91388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81" algn="l" defTabSz="91388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9" algn="l" defTabSz="91388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3" algn="l" defTabSz="91388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3" algn="l" defTabSz="91388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3" algn="l" defTabSz="91388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5" algn="l" defTabSz="91388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4" algn="l" defTabSz="91388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325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3CDF1934-D2B2-4AA9-8EA1-1E518657904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CD35872E-4184-4A23-95E6-82765736F9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F1107F2-2963-451C-9226-045532588C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0DA7FBA8-90E2-4391-A0BA-B3AB343753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1" name="Date Placeholder 1">
            <a:extLst>
              <a:ext uri="{FF2B5EF4-FFF2-40B4-BE49-F238E27FC236}">
                <a16:creationId xmlns:a16="http://schemas.microsoft.com/office/drawing/2014/main" id="{A9B702AF-19B6-4F5E-8D83-4C8DC525EA2D}"/>
              </a:ext>
            </a:extLst>
          </p:cNvPr>
          <p:cNvSpPr txBox="1">
            <a:spLocks/>
          </p:cNvSpPr>
          <p:nvPr userDrawn="1"/>
        </p:nvSpPr>
        <p:spPr>
          <a:xfrm>
            <a:off x="1352024" y="6471244"/>
            <a:ext cx="119063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z="800" smtClean="0"/>
              <a:t>2 July 2025</a:t>
            </a:fld>
            <a:endParaRPr lang="en-IN" sz="800"/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E59D4E9C-D280-4A0D-B23D-22954AB0CEC9}"/>
              </a:ext>
            </a:extLst>
          </p:cNvPr>
          <p:cNvSpPr txBox="1">
            <a:spLocks/>
          </p:cNvSpPr>
          <p:nvPr userDrawn="1"/>
        </p:nvSpPr>
        <p:spPr>
          <a:xfrm>
            <a:off x="609283" y="6471244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800"/>
              <a:t>Page </a:t>
            </a:r>
            <a:fld id="{D5B76411-544C-4F9A-8EDE-9EEB2BD21F95}" type="slidenum">
              <a:rPr lang="en-IN" sz="800" smtClean="0"/>
              <a:t>‹#›</a:t>
            </a:fld>
            <a:endParaRPr sz="800"/>
          </a:p>
        </p:txBody>
      </p:sp>
    </p:spTree>
    <p:extLst>
      <p:ext uri="{BB962C8B-B14F-4D97-AF65-F5344CB8AC3E}">
        <p14:creationId xmlns:p14="http://schemas.microsoft.com/office/powerpoint/2010/main" val="4055615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9" r:id="rId1"/>
    <p:sldLayoutId id="2147484630" r:id="rId2"/>
    <p:sldLayoutId id="2147484631" r:id="rId3"/>
    <p:sldLayoutId id="2147484632" r:id="rId4"/>
    <p:sldLayoutId id="2147484633" r:id="rId5"/>
    <p:sldLayoutId id="2147484634" r:id="rId6"/>
    <p:sldLayoutId id="2147484635" r:id="rId7"/>
    <p:sldLayoutId id="2147484636" r:id="rId8"/>
    <p:sldLayoutId id="2147484637" r:id="rId9"/>
    <p:sldLayoutId id="2147484638" r:id="rId10"/>
    <p:sldLayoutId id="2147484639" r:id="rId11"/>
    <p:sldLayoutId id="2147484640" r:id="rId12"/>
    <p:sldLayoutId id="2147484641" r:id="rId13"/>
    <p:sldLayoutId id="2147484642" r:id="rId14"/>
    <p:sldLayoutId id="2147484643" r:id="rId15"/>
    <p:sldLayoutId id="2147484644" r:id="rId16"/>
    <p:sldLayoutId id="2147484645" r:id="rId17"/>
    <p:sldLayoutId id="2147484646" r:id="rId18"/>
    <p:sldLayoutId id="2147484647" r:id="rId19"/>
    <p:sldLayoutId id="2147484648" r:id="rId20"/>
    <p:sldLayoutId id="2147484649" r:id="rId21"/>
    <p:sldLayoutId id="2147484650" r:id="rId22"/>
    <p:sldLayoutId id="2147484651" r:id="rId23"/>
    <p:sldLayoutId id="2147484652" r:id="rId24"/>
    <p:sldLayoutId id="2147484653" r:id="rId25"/>
    <p:sldLayoutId id="2147484654" r:id="rId26"/>
    <p:sldLayoutId id="2147484655" r:id="rId27"/>
    <p:sldLayoutId id="2147484656" r:id="rId28"/>
    <p:sldLayoutId id="2147484657" r:id="rId29"/>
    <p:sldLayoutId id="2147484658" r:id="rId30"/>
    <p:sldLayoutId id="2147484659" r:id="rId31"/>
    <p:sldLayoutId id="2147484660" r:id="rId32"/>
    <p:sldLayoutId id="2147484661" r:id="rId33"/>
    <p:sldLayoutId id="2147484663" r:id="rId34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384">
          <p15:clr>
            <a:srgbClr val="F26B43"/>
          </p15:clr>
        </p15:guide>
        <p15:guide id="4" pos="7302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9B276-D7F0-47C9-8941-C13F3F593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48268982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9B276-D7F0-47C9-8941-C13F3F593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8" name="Date Placeholder 1">
            <a:extLst>
              <a:ext uri="{FF2B5EF4-FFF2-40B4-BE49-F238E27FC236}">
                <a16:creationId xmlns:a16="http://schemas.microsoft.com/office/drawing/2014/main" id="{45CFA693-E91B-43CC-B5B8-0AF459F62896}"/>
              </a:ext>
            </a:extLst>
          </p:cNvPr>
          <p:cNvSpPr txBox="1">
            <a:spLocks/>
          </p:cNvSpPr>
          <p:nvPr userDrawn="1"/>
        </p:nvSpPr>
        <p:spPr>
          <a:xfrm>
            <a:off x="1629671" y="6530236"/>
            <a:ext cx="119063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z="800" smtClean="0"/>
              <a:t>2 July 2025</a:t>
            </a:fld>
            <a:endParaRPr lang="en-IN" sz="800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FA0C3EA0-3C85-4236-8D60-88634AF47AD8}"/>
              </a:ext>
            </a:extLst>
          </p:cNvPr>
          <p:cNvSpPr txBox="1">
            <a:spLocks/>
          </p:cNvSpPr>
          <p:nvPr userDrawn="1"/>
        </p:nvSpPr>
        <p:spPr>
          <a:xfrm>
            <a:off x="609283" y="6530236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800"/>
              <a:t>Page </a:t>
            </a:r>
            <a:fld id="{D5B76411-544C-4F9A-8EDE-9EEB2BD21F95}" type="slidenum">
              <a:rPr lang="en-IN" sz="800" smtClean="0"/>
              <a:t>‹#›</a:t>
            </a:fld>
            <a:endParaRPr sz="800"/>
          </a:p>
        </p:txBody>
      </p:sp>
    </p:spTree>
    <p:extLst>
      <p:ext uri="{BB962C8B-B14F-4D97-AF65-F5344CB8AC3E}">
        <p14:creationId xmlns:p14="http://schemas.microsoft.com/office/powerpoint/2010/main" val="2184041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6" r:id="rId1"/>
    <p:sldLayoutId id="2147484408" r:id="rId2"/>
    <p:sldLayoutId id="2147484409" r:id="rId3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384">
          <p15:clr>
            <a:srgbClr val="F26B43"/>
          </p15:clr>
        </p15:guide>
        <p15:guide id="4" pos="7302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3A56E9B-FDEB-4900-88BD-F0B34334DB41}"/>
              </a:ext>
            </a:extLst>
          </p:cNvPr>
          <p:cNvPicPr preferRelativeResize="0">
            <a:picLocks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952" y="6327648"/>
            <a:ext cx="410400" cy="41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1FFE43-22D2-44DE-9910-040934A9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457" rtl="0" eaLnBrk="1" latinLnBrk="0" hangingPunct="1">
              <a:defRPr lang="en-IN" sz="600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9692A60-4A77-43ED-A679-D6088C67E6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E7845ABC-A91F-4289-9C66-23D8A5B14269}" type="datetime3">
              <a:rPr lang="en-US" smtClean="0"/>
              <a:t>2 July 2025</a:t>
            </a:fld>
            <a:endParaRPr lang="en-IN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01D5F83-E7B7-4811-A4DF-B07CC2DE1B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>
                <a:solidFill>
                  <a:schemeClr val="bg1"/>
                </a:solidFill>
              </a:rPr>
              <a:t>Draft for discussion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23898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1" r:id="rId1"/>
    <p:sldLayoutId id="2147484412" r:id="rId2"/>
    <p:sldLayoutId id="2147484413" r:id="rId3"/>
    <p:sldLayoutId id="2147484414" r:id="rId4"/>
    <p:sldLayoutId id="2147484415" r:id="rId5"/>
    <p:sldLayoutId id="2147484416" r:id="rId6"/>
    <p:sldLayoutId id="2147484417" r:id="rId7"/>
    <p:sldLayoutId id="2147484418" r:id="rId8"/>
    <p:sldLayoutId id="2147484419" r:id="rId9"/>
    <p:sldLayoutId id="2147484420" r:id="rId10"/>
    <p:sldLayoutId id="2147484421" r:id="rId11"/>
    <p:sldLayoutId id="2147484422" r:id="rId12"/>
    <p:sldLayoutId id="2147484423" r:id="rId13"/>
    <p:sldLayoutId id="2147484424" r:id="rId14"/>
    <p:sldLayoutId id="2147484425" r:id="rId15"/>
    <p:sldLayoutId id="2147484426" r:id="rId16"/>
    <p:sldLayoutId id="2147484427" r:id="rId17"/>
    <p:sldLayoutId id="2147484428" r:id="rId18"/>
    <p:sldLayoutId id="2147484429" r:id="rId19"/>
    <p:sldLayoutId id="2147484430" r:id="rId20"/>
    <p:sldLayoutId id="2147484431" r:id="rId21"/>
    <p:sldLayoutId id="2147484432" r:id="rId22"/>
    <p:sldLayoutId id="2147484433" r:id="rId23"/>
    <p:sldLayoutId id="2147484434" r:id="rId24"/>
    <p:sldLayoutId id="2147484435" r:id="rId25"/>
    <p:sldLayoutId id="2147484436" r:id="rId26"/>
    <p:sldLayoutId id="2147484437" r:id="rId27"/>
    <p:sldLayoutId id="2147484438" r:id="rId28"/>
    <p:sldLayoutId id="2147484439" r:id="rId29"/>
    <p:sldLayoutId id="2147484440" r:id="rId30"/>
    <p:sldLayoutId id="2147484441" r:id="rId31"/>
    <p:sldLayoutId id="2147484442" r:id="rId32"/>
    <p:sldLayoutId id="2147484443" r:id="rId33"/>
    <p:sldLayoutId id="2147484444" r:id="rId34"/>
    <p:sldLayoutId id="2147484622" r:id="rId35"/>
    <p:sldLayoutId id="2147484664" r:id="rId36"/>
  </p:sldLayoutIdLst>
  <p:hf hdr="0"/>
  <p:txStyles>
    <p:titleStyle>
      <a:lvl1pPr algn="l" defTabSz="513819" rtl="0" eaLnBrk="1" latinLnBrk="0" hangingPunct="1">
        <a:lnSpc>
          <a:spcPct val="85000"/>
        </a:lnSpc>
        <a:spcBef>
          <a:spcPct val="0"/>
        </a:spcBef>
        <a:buNone/>
        <a:defRPr sz="17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00389" indent="-200389" algn="l" defTabSz="513819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400779" indent="-200389" algn="l" defTabSz="513819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601168" indent="-200389" algn="l" defTabSz="513819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801557" indent="-200389" algn="l" defTabSz="513819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001947" indent="-200389" algn="l" defTabSz="513819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9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413001" indent="-128455" algn="l" defTabSz="513819" rtl="0" eaLnBrk="1" latinLnBrk="0" hangingPunct="1">
        <a:spcBef>
          <a:spcPct val="20000"/>
        </a:spcBef>
        <a:buFont typeface="Arial" pitchFamily="34" charset="0"/>
        <a:buChar char="•"/>
        <a:defRPr sz="1123" kern="1200">
          <a:solidFill>
            <a:schemeClr val="tx1"/>
          </a:solidFill>
          <a:latin typeface="+mn-lt"/>
          <a:ea typeface="+mn-ea"/>
          <a:cs typeface="+mn-cs"/>
        </a:defRPr>
      </a:lvl6pPr>
      <a:lvl7pPr marL="1669911" indent="-128455" algn="l" defTabSz="513819" rtl="0" eaLnBrk="1" latinLnBrk="0" hangingPunct="1">
        <a:spcBef>
          <a:spcPct val="20000"/>
        </a:spcBef>
        <a:buFont typeface="Arial" pitchFamily="34" charset="0"/>
        <a:buChar char="•"/>
        <a:defRPr sz="1123" kern="1200">
          <a:solidFill>
            <a:schemeClr val="tx1"/>
          </a:solidFill>
          <a:latin typeface="+mn-lt"/>
          <a:ea typeface="+mn-ea"/>
          <a:cs typeface="+mn-cs"/>
        </a:defRPr>
      </a:lvl7pPr>
      <a:lvl8pPr marL="1926820" indent="-128455" algn="l" defTabSz="513819" rtl="0" eaLnBrk="1" latinLnBrk="0" hangingPunct="1">
        <a:spcBef>
          <a:spcPct val="20000"/>
        </a:spcBef>
        <a:buFont typeface="Arial" pitchFamily="34" charset="0"/>
        <a:buChar char="•"/>
        <a:defRPr sz="1123" kern="1200">
          <a:solidFill>
            <a:schemeClr val="tx1"/>
          </a:solidFill>
          <a:latin typeface="+mn-lt"/>
          <a:ea typeface="+mn-ea"/>
          <a:cs typeface="+mn-cs"/>
        </a:defRPr>
      </a:lvl8pPr>
      <a:lvl9pPr marL="2183730" indent="-128455" algn="l" defTabSz="513819" rtl="0" eaLnBrk="1" latinLnBrk="0" hangingPunct="1">
        <a:spcBef>
          <a:spcPct val="20000"/>
        </a:spcBef>
        <a:buFont typeface="Arial" pitchFamily="34" charset="0"/>
        <a:buChar char="•"/>
        <a:defRPr sz="11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3819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1pPr>
      <a:lvl2pPr marL="256909" algn="l" defTabSz="513819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2pPr>
      <a:lvl3pPr marL="513819" algn="l" defTabSz="513819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3pPr>
      <a:lvl4pPr marL="770727" algn="l" defTabSz="513819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4pPr>
      <a:lvl5pPr marL="1027637" algn="l" defTabSz="513819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5pPr>
      <a:lvl6pPr marL="1284547" algn="l" defTabSz="513819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6pPr>
      <a:lvl7pPr marL="1541456" algn="l" defTabSz="513819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7pPr>
      <a:lvl8pPr marL="1798365" algn="l" defTabSz="513819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8pPr>
      <a:lvl9pPr marL="2055275" algn="l" defTabSz="513819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6D08FE-AE6F-4937-AEFB-3A70BA2957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05655302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6D08FE-AE6F-4937-AEFB-3A70BA2957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166F429-85B8-431C-8156-3E89B9F55D5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</a:t>
            </a:r>
            <a:r>
              <a:rPr lang="en-US" err="1"/>
              <a:t>dit</a:t>
            </a:r>
            <a:r>
              <a:rPr lang="en-US"/>
              <a:t>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F007091E-330A-498A-AA28-8FEB74FFD863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609282" y="884600"/>
            <a:ext cx="11118430" cy="23150"/>
          </a:xfrm>
          <a:prstGeom prst="line">
            <a:avLst/>
          </a:prstGeom>
          <a:noFill/>
          <a:ln w="19050">
            <a:solidFill>
              <a:srgbClr val="FFE6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>
              <a:solidFill>
                <a:schemeClr val="bg1"/>
              </a:solidFill>
            </a:endParaRP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63C36C5C-F1A2-4BA1-8836-5FBD3CDD5179}"/>
              </a:ext>
            </a:extLst>
          </p:cNvPr>
          <p:cNvSpPr txBox="1">
            <a:spLocks/>
          </p:cNvSpPr>
          <p:nvPr userDrawn="1"/>
        </p:nvSpPr>
        <p:spPr>
          <a:xfrm>
            <a:off x="616900" y="6471244"/>
            <a:ext cx="182784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Page </a:t>
            </a:r>
            <a:fld id="{F1BC30E3-FFE5-4B91-AA19-87A149EBB9EE}" type="slidenum">
              <a:rPr lang="en-US" sz="800" smtClean="0"/>
              <a:pPr/>
              <a:t>‹#›</a:t>
            </a:fld>
            <a:endParaRPr lang="en-US" sz="800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FC8B16-183E-46C5-8070-510D4A9941DD}"/>
              </a:ext>
            </a:extLst>
          </p:cNvPr>
          <p:cNvSpPr txBox="1"/>
          <p:nvPr userDrawn="1"/>
        </p:nvSpPr>
        <p:spPr>
          <a:xfrm>
            <a:off x="4884819" y="6457346"/>
            <a:ext cx="2284810" cy="193899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n-IN" sz="1199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65135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7" r:id="rId1"/>
    <p:sldLayoutId id="2147484448" r:id="rId2"/>
    <p:sldLayoutId id="2147484451" r:id="rId3"/>
  </p:sldLayoutIdLst>
  <p:hf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2791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5" r:id="rId1"/>
    <p:sldLayoutId id="2147484456" r:id="rId2"/>
    <p:sldLayoutId id="2147484457" r:id="rId3"/>
    <p:sldLayoutId id="2147484458" r:id="rId4"/>
    <p:sldLayoutId id="2147484459" r:id="rId5"/>
    <p:sldLayoutId id="2147484460" r:id="rId6"/>
    <p:sldLayoutId id="2147484461" r:id="rId7"/>
    <p:sldLayoutId id="2147484462" r:id="rId8"/>
    <p:sldLayoutId id="2147484463" r:id="rId9"/>
    <p:sldLayoutId id="2147484464" r:id="rId10"/>
    <p:sldLayoutId id="2147484465" r:id="rId11"/>
    <p:sldLayoutId id="2147484466" r:id="rId12"/>
    <p:sldLayoutId id="2147484467" r:id="rId13"/>
    <p:sldLayoutId id="2147484468" r:id="rId14"/>
    <p:sldLayoutId id="2147484469" r:id="rId15"/>
    <p:sldLayoutId id="2147484470" r:id="rId16"/>
    <p:sldLayoutId id="2147484471" r:id="rId17"/>
    <p:sldLayoutId id="2147484472" r:id="rId18"/>
    <p:sldLayoutId id="2147484473" r:id="rId19"/>
    <p:sldLayoutId id="2147484474" r:id="rId20"/>
    <p:sldLayoutId id="2147484475" r:id="rId21"/>
    <p:sldLayoutId id="2147484476" r:id="rId22"/>
    <p:sldLayoutId id="2147484477" r:id="rId23"/>
    <p:sldLayoutId id="2147484478" r:id="rId24"/>
    <p:sldLayoutId id="2147484479" r:id="rId25"/>
    <p:sldLayoutId id="2147484480" r:id="rId26"/>
    <p:sldLayoutId id="2147484481" r:id="rId27"/>
    <p:sldLayoutId id="2147484482" r:id="rId28"/>
    <p:sldLayoutId id="2147484483" r:id="rId29"/>
    <p:sldLayoutId id="2147484484" r:id="rId30"/>
    <p:sldLayoutId id="2147484485" r:id="rId31"/>
    <p:sldLayoutId id="2147484486" r:id="rId32"/>
    <p:sldLayoutId id="2147484487" r:id="rId33"/>
    <p:sldLayoutId id="2147484488" r:id="rId34"/>
    <p:sldLayoutId id="2147484489" r:id="rId35"/>
    <p:sldLayoutId id="2147484490" r:id="rId36"/>
    <p:sldLayoutId id="2147484491" r:id="rId37"/>
    <p:sldLayoutId id="2147484492" r:id="rId38"/>
    <p:sldLayoutId id="2147484493" r:id="rId39"/>
    <p:sldLayoutId id="2147484494" r:id="rId40"/>
    <p:sldLayoutId id="2147484495" r:id="rId41"/>
    <p:sldLayoutId id="2147484496" r:id="rId42"/>
    <p:sldLayoutId id="2147484497" r:id="rId43"/>
    <p:sldLayoutId id="2147484498" r:id="rId44"/>
    <p:sldLayoutId id="2147484499" r:id="rId45"/>
    <p:sldLayoutId id="2147484500" r:id="rId46"/>
    <p:sldLayoutId id="2147484501" r:id="rId47"/>
    <p:sldLayoutId id="2147484502" r:id="rId48"/>
    <p:sldLayoutId id="2147484503" r:id="rId49"/>
    <p:sldLayoutId id="2147484504" r:id="rId50"/>
    <p:sldLayoutId id="2147484505" r:id="rId51"/>
    <p:sldLayoutId id="2147484506" r:id="rId52"/>
    <p:sldLayoutId id="2147484507" r:id="rId53"/>
  </p:sldLayoutIdLst>
  <p:hf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B157DA-0123-0857-BC0F-FC17F4929EEF}"/>
              </a:ext>
            </a:extLst>
          </p:cNvPr>
          <p:cNvPicPr preferRelativeResize="0">
            <a:picLocks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952" y="6327648"/>
            <a:ext cx="410400" cy="41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53BA2A-1E99-0EF3-4B3F-A066564CC3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864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  <p:sldLayoutId id="2147484517" r:id="rId9"/>
    <p:sldLayoutId id="2147484518" r:id="rId10"/>
    <p:sldLayoutId id="2147484519" r:id="rId11"/>
    <p:sldLayoutId id="2147484520" r:id="rId12"/>
    <p:sldLayoutId id="2147484521" r:id="rId13"/>
    <p:sldLayoutId id="2147484522" r:id="rId14"/>
    <p:sldLayoutId id="2147484523" r:id="rId15"/>
    <p:sldLayoutId id="2147484524" r:id="rId16"/>
    <p:sldLayoutId id="2147484525" r:id="rId17"/>
    <p:sldLayoutId id="2147484526" r:id="rId18"/>
    <p:sldLayoutId id="2147484527" r:id="rId19"/>
    <p:sldLayoutId id="2147484528" r:id="rId20"/>
    <p:sldLayoutId id="2147484529" r:id="rId21"/>
    <p:sldLayoutId id="2147484530" r:id="rId22"/>
    <p:sldLayoutId id="2147484531" r:id="rId23"/>
    <p:sldLayoutId id="2147484532" r:id="rId24"/>
    <p:sldLayoutId id="2147484533" r:id="rId25"/>
    <p:sldLayoutId id="2147484534" r:id="rId26"/>
    <p:sldLayoutId id="2147484535" r:id="rId27"/>
    <p:sldLayoutId id="2147484536" r:id="rId28"/>
    <p:sldLayoutId id="2147484537" r:id="rId29"/>
    <p:sldLayoutId id="2147484538" r:id="rId30"/>
    <p:sldLayoutId id="2147484539" r:id="rId31"/>
    <p:sldLayoutId id="2147484540" r:id="rId32"/>
    <p:sldLayoutId id="2147484541" r:id="rId33"/>
    <p:sldLayoutId id="2147484542" r:id="rId34"/>
    <p:sldLayoutId id="2147484543" r:id="rId35"/>
    <p:sldLayoutId id="2147484544" r:id="rId36"/>
    <p:sldLayoutId id="2147484545" r:id="rId37"/>
    <p:sldLayoutId id="2147484546" r:id="rId38"/>
    <p:sldLayoutId id="2147484547" r:id="rId39"/>
    <p:sldLayoutId id="2147484548" r:id="rId40"/>
    <p:sldLayoutId id="2147484549" r:id="rId41"/>
    <p:sldLayoutId id="2147484550" r:id="rId42"/>
    <p:sldLayoutId id="2147484551" r:id="rId43"/>
    <p:sldLayoutId id="2147484552" r:id="rId44"/>
    <p:sldLayoutId id="2147484553" r:id="rId45"/>
    <p:sldLayoutId id="2147484554" r:id="rId46"/>
    <p:sldLayoutId id="2147484555" r:id="rId47"/>
    <p:sldLayoutId id="2147484556" r:id="rId48"/>
    <p:sldLayoutId id="2147484557" r:id="rId49"/>
    <p:sldLayoutId id="2147484558" r:id="rId50"/>
    <p:sldLayoutId id="2147484559" r:id="rId51"/>
    <p:sldLayoutId id="2147484560" r:id="rId52"/>
  </p:sldLayoutIdLst>
  <p:hf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040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564036369"/>
              </p:ext>
            </p:extLst>
          </p:nvPr>
        </p:nvGraphicFramePr>
        <p:xfrm>
          <a:off x="1590" y="159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90" y="1595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01600"/>
            <a:ext cx="10972800" cy="860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425600"/>
            <a:ext cx="10972800" cy="4700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pic>
        <p:nvPicPr>
          <p:cNvPr id="20" name="Picture 2" descr="https://tpc.googlesyndication.com/pagead/imgad?id=CICAgKDrvYb37QEQARgBMgjh18LWBAKV8Q"/>
          <p:cNvPicPr>
            <a:picLocks noChangeAspect="1" noChangeArrowheads="1"/>
          </p:cNvPicPr>
          <p:nvPr userDrawn="1"/>
        </p:nvPicPr>
        <p:blipFill rotWithShape="1"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6728"/>
            <a:ext cx="12192001" cy="6874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 userDrawn="1"/>
        </p:nvSpPr>
        <p:spPr>
          <a:xfrm>
            <a:off x="-3920" y="0"/>
            <a:ext cx="12195920" cy="6881091"/>
          </a:xfrm>
          <a:prstGeom prst="rect">
            <a:avLst/>
          </a:prstGeom>
          <a:solidFill>
            <a:srgbClr val="000000">
              <a:alpha val="5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05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3920" y="6824860"/>
            <a:ext cx="12195920" cy="100372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9525" cap="flat" cmpd="sng" algn="ctr">
            <a:solidFill>
              <a:schemeClr val="accent2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05">
              <a:solidFill>
                <a:schemeClr val="tx1"/>
              </a:solidFill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15DA744D-0EFA-40C8-88D3-6308AEB41457}"/>
              </a:ext>
            </a:extLst>
          </p:cNvPr>
          <p:cNvSpPr txBox="1">
            <a:spLocks/>
          </p:cNvSpPr>
          <p:nvPr userDrawn="1"/>
        </p:nvSpPr>
        <p:spPr>
          <a:xfrm>
            <a:off x="505888" y="6471244"/>
            <a:ext cx="662720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18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37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Page </a:t>
            </a:r>
            <a:fld id="{D5B76411-544C-4F9A-8EDE-9EEB2BD21F95}" type="slidenum">
              <a:rPr kumimoji="0" lang="en-IN" sz="737" b="0" i="0" u="none" strike="noStrike" kern="1200" cap="none" spc="0" normalizeH="0" baseline="0" noProof="0" smtClean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pPr marL="0" marR="0" lvl="0" indent="0" algn="l" defTabSz="8418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737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0000"/>
                  <a:lumOff val="8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78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4" r:id="rId1"/>
    <p:sldLayoutId id="2147484565" r:id="rId2"/>
    <p:sldLayoutId id="2147484566" r:id="rId3"/>
    <p:sldLayoutId id="2147484567" r:id="rId4"/>
    <p:sldLayoutId id="2147484568" r:id="rId5"/>
    <p:sldLayoutId id="2147484569" r:id="rId6"/>
    <p:sldLayoutId id="2147484570" r:id="rId7"/>
    <p:sldLayoutId id="2147484571" r:id="rId8"/>
    <p:sldLayoutId id="2147484572" r:id="rId9"/>
    <p:sldLayoutId id="2147484573" r:id="rId10"/>
    <p:sldLayoutId id="2147484574" r:id="rId11"/>
    <p:sldLayoutId id="2147484575" r:id="rId12"/>
    <p:sldLayoutId id="2147484576" r:id="rId13"/>
    <p:sldLayoutId id="2147484577" r:id="rId14"/>
    <p:sldLayoutId id="2147484578" r:id="rId15"/>
    <p:sldLayoutId id="2147484579" r:id="rId16"/>
    <p:sldLayoutId id="2147484580" r:id="rId17"/>
    <p:sldLayoutId id="2147484581" r:id="rId18"/>
    <p:sldLayoutId id="2147484582" r:id="rId19"/>
    <p:sldLayoutId id="2147484583" r:id="rId20"/>
    <p:sldLayoutId id="2147484584" r:id="rId21"/>
    <p:sldLayoutId id="2147484585" r:id="rId22"/>
    <p:sldLayoutId id="2147484586" r:id="rId23"/>
    <p:sldLayoutId id="2147484587" r:id="rId24"/>
    <p:sldLayoutId id="2147484588" r:id="rId25"/>
    <p:sldLayoutId id="2147484589" r:id="rId26"/>
    <p:sldLayoutId id="2147484590" r:id="rId27"/>
    <p:sldLayoutId id="2147484591" r:id="rId28"/>
    <p:sldLayoutId id="2147484592" r:id="rId29"/>
    <p:sldLayoutId id="2147484593" r:id="rId30"/>
    <p:sldLayoutId id="2147484594" r:id="rId31"/>
    <p:sldLayoutId id="2147484597" r:id="rId32"/>
    <p:sldLayoutId id="2147484598" r:id="rId33"/>
    <p:sldLayoutId id="2147484600" r:id="rId34"/>
    <p:sldLayoutId id="2147484605" r:id="rId35"/>
    <p:sldLayoutId id="2147484607" r:id="rId36"/>
  </p:sldLayoutIdLst>
  <mc:AlternateContent xmlns:mc="http://schemas.openxmlformats.org/markup-compatibility/2006" xmlns:p14="http://schemas.microsoft.com/office/powerpoint/2010/main">
    <mc:Choice Requires="p14">
      <p:transition p14:dur="80">
        <p:wipe/>
      </p:transition>
    </mc:Choice>
    <mc:Fallback xmlns="">
      <p:transition>
        <p:wipe/>
      </p:transition>
    </mc:Fallback>
  </mc:AlternateContent>
  <p:hf sldNum="0" hdr="0" ftr="0" dt="0"/>
  <p:txStyles>
    <p:titleStyle>
      <a:lvl1pPr algn="l" defTabSz="820876" rtl="0" eaLnBrk="1" latinLnBrk="0" hangingPunct="1">
        <a:lnSpc>
          <a:spcPct val="85000"/>
        </a:lnSpc>
        <a:spcBef>
          <a:spcPct val="0"/>
        </a:spcBef>
        <a:buNone/>
        <a:defRPr sz="2155" b="0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320142" indent="-320142" algn="l" defTabSz="82087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16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640283" indent="-320142" algn="l" defTabSz="82087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436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960425" indent="-320142" algn="l" defTabSz="82087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5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280567" indent="-320142" algn="l" defTabSz="82087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07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600708" indent="-320142" algn="l" defTabSz="82087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07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257409" indent="-205219" algn="l" defTabSz="820876" rtl="0" eaLnBrk="1" latinLnBrk="0" hangingPunct="1">
        <a:spcBef>
          <a:spcPct val="20000"/>
        </a:spcBef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667847" indent="-205219" algn="l" defTabSz="820876" rtl="0" eaLnBrk="1" latinLnBrk="0" hangingPunct="1">
        <a:spcBef>
          <a:spcPct val="20000"/>
        </a:spcBef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078286" indent="-205219" algn="l" defTabSz="820876" rtl="0" eaLnBrk="1" latinLnBrk="0" hangingPunct="1">
        <a:spcBef>
          <a:spcPct val="20000"/>
        </a:spcBef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488724" indent="-205219" algn="l" defTabSz="820876" rtl="0" eaLnBrk="1" latinLnBrk="0" hangingPunct="1">
        <a:spcBef>
          <a:spcPct val="20000"/>
        </a:spcBef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0876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1pPr>
      <a:lvl2pPr marL="410438" algn="l" defTabSz="820876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2pPr>
      <a:lvl3pPr marL="820876" algn="l" defTabSz="820876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3pPr>
      <a:lvl4pPr marL="1231314" algn="l" defTabSz="820876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4pPr>
      <a:lvl5pPr marL="1641753" algn="l" defTabSz="820876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5pPr>
      <a:lvl6pPr marL="2052190" algn="l" defTabSz="820876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462627" algn="l" defTabSz="820876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873066" algn="l" defTabSz="820876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283504" algn="l" defTabSz="820876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25F8BD1E-FEC4-EF51-BB3E-EDB279FD7AB0}"/>
              </a:ext>
            </a:extLst>
          </p:cNvPr>
          <p:cNvSpPr txBox="1">
            <a:spLocks/>
          </p:cNvSpPr>
          <p:nvPr userDrawn="1"/>
        </p:nvSpPr>
        <p:spPr>
          <a:xfrm>
            <a:off x="115241" y="6449786"/>
            <a:ext cx="284332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800" b="0" i="0" u="none" strike="noStrike" kern="0" cap="none" spc="0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</a:rPr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" panose="02000503020000020004" pitchFamily="2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A6814DE-A0D8-4B79-B3F2-D24575EA0BB6}"/>
              </a:ext>
            </a:extLst>
          </p:cNvPr>
          <p:cNvCxnSpPr>
            <a:cxnSpLocks/>
          </p:cNvCxnSpPr>
          <p:nvPr userDrawn="1"/>
        </p:nvCxnSpPr>
        <p:spPr>
          <a:xfrm>
            <a:off x="314796" y="895208"/>
            <a:ext cx="0" cy="5962792"/>
          </a:xfrm>
          <a:prstGeom prst="line">
            <a:avLst/>
          </a:prstGeom>
          <a:ln w="9525" cap="rnd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Diagonal Corners Snipped 5">
            <a:extLst>
              <a:ext uri="{FF2B5EF4-FFF2-40B4-BE49-F238E27FC236}">
                <a16:creationId xmlns:a16="http://schemas.microsoft.com/office/drawing/2014/main" id="{4C09187C-B467-0C95-D939-320DF24225E0}"/>
              </a:ext>
            </a:extLst>
          </p:cNvPr>
          <p:cNvSpPr/>
          <p:nvPr userDrawn="1"/>
        </p:nvSpPr>
        <p:spPr>
          <a:xfrm>
            <a:off x="167395" y="5919724"/>
            <a:ext cx="294487" cy="731520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tx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C085412F-B95A-F3F3-060A-94F46E43AEB7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33336" y="6140649"/>
            <a:ext cx="520383" cy="179906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GB" sz="800"/>
              <a:t>Page </a:t>
            </a:r>
            <a:fld id="{D5B76411-544C-4F9A-8EDE-9EEB2BD21F95}" type="slidenum">
              <a:rPr lang="en-IN" sz="800" smtClean="0"/>
              <a:pPr lvl="0" algn="ctr"/>
              <a:t>‹#›</a:t>
            </a:fld>
            <a:endParaRPr sz="8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B91DFEE-53CA-EC6D-CB73-0475820722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45532" y="514796"/>
            <a:ext cx="153785" cy="153865"/>
          </a:xfrm>
          <a:prstGeom prst="rect">
            <a:avLst/>
          </a:prstGeom>
        </p:spPr>
      </p:pic>
      <p:pic>
        <p:nvPicPr>
          <p:cNvPr id="8" name="Graphic 4">
            <a:hlinkClick r:id="rId8" action="ppaction://hlinksldjump"/>
            <a:extLst>
              <a:ext uri="{FF2B5EF4-FFF2-40B4-BE49-F238E27FC236}">
                <a16:creationId xmlns:a16="http://schemas.microsoft.com/office/drawing/2014/main" id="{69884B5B-83DD-7201-61E7-78115B835EF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11340" y="500664"/>
            <a:ext cx="194585" cy="182126"/>
          </a:xfrm>
          <a:prstGeom prst="rect">
            <a:avLst/>
          </a:prstGeom>
        </p:spPr>
      </p:pic>
      <p:pic>
        <p:nvPicPr>
          <p:cNvPr id="10" name="Graphic 5">
            <a:extLst>
              <a:ext uri="{FF2B5EF4-FFF2-40B4-BE49-F238E27FC236}">
                <a16:creationId xmlns:a16="http://schemas.microsoft.com/office/drawing/2014/main" id="{02BCEF29-AA27-247B-17A9-99BEAE741A43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17949" y="514796"/>
            <a:ext cx="153785" cy="153865"/>
          </a:xfrm>
          <a:prstGeom prst="rect">
            <a:avLst/>
          </a:prstGeom>
        </p:spPr>
      </p:pic>
      <p:sp>
        <p:nvSpPr>
          <p:cNvPr id="13" name="Action Button: Forward or Next 6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2B41962C-11B1-954C-BF6D-074C6CC792FE}"/>
              </a:ext>
            </a:extLst>
          </p:cNvPr>
          <p:cNvSpPr/>
          <p:nvPr userDrawn="1"/>
        </p:nvSpPr>
        <p:spPr>
          <a:xfrm>
            <a:off x="11217949" y="514796"/>
            <a:ext cx="153785" cy="153865"/>
          </a:xfrm>
          <a:prstGeom prst="actionButtonForwardNex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16" name="Action Button: Back or Previous 7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C74D4A98-BAB8-9E3A-35E8-0C641029EC0D}"/>
              </a:ext>
            </a:extLst>
          </p:cNvPr>
          <p:cNvSpPr/>
          <p:nvPr userDrawn="1"/>
        </p:nvSpPr>
        <p:spPr>
          <a:xfrm>
            <a:off x="10645532" y="514796"/>
            <a:ext cx="153785" cy="153865"/>
          </a:xfrm>
          <a:prstGeom prst="actionButtonBackPrevious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12AEC9B-E150-3751-EDF1-39D5A30B4EB8}"/>
              </a:ext>
            </a:extLst>
          </p:cNvPr>
          <p:cNvCxnSpPr>
            <a:cxnSpLocks/>
          </p:cNvCxnSpPr>
          <p:nvPr userDrawn="1"/>
        </p:nvCxnSpPr>
        <p:spPr>
          <a:xfrm>
            <a:off x="0" y="294200"/>
            <a:ext cx="3858790" cy="0"/>
          </a:xfrm>
          <a:prstGeom prst="line">
            <a:avLst/>
          </a:prstGeom>
          <a:ln w="44450">
            <a:gradFill flip="none" rotWithShape="1">
              <a:gsLst>
                <a:gs pos="0">
                  <a:srgbClr val="FFE600"/>
                </a:gs>
                <a:gs pos="35000">
                  <a:srgbClr val="FFA14D"/>
                </a:gs>
                <a:gs pos="58000">
                  <a:srgbClr val="FF22DB"/>
                </a:gs>
                <a:gs pos="15400">
                  <a:srgbClr val="FFE600"/>
                </a:gs>
                <a:gs pos="97902">
                  <a:srgbClr val="32FFFF"/>
                </a:gs>
                <a:gs pos="81000">
                  <a:srgbClr val="70B2FE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1015ED7-BCC5-6761-0801-1993F221529B}"/>
              </a:ext>
            </a:extLst>
          </p:cNvPr>
          <p:cNvCxnSpPr>
            <a:cxnSpLocks/>
          </p:cNvCxnSpPr>
          <p:nvPr userDrawn="1"/>
        </p:nvCxnSpPr>
        <p:spPr>
          <a:xfrm>
            <a:off x="314796" y="895240"/>
            <a:ext cx="11286961" cy="0"/>
          </a:xfrm>
          <a:prstGeom prst="line">
            <a:avLst/>
          </a:prstGeom>
          <a:ln w="9525">
            <a:gradFill flip="none" rotWithShape="1">
              <a:gsLst>
                <a:gs pos="0">
                  <a:srgbClr val="FFE600"/>
                </a:gs>
                <a:gs pos="35000">
                  <a:srgbClr val="FFA14D"/>
                </a:gs>
                <a:gs pos="58000">
                  <a:srgbClr val="FF22DB"/>
                </a:gs>
                <a:gs pos="15400">
                  <a:srgbClr val="FFE600"/>
                </a:gs>
                <a:gs pos="97902">
                  <a:srgbClr val="32FFFF"/>
                </a:gs>
                <a:gs pos="81000">
                  <a:srgbClr val="70B2FE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7892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0" r:id="rId1"/>
    <p:sldLayoutId id="2147484611" r:id="rId2"/>
    <p:sldLayoutId id="2147484612" r:id="rId3"/>
    <p:sldLayoutId id="2147484613" r:id="rId4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7312">
          <p15:clr>
            <a:srgbClr val="F26B43"/>
          </p15:clr>
        </p15:guide>
        <p15:guide id="4" pos="372">
          <p15:clr>
            <a:srgbClr val="F26B43"/>
          </p15:clr>
        </p15:guide>
        <p15:guide id="5" orient="horz" pos="3838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70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9B276-D7F0-47C9-8941-C13F3F593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48268982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9B276-D7F0-47C9-8941-C13F3F593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8" name="Date Placeholder 1">
            <a:extLst>
              <a:ext uri="{FF2B5EF4-FFF2-40B4-BE49-F238E27FC236}">
                <a16:creationId xmlns:a16="http://schemas.microsoft.com/office/drawing/2014/main" id="{45CFA693-E91B-43CC-B5B8-0AF459F62896}"/>
              </a:ext>
            </a:extLst>
          </p:cNvPr>
          <p:cNvSpPr txBox="1">
            <a:spLocks/>
          </p:cNvSpPr>
          <p:nvPr userDrawn="1"/>
        </p:nvSpPr>
        <p:spPr>
          <a:xfrm>
            <a:off x="1629671" y="6530236"/>
            <a:ext cx="119063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z="800" smtClean="0"/>
              <a:t>2 July 2025</a:t>
            </a:fld>
            <a:endParaRPr lang="en-IN" sz="800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FA0C3EA0-3C85-4236-8D60-88634AF47AD8}"/>
              </a:ext>
            </a:extLst>
          </p:cNvPr>
          <p:cNvSpPr txBox="1">
            <a:spLocks/>
          </p:cNvSpPr>
          <p:nvPr userDrawn="1"/>
        </p:nvSpPr>
        <p:spPr>
          <a:xfrm>
            <a:off x="609283" y="6530236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800"/>
              <a:t>Page </a:t>
            </a:r>
            <a:fld id="{D5B76411-544C-4F9A-8EDE-9EEB2BD21F95}" type="slidenum">
              <a:rPr lang="en-IN" sz="800" smtClean="0"/>
              <a:t>‹#›</a:t>
            </a:fld>
            <a:endParaRPr sz="800"/>
          </a:p>
        </p:txBody>
      </p:sp>
    </p:spTree>
    <p:extLst>
      <p:ext uri="{BB962C8B-B14F-4D97-AF65-F5344CB8AC3E}">
        <p14:creationId xmlns:p14="http://schemas.microsoft.com/office/powerpoint/2010/main" val="1720205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5" r:id="rId1"/>
    <p:sldLayoutId id="2147484616" r:id="rId2"/>
    <p:sldLayoutId id="2147484617" r:id="rId3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384">
          <p15:clr>
            <a:srgbClr val="F26B43"/>
          </p15:clr>
        </p15:guide>
        <p15:guide id="4" pos="7302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12.xml"/><Relationship Id="rId1" Type="http://schemas.openxmlformats.org/officeDocument/2006/relationships/tags" Target="../tags/tag7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5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6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6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6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70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F836E4-6D19-321E-EAEF-1AD54ABACB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>
            <a:extLst>
              <a:ext uri="{FF2B5EF4-FFF2-40B4-BE49-F238E27FC236}">
                <a16:creationId xmlns:a16="http://schemas.microsoft.com/office/drawing/2014/main" id="{8AC0C3D1-47EF-89EB-7CDD-9FA1A7E2C2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537" y="5208638"/>
            <a:ext cx="11326805" cy="1200318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348BCB7D-5627-6615-1B0F-CF1D357BE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535" y="449044"/>
            <a:ext cx="11326806" cy="1200318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9F9B69EA-3F6A-A58F-DEB5-20136E45FEDE}"/>
              </a:ext>
            </a:extLst>
          </p:cNvPr>
          <p:cNvSpPr txBox="1"/>
          <p:nvPr/>
        </p:nvSpPr>
        <p:spPr>
          <a:xfrm>
            <a:off x="2961972" y="2369574"/>
            <a:ext cx="6268056" cy="16689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6000" b="1" dirty="0">
                <a:solidFill>
                  <a:schemeClr val="bg1"/>
                </a:solidFill>
              </a:rPr>
              <a:t>Churn Predictive Analysis</a:t>
            </a:r>
          </a:p>
        </p:txBody>
      </p:sp>
    </p:spTree>
    <p:extLst>
      <p:ext uri="{BB962C8B-B14F-4D97-AF65-F5344CB8AC3E}">
        <p14:creationId xmlns:p14="http://schemas.microsoft.com/office/powerpoint/2010/main" val="137877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1250"/>
    </mc:Choice>
    <mc:Fallback xmlns="">
      <p:transition spd="slow" advTm="16125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03F4E5-F4A7-1547-A1E0-26E32AB00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6FD7D31-F57E-91E7-2260-61EC7CB97C2C}"/>
              </a:ext>
            </a:extLst>
          </p:cNvPr>
          <p:cNvSpPr txBox="1"/>
          <p:nvPr/>
        </p:nvSpPr>
        <p:spPr>
          <a:xfrm>
            <a:off x="3737811" y="248470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End-to-End Project Workflow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4EC4D020-99E8-04AF-8B91-3A512768AA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2475903"/>
              </p:ext>
            </p:extLst>
          </p:nvPr>
        </p:nvGraphicFramePr>
        <p:xfrm>
          <a:off x="417096" y="1986115"/>
          <a:ext cx="10722852" cy="41522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34927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9C5355-B79E-B331-2DFE-07B30B6EEA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F8AB139-AFED-6CD1-146C-5C36B4F45E1F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1DEA26E-E5B1-2EA2-88B7-1C482398194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F039AB0-EC7C-EAD7-A6C5-FCBF72BB6792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5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C8B6F5-231B-4EC8-4C55-C8A35B9FA44E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B6FB3E-2114-C32C-7919-58EF28BD35C3}"/>
              </a:ext>
            </a:extLst>
          </p:cNvPr>
          <p:cNvSpPr/>
          <p:nvPr/>
        </p:nvSpPr>
        <p:spPr>
          <a:xfrm>
            <a:off x="1801421" y="4828494"/>
            <a:ext cx="100313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Foundation of Accurate Predictions – Data Cleaning</a:t>
            </a:r>
          </a:p>
        </p:txBody>
      </p:sp>
    </p:spTree>
    <p:extLst>
      <p:ext uri="{BB962C8B-B14F-4D97-AF65-F5344CB8AC3E}">
        <p14:creationId xmlns:p14="http://schemas.microsoft.com/office/powerpoint/2010/main" val="29970594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2E3E6-79EA-BD62-2DF9-93D151660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6D71B63-8994-4E5C-2585-15489DE24C9B}"/>
              </a:ext>
            </a:extLst>
          </p:cNvPr>
          <p:cNvSpPr txBox="1"/>
          <p:nvPr/>
        </p:nvSpPr>
        <p:spPr>
          <a:xfrm>
            <a:off x="3753853" y="264513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Why Data Cleaning is Crucial ?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78E6F1-575E-52BE-FCBE-CFEF9900683F}"/>
              </a:ext>
            </a:extLst>
          </p:cNvPr>
          <p:cNvSpPr txBox="1"/>
          <p:nvPr/>
        </p:nvSpPr>
        <p:spPr>
          <a:xfrm>
            <a:off x="465221" y="1579952"/>
            <a:ext cx="11261558" cy="527804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Data cleaning is the most </a:t>
            </a:r>
            <a:r>
              <a:rPr lang="en-US" sz="2400" b="1" dirty="0">
                <a:solidFill>
                  <a:schemeClr val="bg1"/>
                </a:solidFill>
              </a:rPr>
              <a:t>critical phase</a:t>
            </a:r>
            <a:r>
              <a:rPr lang="en-US" sz="2400" dirty="0">
                <a:solidFill>
                  <a:schemeClr val="bg1"/>
                </a:solidFill>
              </a:rPr>
              <a:t> in any machine learning project. It ensures the data is </a:t>
            </a:r>
            <a:r>
              <a:rPr lang="en-US" sz="2400" b="1" dirty="0">
                <a:solidFill>
                  <a:schemeClr val="bg1"/>
                </a:solidFill>
              </a:rPr>
              <a:t>complete</a:t>
            </a:r>
            <a:r>
              <a:rPr lang="en-US" sz="2400" dirty="0">
                <a:solidFill>
                  <a:schemeClr val="bg1"/>
                </a:solidFill>
              </a:rPr>
              <a:t>, </a:t>
            </a:r>
            <a:r>
              <a:rPr lang="en-US" sz="2400" b="1" dirty="0">
                <a:solidFill>
                  <a:schemeClr val="bg1"/>
                </a:solidFill>
              </a:rPr>
              <a:t>reliable</a:t>
            </a:r>
            <a:r>
              <a:rPr lang="en-US" sz="2400" dirty="0">
                <a:solidFill>
                  <a:schemeClr val="bg1"/>
                </a:solidFill>
              </a:rPr>
              <a:t>, and </a:t>
            </a:r>
            <a:r>
              <a:rPr lang="en-US" sz="2400" b="1" dirty="0">
                <a:solidFill>
                  <a:schemeClr val="bg1"/>
                </a:solidFill>
              </a:rPr>
              <a:t>ready for modeling</a:t>
            </a:r>
            <a:r>
              <a:rPr lang="en-US" sz="2400" dirty="0">
                <a:solidFill>
                  <a:schemeClr val="bg1"/>
                </a:solidFill>
              </a:rPr>
              <a:t>.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r>
              <a:rPr lang="en-US" sz="2800" b="1" u="sng" dirty="0">
                <a:solidFill>
                  <a:schemeClr val="bg1"/>
                </a:solidFill>
              </a:rPr>
              <a:t>Why it matters:</a:t>
            </a:r>
          </a:p>
          <a:p>
            <a:endParaRPr lang="en-US" sz="2800" u="sng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Raw data often contains </a:t>
            </a:r>
            <a:r>
              <a:rPr lang="en-US" sz="2400" b="1" dirty="0">
                <a:solidFill>
                  <a:schemeClr val="bg1"/>
                </a:solidFill>
              </a:rPr>
              <a:t>nulls, inconsistencies, and irrelevant values</a:t>
            </a:r>
            <a:r>
              <a:rPr lang="en-US" sz="2400" dirty="0">
                <a:solidFill>
                  <a:schemeClr val="bg1"/>
                </a:solidFill>
              </a:rPr>
              <a:t>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Poor quality data can lead to </a:t>
            </a:r>
            <a:r>
              <a:rPr lang="en-US" sz="2400" b="1" dirty="0">
                <a:solidFill>
                  <a:schemeClr val="bg1"/>
                </a:solidFill>
              </a:rPr>
              <a:t>wrong predictions</a:t>
            </a:r>
            <a:r>
              <a:rPr lang="en-US" sz="2400" dirty="0">
                <a:solidFill>
                  <a:schemeClr val="bg1"/>
                </a:solidFill>
              </a:rPr>
              <a:t>, low accuracy, and </a:t>
            </a:r>
            <a:r>
              <a:rPr lang="en-US" sz="2400" b="1" dirty="0">
                <a:solidFill>
                  <a:schemeClr val="bg1"/>
                </a:solidFill>
              </a:rPr>
              <a:t>misleading business decisions</a:t>
            </a:r>
            <a:r>
              <a:rPr lang="en-US" sz="2400" dirty="0">
                <a:solidFill>
                  <a:schemeClr val="bg1"/>
                </a:solidFill>
              </a:rPr>
              <a:t>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Cleaned data improves model </a:t>
            </a:r>
            <a:r>
              <a:rPr lang="en-US" sz="2400" b="1" dirty="0">
                <a:solidFill>
                  <a:schemeClr val="bg1"/>
                </a:solidFill>
              </a:rPr>
              <a:t>performance</a:t>
            </a:r>
            <a:r>
              <a:rPr lang="en-US" sz="2400" dirty="0">
                <a:solidFill>
                  <a:schemeClr val="bg1"/>
                </a:solidFill>
              </a:rPr>
              <a:t>, </a:t>
            </a:r>
            <a:r>
              <a:rPr lang="en-US" sz="2400" b="1" dirty="0">
                <a:solidFill>
                  <a:schemeClr val="bg1"/>
                </a:solidFill>
              </a:rPr>
              <a:t>interpretability</a:t>
            </a:r>
            <a:r>
              <a:rPr lang="en-US" sz="2400" dirty="0">
                <a:solidFill>
                  <a:schemeClr val="bg1"/>
                </a:solidFill>
              </a:rPr>
              <a:t>, and </a:t>
            </a:r>
            <a:r>
              <a:rPr lang="en-US" sz="2400" b="1" dirty="0">
                <a:solidFill>
                  <a:schemeClr val="bg1"/>
                </a:solidFill>
              </a:rPr>
              <a:t>stability</a:t>
            </a:r>
            <a:r>
              <a:rPr lang="en-US" sz="2400" dirty="0">
                <a:solidFill>
                  <a:schemeClr val="bg1"/>
                </a:solidFill>
              </a:rPr>
              <a:t>.</a:t>
            </a:r>
          </a:p>
          <a:p>
            <a:r>
              <a:rPr lang="en-US" sz="2400" dirty="0">
                <a:solidFill>
                  <a:schemeClr val="bg1"/>
                </a:solidFill>
              </a:rPr>
              <a:t>In this project, we implemented multiple cleaning techniques, each with a specific purpose, ensuring only high-quality data was fed to the model.</a:t>
            </a:r>
          </a:p>
          <a:p>
            <a:pPr marL="356616" indent="-356616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endParaRPr lang="en-US" sz="2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7185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B187C5-7D48-98BA-30B0-42FA51F8AB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8525DF8-C7DF-272C-BA5C-C84C5F159727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F34CF22-1E60-48EF-1F6D-2774909FA6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AF0990B-C6D4-A387-4565-D6B7EFA77298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6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062BF4C-E61C-9E77-5AE8-F36C5121F80C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C273BA0-2D88-F7B1-5F37-77C43C954756}"/>
              </a:ext>
            </a:extLst>
          </p:cNvPr>
          <p:cNvSpPr/>
          <p:nvPr/>
        </p:nvSpPr>
        <p:spPr>
          <a:xfrm>
            <a:off x="1801421" y="4828494"/>
            <a:ext cx="100313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Step 1 – Removing Non-Informative Features</a:t>
            </a:r>
          </a:p>
        </p:txBody>
      </p:sp>
    </p:spTree>
    <p:extLst>
      <p:ext uri="{BB962C8B-B14F-4D97-AF65-F5344CB8AC3E}">
        <p14:creationId xmlns:p14="http://schemas.microsoft.com/office/powerpoint/2010/main" val="29939165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213584-1B24-1762-E594-65B4E6C838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071F36B-14CC-2F21-36AE-DC32C252B903}"/>
              </a:ext>
            </a:extLst>
          </p:cNvPr>
          <p:cNvSpPr txBox="1"/>
          <p:nvPr/>
        </p:nvSpPr>
        <p:spPr>
          <a:xfrm>
            <a:off x="1973179" y="256673"/>
            <a:ext cx="824564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Cleaning Step – Dropping Blank &amp; Constant Columns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6B0698-9C14-8004-9C10-BA7ADF582E03}"/>
              </a:ext>
            </a:extLst>
          </p:cNvPr>
          <p:cNvSpPr txBox="1"/>
          <p:nvPr/>
        </p:nvSpPr>
        <p:spPr>
          <a:xfrm>
            <a:off x="497306" y="1275165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Code Snippet: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61AFAED-6C2C-6B11-7DFE-3C38E8D1AF01}"/>
              </a:ext>
            </a:extLst>
          </p:cNvPr>
          <p:cNvSpPr/>
          <p:nvPr/>
        </p:nvSpPr>
        <p:spPr>
          <a:xfrm>
            <a:off x="705853" y="1876926"/>
            <a:ext cx="9978189" cy="1203158"/>
          </a:xfrm>
          <a:prstGeom prst="round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0824E42-54F3-85EB-FDE3-A4B2757E0BF8}"/>
              </a:ext>
            </a:extLst>
          </p:cNvPr>
          <p:cNvSpPr txBox="1"/>
          <p:nvPr/>
        </p:nvSpPr>
        <p:spPr>
          <a:xfrm>
            <a:off x="705853" y="3724236"/>
            <a:ext cx="861461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Explanation:</a:t>
            </a:r>
            <a:endParaRPr lang="en-US" sz="24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Columns with </a:t>
            </a:r>
            <a:r>
              <a:rPr lang="en-US" sz="2400" b="1" dirty="0">
                <a:solidFill>
                  <a:schemeClr val="bg1"/>
                </a:solidFill>
              </a:rPr>
              <a:t>only </a:t>
            </a:r>
            <a:r>
              <a:rPr lang="en-US" sz="2400" b="1" dirty="0" err="1">
                <a:solidFill>
                  <a:schemeClr val="bg1"/>
                </a:solidFill>
              </a:rPr>
              <a:t>NaN</a:t>
            </a:r>
            <a:r>
              <a:rPr lang="en-US" sz="2400" b="1" dirty="0">
                <a:solidFill>
                  <a:schemeClr val="bg1"/>
                </a:solidFill>
              </a:rPr>
              <a:t> values</a:t>
            </a:r>
            <a:r>
              <a:rPr lang="en-US" sz="2400" dirty="0">
                <a:solidFill>
                  <a:schemeClr val="bg1"/>
                </a:solidFill>
              </a:rPr>
              <a:t> provide no value and waste memor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Columns where all values are the same (like “Status = Active”) offer no decision-making power.</a:t>
            </a:r>
          </a:p>
        </p:txBody>
      </p:sp>
    </p:spTree>
    <p:extLst>
      <p:ext uri="{BB962C8B-B14F-4D97-AF65-F5344CB8AC3E}">
        <p14:creationId xmlns:p14="http://schemas.microsoft.com/office/powerpoint/2010/main" val="30929113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297374-0E20-2934-CED8-7CC2C40BA2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000AD88-CB58-7EB5-7EB0-52E2D9874C82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CB7F49F-A024-D3B3-E295-9E7E12BB993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EE6AE25-7A7E-378E-D7D7-9C222F5A71D2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CBBAB2A-5BA6-652A-AC12-8D2A8FE5E9A2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83D137B-AFA8-CD1B-C478-D303945C188A}"/>
              </a:ext>
            </a:extLst>
          </p:cNvPr>
          <p:cNvSpPr/>
          <p:nvPr/>
        </p:nvSpPr>
        <p:spPr>
          <a:xfrm>
            <a:off x="1801421" y="4828494"/>
            <a:ext cx="100313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600" b="1" dirty="0">
                <a:solidFill>
                  <a:schemeClr val="bg2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Step 2 – Dropping Incomplete Rows</a:t>
            </a:r>
            <a:endParaRPr kumimoji="0" lang="en-IN" sz="3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8746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BF89AE-11FC-A6BA-526D-D17881D270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0B06A2C-0C97-D12A-A837-4D91E7B60E3E}"/>
              </a:ext>
            </a:extLst>
          </p:cNvPr>
          <p:cNvSpPr txBox="1"/>
          <p:nvPr/>
        </p:nvSpPr>
        <p:spPr>
          <a:xfrm>
            <a:off x="2069431" y="260502"/>
            <a:ext cx="805313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Cleaning Step – Removing Rows with Missing Values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63A5BC9-CCD9-9E6F-0291-5FDFE5314A3C}"/>
              </a:ext>
            </a:extLst>
          </p:cNvPr>
          <p:cNvSpPr/>
          <p:nvPr/>
        </p:nvSpPr>
        <p:spPr>
          <a:xfrm>
            <a:off x="705853" y="1876926"/>
            <a:ext cx="9978189" cy="1203158"/>
          </a:xfrm>
          <a:prstGeom prst="round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5C8A4E-283C-9407-87D4-68B55EA92030}"/>
              </a:ext>
            </a:extLst>
          </p:cNvPr>
          <p:cNvSpPr txBox="1"/>
          <p:nvPr/>
        </p:nvSpPr>
        <p:spPr>
          <a:xfrm>
            <a:off x="705853" y="3777917"/>
            <a:ext cx="707456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Explanation:</a:t>
            </a:r>
            <a:endParaRPr lang="en-US" sz="24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Rows with missing entries may lead to </a:t>
            </a:r>
            <a:r>
              <a:rPr lang="en-US" sz="2400" b="1" dirty="0">
                <a:solidFill>
                  <a:schemeClr val="bg1"/>
                </a:solidFill>
              </a:rPr>
              <a:t>errors during training</a:t>
            </a:r>
            <a:r>
              <a:rPr lang="en-US" sz="2400" dirty="0">
                <a:solidFill>
                  <a:schemeClr val="bg1"/>
                </a:solidFill>
              </a:rPr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If only a few rows are affected, it's better to </a:t>
            </a:r>
            <a:r>
              <a:rPr lang="en-US" sz="2400" b="1" dirty="0">
                <a:solidFill>
                  <a:schemeClr val="bg1"/>
                </a:solidFill>
              </a:rPr>
              <a:t>remove them</a:t>
            </a:r>
            <a:r>
              <a:rPr lang="en-US" sz="2400" dirty="0">
                <a:solidFill>
                  <a:schemeClr val="bg1"/>
                </a:solidFill>
              </a:rPr>
              <a:t> than gues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769C14-A937-60DF-F9AB-8115FDF5D5FF}"/>
              </a:ext>
            </a:extLst>
          </p:cNvPr>
          <p:cNvSpPr txBox="1"/>
          <p:nvPr/>
        </p:nvSpPr>
        <p:spPr>
          <a:xfrm>
            <a:off x="705853" y="1297177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Code Snippet:</a:t>
            </a:r>
          </a:p>
        </p:txBody>
      </p:sp>
    </p:spTree>
    <p:extLst>
      <p:ext uri="{BB962C8B-B14F-4D97-AF65-F5344CB8AC3E}">
        <p14:creationId xmlns:p14="http://schemas.microsoft.com/office/powerpoint/2010/main" val="22803091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FA4A33-BE76-98D7-4336-71B9274E2D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4D81F2D-9AC3-896A-F5ED-E2B54395D782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DC9430-2ABC-925E-D09E-1EEBF5E926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0B3DEB3-C6C5-29FC-C2AF-F33C6FC15056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8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3C6487-16C6-A788-443A-2E3B084319EF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7EC7F0-A331-98E7-23CD-E936790CE5A7}"/>
              </a:ext>
            </a:extLst>
          </p:cNvPr>
          <p:cNvSpPr/>
          <p:nvPr/>
        </p:nvSpPr>
        <p:spPr>
          <a:xfrm>
            <a:off x="1801421" y="4828494"/>
            <a:ext cx="100313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Step 3 – Converting Categorical Data</a:t>
            </a:r>
          </a:p>
        </p:txBody>
      </p:sp>
    </p:spTree>
    <p:extLst>
      <p:ext uri="{BB962C8B-B14F-4D97-AF65-F5344CB8AC3E}">
        <p14:creationId xmlns:p14="http://schemas.microsoft.com/office/powerpoint/2010/main" val="9697197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1DF9F1-525F-1DAF-819E-DB3F34F20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780A3C8-E503-9050-A777-DEB2D3671976}"/>
              </a:ext>
            </a:extLst>
          </p:cNvPr>
          <p:cNvSpPr txBox="1"/>
          <p:nvPr/>
        </p:nvSpPr>
        <p:spPr>
          <a:xfrm>
            <a:off x="3593431" y="296596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Cleaning Step – Label Encoding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0152AF-48B3-F35B-00DD-15F3E415ACE6}"/>
              </a:ext>
            </a:extLst>
          </p:cNvPr>
          <p:cNvSpPr txBox="1"/>
          <p:nvPr/>
        </p:nvSpPr>
        <p:spPr>
          <a:xfrm>
            <a:off x="545431" y="1307249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Code Snippet: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B20DE73-91F3-2031-BBE9-252F704AAF2E}"/>
              </a:ext>
            </a:extLst>
          </p:cNvPr>
          <p:cNvSpPr/>
          <p:nvPr/>
        </p:nvSpPr>
        <p:spPr>
          <a:xfrm>
            <a:off x="705853" y="1876926"/>
            <a:ext cx="10668000" cy="2005263"/>
          </a:xfrm>
          <a:prstGeom prst="round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A5675E-67B9-9583-297A-F2A6BEEABFC5}"/>
              </a:ext>
            </a:extLst>
          </p:cNvPr>
          <p:cNvSpPr txBox="1"/>
          <p:nvPr/>
        </p:nvSpPr>
        <p:spPr>
          <a:xfrm>
            <a:off x="705853" y="4356846"/>
            <a:ext cx="699435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Explanation:</a:t>
            </a:r>
            <a:endParaRPr lang="en-US" sz="24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Models can’t handle </a:t>
            </a:r>
            <a:r>
              <a:rPr lang="en-US" sz="2400" b="1" dirty="0">
                <a:solidFill>
                  <a:schemeClr val="bg1"/>
                </a:solidFill>
              </a:rPr>
              <a:t>text values</a:t>
            </a:r>
            <a:r>
              <a:rPr lang="en-US" sz="2400" dirty="0">
                <a:solidFill>
                  <a:schemeClr val="bg1"/>
                </a:solidFill>
              </a:rPr>
              <a:t> like “Male” or “Yes”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Label encoding assigns numerical values to categories (e.g., Yes = 1, No = 0).</a:t>
            </a:r>
          </a:p>
        </p:txBody>
      </p:sp>
    </p:spTree>
    <p:extLst>
      <p:ext uri="{BB962C8B-B14F-4D97-AF65-F5344CB8AC3E}">
        <p14:creationId xmlns:p14="http://schemas.microsoft.com/office/powerpoint/2010/main" val="17070143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B31E58-1D72-4481-9298-A839F98483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BA4060D-6BBB-A2DD-4E73-A363834023D3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77B74E7-17E0-65B6-BDBC-BC57E4D9220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5AC710A-3B47-C47E-FBB5-5FB5D6222ABF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9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A6579A0-4819-9D80-97B8-D9A7D502B296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0EB4511-4A04-A4C0-F8B7-5407B92DE4D3}"/>
              </a:ext>
            </a:extLst>
          </p:cNvPr>
          <p:cNvSpPr/>
          <p:nvPr/>
        </p:nvSpPr>
        <p:spPr>
          <a:xfrm>
            <a:off x="1801421" y="4828494"/>
            <a:ext cx="100313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Splitting Data For Reliable Evaluation</a:t>
            </a:r>
          </a:p>
        </p:txBody>
      </p:sp>
    </p:spTree>
    <p:extLst>
      <p:ext uri="{BB962C8B-B14F-4D97-AF65-F5344CB8AC3E}">
        <p14:creationId xmlns:p14="http://schemas.microsoft.com/office/powerpoint/2010/main" val="8362509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BB2D6855-424C-46EB-AA08-546FE1FC415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570"/>
            <a:ext cx="12188142" cy="6854430"/>
          </a:xfrm>
          <a:prstGeom prst="rect">
            <a:avLst/>
          </a:prstGeom>
        </p:spPr>
      </p:pic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4E841E98-F150-43F7-8B80-63DB22C5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1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4E841E98-F150-43F7-8B80-63DB22C5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61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B88D78F8-AF6D-41EE-97F2-B46EF27870D6}"/>
              </a:ext>
            </a:extLst>
          </p:cNvPr>
          <p:cNvSpPr/>
          <p:nvPr/>
        </p:nvSpPr>
        <p:spPr>
          <a:xfrm>
            <a:off x="3175" y="1785"/>
            <a:ext cx="4010202" cy="6854430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>
              <a:defRPr/>
            </a:pPr>
            <a:endParaRPr lang="en-IN" sz="4796">
              <a:solidFill>
                <a:srgbClr val="000000"/>
              </a:solidFill>
              <a:latin typeface="EYInterstate Light" panose="02000506000000020004" pitchFamily="2" charset="0"/>
              <a:sym typeface="EYInterstate Light" panose="02000506000000020004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174E5E-E60E-4997-89DE-79B282032EAE}"/>
              </a:ext>
            </a:extLst>
          </p:cNvPr>
          <p:cNvSpPr/>
          <p:nvPr/>
        </p:nvSpPr>
        <p:spPr>
          <a:xfrm rot="16200000">
            <a:off x="929674" y="2690337"/>
            <a:ext cx="4561185" cy="147732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defTabSz="685121">
              <a:defRPr/>
            </a:pPr>
            <a:r>
              <a:rPr lang="en-IN" sz="9600" b="1" dirty="0">
                <a:solidFill>
                  <a:srgbClr val="FFFFFF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Conten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E6748B-A68B-4BC1-A095-B98614520E89}"/>
              </a:ext>
            </a:extLst>
          </p:cNvPr>
          <p:cNvSpPr/>
          <p:nvPr/>
        </p:nvSpPr>
        <p:spPr>
          <a:xfrm>
            <a:off x="4013377" y="1785"/>
            <a:ext cx="85103" cy="6854430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>
              <a:defRPr/>
            </a:pPr>
            <a:endParaRPr lang="en-IN" sz="1100">
              <a:solidFill>
                <a:srgbClr val="000000"/>
              </a:solidFill>
              <a:latin typeface="EYInterstate Light" panose="02000506000000020004" pitchFamily="2" charset="0"/>
              <a:sym typeface="EYInterstate Light" panose="02000506000000020004" pitchFamily="2" charset="0"/>
            </a:endParaRPr>
          </a:p>
        </p:txBody>
      </p:sp>
      <p:sp>
        <p:nvSpPr>
          <p:cNvPr id="5" name="Rectangle 6 - 1">
            <a:extLst>
              <a:ext uri="{FF2B5EF4-FFF2-40B4-BE49-F238E27FC236}">
                <a16:creationId xmlns:a16="http://schemas.microsoft.com/office/drawing/2014/main" id="{22583C7A-C314-4035-B83E-1907DCC126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3478" y="922745"/>
            <a:ext cx="5492093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b="1" dirty="0">
                <a:solidFill>
                  <a:srgbClr val="FFFFFF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Exploring the Multiple Possible Solutions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22E53294-453D-4AFB-B635-F559617A8C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6157" y="451534"/>
            <a:ext cx="5492093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b="1" dirty="0">
                <a:solidFill>
                  <a:srgbClr val="FFFFFF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Problem Statement 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6 - 2">
            <a:extLst>
              <a:ext uri="{FF2B5EF4-FFF2-40B4-BE49-F238E27FC236}">
                <a16:creationId xmlns:a16="http://schemas.microsoft.com/office/drawing/2014/main" id="{6B2494A5-B647-408D-A3FD-5F14F9B2D4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3478" y="1419123"/>
            <a:ext cx="5492093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Our Proposed Solution</a:t>
            </a:r>
          </a:p>
        </p:txBody>
      </p:sp>
      <p:sp>
        <p:nvSpPr>
          <p:cNvPr id="17" name="Rectangle 6 - 3">
            <a:extLst>
              <a:ext uri="{FF2B5EF4-FFF2-40B4-BE49-F238E27FC236}">
                <a16:creationId xmlns:a16="http://schemas.microsoft.com/office/drawing/2014/main" id="{97B220BE-309A-40DB-9F4A-BCF0625E03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6157" y="2946974"/>
            <a:ext cx="5492091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Step 1 – Removing Non-Informative Features</a:t>
            </a:r>
          </a:p>
        </p:txBody>
      </p:sp>
      <p:sp>
        <p:nvSpPr>
          <p:cNvPr id="15" name="Rectangle 6 - 3">
            <a:extLst>
              <a:ext uri="{FF2B5EF4-FFF2-40B4-BE49-F238E27FC236}">
                <a16:creationId xmlns:a16="http://schemas.microsoft.com/office/drawing/2014/main" id="{B608C6DE-6C43-4E35-B2B2-E3D28192E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3478" y="2437442"/>
            <a:ext cx="5492092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Foundation of Accurate Predictions – Data Cleaning</a:t>
            </a:r>
          </a:p>
        </p:txBody>
      </p:sp>
      <p:sp>
        <p:nvSpPr>
          <p:cNvPr id="21" name="Rectangle 6 - 3">
            <a:extLst>
              <a:ext uri="{FF2B5EF4-FFF2-40B4-BE49-F238E27FC236}">
                <a16:creationId xmlns:a16="http://schemas.microsoft.com/office/drawing/2014/main" id="{14FB41EC-DFC1-4361-887D-D8784D60E6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3478" y="1929428"/>
            <a:ext cx="5492093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b="1" dirty="0">
                <a:solidFill>
                  <a:srgbClr val="FFFFFF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Complete Workflow – From Raw Data to Insights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Pentagon 19">
            <a:extLst>
              <a:ext uri="{FF2B5EF4-FFF2-40B4-BE49-F238E27FC236}">
                <a16:creationId xmlns:a16="http://schemas.microsoft.com/office/drawing/2014/main" id="{56BA8AE3-DA24-46B4-8E04-A5A75643D059}"/>
              </a:ext>
            </a:extLst>
          </p:cNvPr>
          <p:cNvSpPr>
            <a:spLocks noChangeAspect="1"/>
          </p:cNvSpPr>
          <p:nvPr/>
        </p:nvSpPr>
        <p:spPr>
          <a:xfrm>
            <a:off x="5348375" y="956908"/>
            <a:ext cx="371624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2</a:t>
            </a:r>
          </a:p>
        </p:txBody>
      </p:sp>
      <p:sp>
        <p:nvSpPr>
          <p:cNvPr id="7" name="Pentagon 7">
            <a:extLst>
              <a:ext uri="{FF2B5EF4-FFF2-40B4-BE49-F238E27FC236}">
                <a16:creationId xmlns:a16="http://schemas.microsoft.com/office/drawing/2014/main" id="{8747D40D-5C9E-4EC2-B3D0-22A9E9B50400}"/>
              </a:ext>
            </a:extLst>
          </p:cNvPr>
          <p:cNvSpPr>
            <a:spLocks noChangeAspect="1"/>
          </p:cNvSpPr>
          <p:nvPr/>
        </p:nvSpPr>
        <p:spPr>
          <a:xfrm>
            <a:off x="5361054" y="445466"/>
            <a:ext cx="371623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1</a:t>
            </a:r>
          </a:p>
        </p:txBody>
      </p:sp>
      <p:sp>
        <p:nvSpPr>
          <p:cNvPr id="9" name="Pentagon 7">
            <a:extLst>
              <a:ext uri="{FF2B5EF4-FFF2-40B4-BE49-F238E27FC236}">
                <a16:creationId xmlns:a16="http://schemas.microsoft.com/office/drawing/2014/main" id="{01E67BF3-D781-4B4C-9724-2FAEAE3B67F8}"/>
              </a:ext>
            </a:extLst>
          </p:cNvPr>
          <p:cNvSpPr>
            <a:spLocks noChangeAspect="1"/>
          </p:cNvSpPr>
          <p:nvPr/>
        </p:nvSpPr>
        <p:spPr>
          <a:xfrm>
            <a:off x="5348374" y="1451709"/>
            <a:ext cx="371624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3</a:t>
            </a:r>
          </a:p>
        </p:txBody>
      </p:sp>
      <p:sp>
        <p:nvSpPr>
          <p:cNvPr id="14" name="Pentagon 7">
            <a:extLst>
              <a:ext uri="{FF2B5EF4-FFF2-40B4-BE49-F238E27FC236}">
                <a16:creationId xmlns:a16="http://schemas.microsoft.com/office/drawing/2014/main" id="{42370A21-CE48-493C-B736-93748A746C29}"/>
              </a:ext>
            </a:extLst>
          </p:cNvPr>
          <p:cNvSpPr>
            <a:spLocks noChangeAspect="1"/>
          </p:cNvSpPr>
          <p:nvPr/>
        </p:nvSpPr>
        <p:spPr>
          <a:xfrm>
            <a:off x="5348372" y="2945188"/>
            <a:ext cx="371624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6</a:t>
            </a:r>
          </a:p>
        </p:txBody>
      </p:sp>
      <p:sp>
        <p:nvSpPr>
          <p:cNvPr id="20" name="Pentagon 7">
            <a:extLst>
              <a:ext uri="{FF2B5EF4-FFF2-40B4-BE49-F238E27FC236}">
                <a16:creationId xmlns:a16="http://schemas.microsoft.com/office/drawing/2014/main" id="{29715A30-AE24-422A-A5F6-EA4DA6042511}"/>
              </a:ext>
            </a:extLst>
          </p:cNvPr>
          <p:cNvSpPr>
            <a:spLocks noChangeAspect="1"/>
          </p:cNvSpPr>
          <p:nvPr/>
        </p:nvSpPr>
        <p:spPr>
          <a:xfrm>
            <a:off x="5348373" y="2456495"/>
            <a:ext cx="371624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5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FC254E8C-2231-40C9-96AA-E2CEB1CEB6C8}"/>
              </a:ext>
            </a:extLst>
          </p:cNvPr>
          <p:cNvSpPr>
            <a:spLocks noChangeAspect="1"/>
          </p:cNvSpPr>
          <p:nvPr/>
        </p:nvSpPr>
        <p:spPr>
          <a:xfrm>
            <a:off x="5348372" y="1923522"/>
            <a:ext cx="371624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4</a:t>
            </a:r>
          </a:p>
        </p:txBody>
      </p:sp>
      <p:sp>
        <p:nvSpPr>
          <p:cNvPr id="46" name="Rectangle 6 - 1">
            <a:extLst>
              <a:ext uri="{FF2B5EF4-FFF2-40B4-BE49-F238E27FC236}">
                <a16:creationId xmlns:a16="http://schemas.microsoft.com/office/drawing/2014/main" id="{57AB66EE-6A01-BC60-EC81-1B46CCD3BC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3477" y="3968658"/>
            <a:ext cx="5492093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Step 3 – Converting Categorical Data</a:t>
            </a:r>
          </a:p>
        </p:txBody>
      </p:sp>
      <p:sp>
        <p:nvSpPr>
          <p:cNvPr id="47" name="Rectangle 6">
            <a:extLst>
              <a:ext uri="{FF2B5EF4-FFF2-40B4-BE49-F238E27FC236}">
                <a16:creationId xmlns:a16="http://schemas.microsoft.com/office/drawing/2014/main" id="{3B0F76BC-1E96-409C-858B-C9D3B5F219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6156" y="3499233"/>
            <a:ext cx="5492093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b="1" dirty="0">
                <a:solidFill>
                  <a:srgbClr val="FFFFFF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Step 2 – Dropping Incomplete Rows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6 - 2">
            <a:extLst>
              <a:ext uri="{FF2B5EF4-FFF2-40B4-BE49-F238E27FC236}">
                <a16:creationId xmlns:a16="http://schemas.microsoft.com/office/drawing/2014/main" id="{76DFACA5-9E4C-D2F6-54BF-B52F4948B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3477" y="4465036"/>
            <a:ext cx="5492093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Splitting Data For Reliable Evaluation</a:t>
            </a:r>
          </a:p>
        </p:txBody>
      </p:sp>
      <p:sp>
        <p:nvSpPr>
          <p:cNvPr id="49" name="Rectangle 6 - 3">
            <a:extLst>
              <a:ext uri="{FF2B5EF4-FFF2-40B4-BE49-F238E27FC236}">
                <a16:creationId xmlns:a16="http://schemas.microsoft.com/office/drawing/2014/main" id="{FC03ADB1-E912-5AC5-6344-D131D910DF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6156" y="5992887"/>
            <a:ext cx="5492091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Completion and Acknowledgement</a:t>
            </a:r>
          </a:p>
        </p:txBody>
      </p:sp>
      <p:sp>
        <p:nvSpPr>
          <p:cNvPr id="50" name="Rectangle 6 - 3">
            <a:extLst>
              <a:ext uri="{FF2B5EF4-FFF2-40B4-BE49-F238E27FC236}">
                <a16:creationId xmlns:a16="http://schemas.microsoft.com/office/drawing/2014/main" id="{9F140B80-243C-CA7F-768F-D57E0F8024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3477" y="5483355"/>
            <a:ext cx="5492092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Results: Predictive Insights Made Easy</a:t>
            </a:r>
          </a:p>
        </p:txBody>
      </p:sp>
      <p:sp>
        <p:nvSpPr>
          <p:cNvPr id="51" name="Rectangle 6 - 3">
            <a:extLst>
              <a:ext uri="{FF2B5EF4-FFF2-40B4-BE49-F238E27FC236}">
                <a16:creationId xmlns:a16="http://schemas.microsoft.com/office/drawing/2014/main" id="{AF251841-F045-73FF-F2E2-A667E4FEF4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3477" y="4975341"/>
            <a:ext cx="5492093" cy="331249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wrap="square" lIns="431775" tIns="71963" rIns="71963" bIns="71963" anchor="ctr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Model Training, Tuning, Evaluation</a:t>
            </a:r>
          </a:p>
        </p:txBody>
      </p:sp>
      <p:sp>
        <p:nvSpPr>
          <p:cNvPr id="52" name="Pentagon 19">
            <a:extLst>
              <a:ext uri="{FF2B5EF4-FFF2-40B4-BE49-F238E27FC236}">
                <a16:creationId xmlns:a16="http://schemas.microsoft.com/office/drawing/2014/main" id="{CCC1BDEE-1A7F-6767-D11D-C1B98A4EEADD}"/>
              </a:ext>
            </a:extLst>
          </p:cNvPr>
          <p:cNvSpPr>
            <a:spLocks noChangeAspect="1"/>
          </p:cNvSpPr>
          <p:nvPr/>
        </p:nvSpPr>
        <p:spPr>
          <a:xfrm>
            <a:off x="5348372" y="3955504"/>
            <a:ext cx="371624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8</a:t>
            </a:r>
          </a:p>
        </p:txBody>
      </p:sp>
      <p:sp>
        <p:nvSpPr>
          <p:cNvPr id="53" name="Pentagon 7">
            <a:extLst>
              <a:ext uri="{FF2B5EF4-FFF2-40B4-BE49-F238E27FC236}">
                <a16:creationId xmlns:a16="http://schemas.microsoft.com/office/drawing/2014/main" id="{A23F79D4-CB70-E5B9-455C-B105C95E2869}"/>
              </a:ext>
            </a:extLst>
          </p:cNvPr>
          <p:cNvSpPr>
            <a:spLocks noChangeAspect="1"/>
          </p:cNvSpPr>
          <p:nvPr/>
        </p:nvSpPr>
        <p:spPr>
          <a:xfrm>
            <a:off x="5361053" y="3493164"/>
            <a:ext cx="371623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7</a:t>
            </a:r>
          </a:p>
        </p:txBody>
      </p:sp>
      <p:sp>
        <p:nvSpPr>
          <p:cNvPr id="54" name="Pentagon 7">
            <a:extLst>
              <a:ext uri="{FF2B5EF4-FFF2-40B4-BE49-F238E27FC236}">
                <a16:creationId xmlns:a16="http://schemas.microsoft.com/office/drawing/2014/main" id="{090E2C3A-1758-8A8F-2D74-A940F1D77B5A}"/>
              </a:ext>
            </a:extLst>
          </p:cNvPr>
          <p:cNvSpPr>
            <a:spLocks noChangeAspect="1"/>
          </p:cNvSpPr>
          <p:nvPr/>
        </p:nvSpPr>
        <p:spPr>
          <a:xfrm>
            <a:off x="5348372" y="4460824"/>
            <a:ext cx="371624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9</a:t>
            </a:r>
          </a:p>
        </p:txBody>
      </p:sp>
      <p:sp>
        <p:nvSpPr>
          <p:cNvPr id="55" name="Pentagon 7">
            <a:extLst>
              <a:ext uri="{FF2B5EF4-FFF2-40B4-BE49-F238E27FC236}">
                <a16:creationId xmlns:a16="http://schemas.microsoft.com/office/drawing/2014/main" id="{067470BA-01CF-0194-4FDD-E7B38D70D5E6}"/>
              </a:ext>
            </a:extLst>
          </p:cNvPr>
          <p:cNvSpPr>
            <a:spLocks noChangeAspect="1"/>
          </p:cNvSpPr>
          <p:nvPr/>
        </p:nvSpPr>
        <p:spPr>
          <a:xfrm>
            <a:off x="5348372" y="5998994"/>
            <a:ext cx="371624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12</a:t>
            </a:r>
          </a:p>
        </p:txBody>
      </p:sp>
      <p:sp>
        <p:nvSpPr>
          <p:cNvPr id="56" name="Pentagon 7">
            <a:extLst>
              <a:ext uri="{FF2B5EF4-FFF2-40B4-BE49-F238E27FC236}">
                <a16:creationId xmlns:a16="http://schemas.microsoft.com/office/drawing/2014/main" id="{3D33F6DC-65D4-41BF-3FE2-E95D23A91463}"/>
              </a:ext>
            </a:extLst>
          </p:cNvPr>
          <p:cNvSpPr>
            <a:spLocks noChangeAspect="1"/>
          </p:cNvSpPr>
          <p:nvPr/>
        </p:nvSpPr>
        <p:spPr>
          <a:xfrm>
            <a:off x="5348372" y="5504193"/>
            <a:ext cx="371624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11</a:t>
            </a:r>
          </a:p>
        </p:txBody>
      </p:sp>
      <p:sp>
        <p:nvSpPr>
          <p:cNvPr id="57" name="Pentagon 7">
            <a:extLst>
              <a:ext uri="{FF2B5EF4-FFF2-40B4-BE49-F238E27FC236}">
                <a16:creationId xmlns:a16="http://schemas.microsoft.com/office/drawing/2014/main" id="{BEB54B6B-D4E4-BCE5-D0B3-05742985E601}"/>
              </a:ext>
            </a:extLst>
          </p:cNvPr>
          <p:cNvSpPr>
            <a:spLocks noChangeAspect="1"/>
          </p:cNvSpPr>
          <p:nvPr/>
        </p:nvSpPr>
        <p:spPr>
          <a:xfrm>
            <a:off x="5361053" y="4971042"/>
            <a:ext cx="371624" cy="331249"/>
          </a:xfrm>
          <a:prstGeom prst="homePlate">
            <a:avLst>
              <a:gd name="adj" fmla="val 46646"/>
            </a:avLst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780" tIns="35392" rIns="70780" bIns="35392" anchor="ctr"/>
          <a:lstStyle/>
          <a:p>
            <a:pPr algn="ctr" defTabSz="685121">
              <a:defRPr/>
            </a:pPr>
            <a:r>
              <a:rPr lang="en-US" sz="1100" b="1" dirty="0">
                <a:solidFill>
                  <a:srgbClr val="000000"/>
                </a:solidFill>
                <a:latin typeface="EYInterstate Light" panose="02000506000000020004" pitchFamily="2" charset="0"/>
                <a:cs typeface="Calibri" panose="020F0502020204030204" pitchFamily="34" charset="0"/>
                <a:sym typeface="EYInterstate Light" panose="02000506000000020004" pitchFamily="2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5200645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06FDC7-59A6-8923-2E17-6DA8162167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91EE9EE-656C-984B-F8B9-8D94EF53472B}"/>
              </a:ext>
            </a:extLst>
          </p:cNvPr>
          <p:cNvSpPr txBox="1"/>
          <p:nvPr/>
        </p:nvSpPr>
        <p:spPr>
          <a:xfrm>
            <a:off x="3609473" y="296596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Cleaning Step – Train-Test Splitting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BF6FA0E-BDFC-4F46-2D47-774D6958CE94}"/>
              </a:ext>
            </a:extLst>
          </p:cNvPr>
          <p:cNvSpPr txBox="1"/>
          <p:nvPr/>
        </p:nvSpPr>
        <p:spPr>
          <a:xfrm>
            <a:off x="561473" y="1451628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Code Snippet: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691734B-B0B4-1987-F907-673061F85517}"/>
              </a:ext>
            </a:extLst>
          </p:cNvPr>
          <p:cNvSpPr/>
          <p:nvPr/>
        </p:nvSpPr>
        <p:spPr>
          <a:xfrm>
            <a:off x="705853" y="1876926"/>
            <a:ext cx="10668000" cy="1957137"/>
          </a:xfrm>
          <a:prstGeom prst="round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F2F968-667F-C9E2-A154-E70C04712117}"/>
              </a:ext>
            </a:extLst>
          </p:cNvPr>
          <p:cNvSpPr txBox="1"/>
          <p:nvPr/>
        </p:nvSpPr>
        <p:spPr>
          <a:xfrm>
            <a:off x="705853" y="4116215"/>
            <a:ext cx="60960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Explanation:</a:t>
            </a:r>
            <a:endParaRPr lang="en-US" sz="24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80% used for model train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20% reserved to test how well it performs on </a:t>
            </a:r>
            <a:r>
              <a:rPr lang="en-US" sz="2400" b="1" dirty="0">
                <a:solidFill>
                  <a:schemeClr val="bg1"/>
                </a:solidFill>
              </a:rPr>
              <a:t>unseen data</a:t>
            </a:r>
            <a:endParaRPr lang="en-US" sz="24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This gives a </a:t>
            </a:r>
            <a:r>
              <a:rPr lang="en-US" sz="2400" b="1" dirty="0">
                <a:solidFill>
                  <a:schemeClr val="bg1"/>
                </a:solidFill>
              </a:rPr>
              <a:t>realistic idea</a:t>
            </a:r>
            <a:r>
              <a:rPr lang="en-US" sz="2400" dirty="0">
                <a:solidFill>
                  <a:schemeClr val="bg1"/>
                </a:solidFill>
              </a:rPr>
              <a:t> of how it will behave in production.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B5F2E7C3-AE0A-CBC1-A72B-D3779AFDCC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2461506"/>
              </p:ext>
            </p:extLst>
          </p:nvPr>
        </p:nvGraphicFramePr>
        <p:xfrm>
          <a:off x="8005011" y="3834062"/>
          <a:ext cx="2874210" cy="2727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977526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E8AD71-09D5-0201-0466-8770785D89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882ACCC-803B-7D49-20C2-3C6CADFE6165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F6CD63A-2804-80A1-8A19-F18185909E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95FC9ED-B558-C50B-2C54-59E56BACD59C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10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361FCD-19A2-DFA1-7C23-AEBE90C1D360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514F097-0B74-D7F5-E1E6-68E1E407A975}"/>
              </a:ext>
            </a:extLst>
          </p:cNvPr>
          <p:cNvSpPr/>
          <p:nvPr/>
        </p:nvSpPr>
        <p:spPr>
          <a:xfrm>
            <a:off x="1801421" y="4828494"/>
            <a:ext cx="100313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Model Training, Tuning, Evaluation</a:t>
            </a:r>
          </a:p>
        </p:txBody>
      </p:sp>
    </p:spTree>
    <p:extLst>
      <p:ext uri="{BB962C8B-B14F-4D97-AF65-F5344CB8AC3E}">
        <p14:creationId xmlns:p14="http://schemas.microsoft.com/office/powerpoint/2010/main" val="24093820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0FAC2F-1ED4-1047-0C4B-C5BF7450A2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608D621-420A-165D-AD0D-CFA3AF7D8BF8}"/>
              </a:ext>
            </a:extLst>
          </p:cNvPr>
          <p:cNvSpPr txBox="1"/>
          <p:nvPr/>
        </p:nvSpPr>
        <p:spPr>
          <a:xfrm>
            <a:off x="4283242" y="244460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Post Cleaning Process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8D63F5-222A-E823-BD1C-F6B18F1CD6A0}"/>
              </a:ext>
            </a:extLst>
          </p:cNvPr>
          <p:cNvSpPr txBox="1"/>
          <p:nvPr/>
        </p:nvSpPr>
        <p:spPr>
          <a:xfrm>
            <a:off x="577516" y="1435586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u="sng" dirty="0">
                <a:solidFill>
                  <a:schemeClr val="bg1"/>
                </a:solidFill>
              </a:rPr>
              <a:t>Main Steps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946656-F56F-14ED-7AD9-D83546C74715}"/>
              </a:ext>
            </a:extLst>
          </p:cNvPr>
          <p:cNvSpPr txBox="1"/>
          <p:nvPr/>
        </p:nvSpPr>
        <p:spPr>
          <a:xfrm>
            <a:off x="577516" y="2334324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1. Hyperparameter Tuning via </a:t>
            </a:r>
            <a:r>
              <a:rPr lang="en-US" sz="2400" dirty="0" err="1">
                <a:solidFill>
                  <a:schemeClr val="bg1"/>
                </a:solidFill>
              </a:rPr>
              <a:t>GridSearchCV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899E529-AAEB-F57A-A61B-6CFFC5143260}"/>
              </a:ext>
            </a:extLst>
          </p:cNvPr>
          <p:cNvSpPr/>
          <p:nvPr/>
        </p:nvSpPr>
        <p:spPr>
          <a:xfrm>
            <a:off x="577516" y="2924326"/>
            <a:ext cx="9801726" cy="2626425"/>
          </a:xfrm>
          <a:prstGeom prst="round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B440A6-FEDE-2859-1371-5CE63253B954}"/>
              </a:ext>
            </a:extLst>
          </p:cNvPr>
          <p:cNvSpPr txBox="1"/>
          <p:nvPr/>
        </p:nvSpPr>
        <p:spPr>
          <a:xfrm>
            <a:off x="802106" y="5782543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his explores combinations to </a:t>
            </a:r>
            <a:r>
              <a:rPr lang="en-US" sz="2400" b="1" dirty="0">
                <a:solidFill>
                  <a:schemeClr val="bg1"/>
                </a:solidFill>
              </a:rPr>
              <a:t>find the best model</a:t>
            </a:r>
            <a:r>
              <a:rPr lang="en-US" sz="240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862832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A4A1B2-CBAF-2554-D445-631E39C710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EE06CAC-568A-4F37-4ABF-02B22EA71B2B}"/>
              </a:ext>
            </a:extLst>
          </p:cNvPr>
          <p:cNvSpPr txBox="1"/>
          <p:nvPr/>
        </p:nvSpPr>
        <p:spPr>
          <a:xfrm>
            <a:off x="4283242" y="244460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Post Cleaning Process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8722A7-1FE7-2EE3-4C30-CF63EC44DEC8}"/>
              </a:ext>
            </a:extLst>
          </p:cNvPr>
          <p:cNvSpPr txBox="1"/>
          <p:nvPr/>
        </p:nvSpPr>
        <p:spPr>
          <a:xfrm>
            <a:off x="577516" y="1435966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2. Model Evaluation Metrics Computed: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79C4FD7-4C88-40F7-841F-1960CD8BE834}"/>
              </a:ext>
            </a:extLst>
          </p:cNvPr>
          <p:cNvSpPr/>
          <p:nvPr/>
        </p:nvSpPr>
        <p:spPr>
          <a:xfrm>
            <a:off x="577516" y="2058053"/>
            <a:ext cx="9015663" cy="2161021"/>
          </a:xfrm>
          <a:prstGeom prst="round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D9F2F17-4485-C214-8BD6-E40121B9A3D4}"/>
              </a:ext>
            </a:extLst>
          </p:cNvPr>
          <p:cNvSpPr/>
          <p:nvPr/>
        </p:nvSpPr>
        <p:spPr>
          <a:xfrm>
            <a:off x="577516" y="4475548"/>
            <a:ext cx="3240506" cy="1892969"/>
          </a:xfrm>
          <a:prstGeom prst="round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1C7A08C-FE0F-690B-9EF0-200F3314C270}"/>
              </a:ext>
            </a:extLst>
          </p:cNvPr>
          <p:cNvSpPr/>
          <p:nvPr/>
        </p:nvSpPr>
        <p:spPr>
          <a:xfrm>
            <a:off x="4764505" y="4587745"/>
            <a:ext cx="6320589" cy="1668578"/>
          </a:xfrm>
          <a:prstGeom prst="round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6132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DA52BA-0251-5CC6-9DAF-CDC37FC51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86A0C78-764E-31E9-4499-4E8B4E909E4D}"/>
              </a:ext>
            </a:extLst>
          </p:cNvPr>
          <p:cNvSpPr txBox="1"/>
          <p:nvPr/>
        </p:nvSpPr>
        <p:spPr>
          <a:xfrm>
            <a:off x="4283242" y="244460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Post Cleaning Process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A72182-6718-073A-3858-9B9C6F4FE3C7}"/>
              </a:ext>
            </a:extLst>
          </p:cNvPr>
          <p:cNvSpPr txBox="1"/>
          <p:nvPr/>
        </p:nvSpPr>
        <p:spPr>
          <a:xfrm>
            <a:off x="577516" y="1435966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3. Confusion Matrix for Error Breakdown: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327443F-A98A-5142-BBC2-C7F1155877C6}"/>
              </a:ext>
            </a:extLst>
          </p:cNvPr>
          <p:cNvSpPr/>
          <p:nvPr/>
        </p:nvSpPr>
        <p:spPr>
          <a:xfrm>
            <a:off x="577516" y="2058053"/>
            <a:ext cx="9368589" cy="957863"/>
          </a:xfrm>
          <a:prstGeom prst="round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8EF849A-40BD-6698-E511-97C217FF721E}"/>
              </a:ext>
            </a:extLst>
          </p:cNvPr>
          <p:cNvSpPr/>
          <p:nvPr/>
        </p:nvSpPr>
        <p:spPr>
          <a:xfrm>
            <a:off x="577516" y="3429000"/>
            <a:ext cx="3705726" cy="2939517"/>
          </a:xfrm>
          <a:prstGeom prst="round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9B394ED-C887-7953-6771-5F22D13C05FE}"/>
              </a:ext>
            </a:extLst>
          </p:cNvPr>
          <p:cNvSpPr/>
          <p:nvPr/>
        </p:nvSpPr>
        <p:spPr>
          <a:xfrm>
            <a:off x="4764505" y="4587745"/>
            <a:ext cx="6320589" cy="1668578"/>
          </a:xfrm>
          <a:prstGeom prst="round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198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23E08E-D0EE-4D7A-7417-DEF11BA974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60E1A6E-F5F1-D729-7B36-005BE6830C85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874884-57CB-5CD4-702D-794084C769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4EB5194-8EB7-4A82-578E-B6ADABCD3B15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1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5471141-4380-B19B-AF35-A4093EC4D8DD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81D15C-AC1D-4FFA-C17D-1874F2EA2A93}"/>
              </a:ext>
            </a:extLst>
          </p:cNvPr>
          <p:cNvSpPr/>
          <p:nvPr/>
        </p:nvSpPr>
        <p:spPr>
          <a:xfrm>
            <a:off x="1801421" y="4828494"/>
            <a:ext cx="100313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Results: Predictive Insights Made Easy</a:t>
            </a:r>
          </a:p>
        </p:txBody>
      </p:sp>
    </p:spTree>
    <p:extLst>
      <p:ext uri="{BB962C8B-B14F-4D97-AF65-F5344CB8AC3E}">
        <p14:creationId xmlns:p14="http://schemas.microsoft.com/office/powerpoint/2010/main" val="1089363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E2323C-3068-1EDA-481E-8655358922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41963C7-DF45-7776-CD74-8D331B48FC0F}"/>
              </a:ext>
            </a:extLst>
          </p:cNvPr>
          <p:cNvSpPr txBox="1"/>
          <p:nvPr/>
        </p:nvSpPr>
        <p:spPr>
          <a:xfrm>
            <a:off x="3240506" y="260502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Final Output – What The Client Sees ?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B84036A5-398A-D46D-C68B-A962F2EEC6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094" y="1397260"/>
            <a:ext cx="8737328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Client uploads their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/>
              </a:rPr>
              <a:t>.csv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or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/>
              </a:rPr>
              <a:t>.xlsx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file into the Power BI dashboard.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E44B2C1-D4CF-522F-E307-9619CE9A77C4}"/>
              </a:ext>
            </a:extLst>
          </p:cNvPr>
          <p:cNvSpPr/>
          <p:nvPr/>
        </p:nvSpPr>
        <p:spPr>
          <a:xfrm>
            <a:off x="580103" y="1890899"/>
            <a:ext cx="6853084" cy="2640523"/>
          </a:xfrm>
          <a:prstGeom prst="round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9C3045-507F-5B03-36AA-60148F56A0A7}"/>
              </a:ext>
            </a:extLst>
          </p:cNvPr>
          <p:cNvSpPr txBox="1"/>
          <p:nvPr/>
        </p:nvSpPr>
        <p:spPr>
          <a:xfrm>
            <a:off x="7796980" y="2841795"/>
            <a:ext cx="4208206" cy="98148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US" sz="2400" dirty="0">
                <a:solidFill>
                  <a:schemeClr val="bg1"/>
                </a:solidFill>
              </a:rPr>
              <a:t>This pulls the data automatically from the OneDrive folder, it is saved in.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30600DC-DF97-716F-6505-335B7295C010}"/>
              </a:ext>
            </a:extLst>
          </p:cNvPr>
          <p:cNvSpPr/>
          <p:nvPr/>
        </p:nvSpPr>
        <p:spPr>
          <a:xfrm>
            <a:off x="580103" y="5025061"/>
            <a:ext cx="2241755" cy="1307691"/>
          </a:xfrm>
          <a:prstGeom prst="round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6FFE52-0373-C824-E9CB-E5B4F641DAAC}"/>
              </a:ext>
            </a:extLst>
          </p:cNvPr>
          <p:cNvSpPr txBox="1"/>
          <p:nvPr/>
        </p:nvSpPr>
        <p:spPr>
          <a:xfrm>
            <a:off x="3058422" y="5144960"/>
            <a:ext cx="6278084" cy="1036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6616" indent="-356616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US" sz="2400" dirty="0">
                <a:solidFill>
                  <a:schemeClr val="bg1"/>
                </a:solidFill>
              </a:rPr>
              <a:t>For another Data to be analyzed, that file needs to be saved in the same folder and with the same name.</a:t>
            </a:r>
          </a:p>
        </p:txBody>
      </p:sp>
    </p:spTree>
    <p:extLst>
      <p:ext uri="{BB962C8B-B14F-4D97-AF65-F5344CB8AC3E}">
        <p14:creationId xmlns:p14="http://schemas.microsoft.com/office/powerpoint/2010/main" val="31952475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C4EC8-F9AD-9934-3BDA-B7422D7D3F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C5D525B-D892-B7CC-60BA-1482B616BA49}"/>
              </a:ext>
            </a:extLst>
          </p:cNvPr>
          <p:cNvSpPr txBox="1"/>
          <p:nvPr/>
        </p:nvSpPr>
        <p:spPr>
          <a:xfrm>
            <a:off x="3240506" y="260502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Final Output – What The Client Sees ?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561532-58ED-F8B4-22DE-800D45A8B6FE}"/>
              </a:ext>
            </a:extLst>
          </p:cNvPr>
          <p:cNvSpPr txBox="1"/>
          <p:nvPr/>
        </p:nvSpPr>
        <p:spPr>
          <a:xfrm>
            <a:off x="545431" y="1627581"/>
            <a:ext cx="9930064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</a:rPr>
              <a:t>Our integrated model </a:t>
            </a:r>
            <a:r>
              <a:rPr lang="en-US" sz="2800" b="1" dirty="0">
                <a:solidFill>
                  <a:schemeClr val="bg1"/>
                </a:solidFill>
              </a:rPr>
              <a:t>automatically analyzes</a:t>
            </a:r>
            <a:r>
              <a:rPr lang="en-US" sz="2800" dirty="0">
                <a:solidFill>
                  <a:schemeClr val="bg1"/>
                </a:solidFill>
              </a:rPr>
              <a:t> the dataset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</a:rPr>
              <a:t>The dashboard show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</a:rPr>
              <a:t>Whether the customer is likely to chur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</a:rPr>
              <a:t>Confidence score (churn probability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</a:rPr>
              <a:t>Model performance metrics (Accuracy, Precision, Recal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</a:rPr>
              <a:t>Visualizations like pie charts, confusion matrix, and heatmap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b="1" dirty="0">
                <a:solidFill>
                  <a:schemeClr val="bg1"/>
                </a:solidFill>
              </a:rPr>
              <a:t>Goal Achieved:</a:t>
            </a:r>
            <a:r>
              <a:rPr lang="en-US" sz="2800" dirty="0">
                <a:solidFill>
                  <a:schemeClr val="bg1"/>
                </a:solidFill>
              </a:rPr>
              <a:t> A </a:t>
            </a:r>
            <a:r>
              <a:rPr lang="en-US" sz="2800" b="1" dirty="0">
                <a:solidFill>
                  <a:schemeClr val="bg1"/>
                </a:solidFill>
              </a:rPr>
              <a:t>fully functional solution</a:t>
            </a:r>
            <a:r>
              <a:rPr lang="en-US" sz="2800" dirty="0">
                <a:solidFill>
                  <a:schemeClr val="bg1"/>
                </a:solidFill>
              </a:rPr>
              <a:t> where the client doesn’t need to run any code — just upload and explore!</a:t>
            </a:r>
          </a:p>
        </p:txBody>
      </p:sp>
    </p:spTree>
    <p:extLst>
      <p:ext uri="{BB962C8B-B14F-4D97-AF65-F5344CB8AC3E}">
        <p14:creationId xmlns:p14="http://schemas.microsoft.com/office/powerpoint/2010/main" val="7956851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9EE752-78FE-0F83-533E-290BF91C10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E3371D6-E06F-6DC3-1F8A-A71735F8D82C}"/>
              </a:ext>
            </a:extLst>
          </p:cNvPr>
          <p:cNvSpPr txBox="1"/>
          <p:nvPr/>
        </p:nvSpPr>
        <p:spPr>
          <a:xfrm>
            <a:off x="1017639" y="1475301"/>
            <a:ext cx="9615948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As discussed in the recent meeting, a </a:t>
            </a:r>
            <a:r>
              <a:rPr lang="en-US" sz="2000" b="1" dirty="0">
                <a:solidFill>
                  <a:schemeClr val="bg1"/>
                </a:solidFill>
              </a:rPr>
              <a:t>Feature Importance Plot</a:t>
            </a:r>
            <a:r>
              <a:rPr lang="en-US" sz="2000" dirty="0">
                <a:solidFill>
                  <a:schemeClr val="bg1"/>
                </a:solidFill>
              </a:rPr>
              <a:t> has now been integrated into the visualizations section of the Power BI dashboard.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dirty="0">
                <a:solidFill>
                  <a:schemeClr val="bg1"/>
                </a:solidFill>
              </a:rPr>
              <a:t>This plot illustrates the </a:t>
            </a:r>
            <a:r>
              <a:rPr lang="en-US" sz="2000" b="1" dirty="0">
                <a:solidFill>
                  <a:schemeClr val="bg1"/>
                </a:solidFill>
              </a:rPr>
              <a:t>relative importance of each feature</a:t>
            </a:r>
            <a:r>
              <a:rPr lang="en-US" sz="2000" dirty="0">
                <a:solidFill>
                  <a:schemeClr val="bg1"/>
                </a:solidFill>
              </a:rPr>
              <a:t> in predicting customer churn using a Random Forest model. By doing so, it enables us to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Identify the most influential factors</a:t>
            </a:r>
            <a:r>
              <a:rPr lang="en-US" sz="2000" dirty="0">
                <a:solidFill>
                  <a:schemeClr val="bg1"/>
                </a:solidFill>
              </a:rPr>
              <a:t> leading to churn, such as tenure length, contract type, and monthly charges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Visually understand the weight of each feature</a:t>
            </a:r>
            <a:r>
              <a:rPr lang="en-US" sz="2000" dirty="0">
                <a:solidFill>
                  <a:schemeClr val="bg1"/>
                </a:solidFill>
              </a:rPr>
              <a:t>, helping to explain why certain customers are more likely to leave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Prioritize actionable insights</a:t>
            </a:r>
            <a:r>
              <a:rPr lang="en-US" sz="2000" dirty="0">
                <a:solidFill>
                  <a:schemeClr val="bg1"/>
                </a:solidFill>
              </a:rPr>
              <a:t>, allowing teams to focus efforts on the features with the highest impact on churn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dirty="0">
                <a:solidFill>
                  <a:schemeClr val="bg1"/>
                </a:solidFill>
              </a:rPr>
              <a:t>Overall, this visualization enhances interpretability and supports </a:t>
            </a:r>
            <a:r>
              <a:rPr lang="en-US" sz="2000" b="1" dirty="0">
                <a:solidFill>
                  <a:schemeClr val="bg1"/>
                </a:solidFill>
              </a:rPr>
              <a:t>data-driven decision-making</a:t>
            </a:r>
            <a:r>
              <a:rPr lang="en-US" sz="2000" dirty="0">
                <a:solidFill>
                  <a:schemeClr val="bg1"/>
                </a:solidFill>
              </a:rPr>
              <a:t> in our churn reduction strategy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731343-A17E-805D-7B2B-C43AA3D2632B}"/>
              </a:ext>
            </a:extLst>
          </p:cNvPr>
          <p:cNvSpPr txBox="1"/>
          <p:nvPr/>
        </p:nvSpPr>
        <p:spPr>
          <a:xfrm>
            <a:off x="1558413" y="365941"/>
            <a:ext cx="90751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📊 Feature Importance Plot Added to Visualizations</a:t>
            </a:r>
          </a:p>
        </p:txBody>
      </p:sp>
    </p:spTree>
    <p:extLst>
      <p:ext uri="{BB962C8B-B14F-4D97-AF65-F5344CB8AC3E}">
        <p14:creationId xmlns:p14="http://schemas.microsoft.com/office/powerpoint/2010/main" val="41565942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337ED-6221-BD26-1029-F7A90B4CC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B51610D-545C-682B-7E7D-54AE07AEE24E}"/>
              </a:ext>
            </a:extLst>
          </p:cNvPr>
          <p:cNvSpPr txBox="1"/>
          <p:nvPr/>
        </p:nvSpPr>
        <p:spPr>
          <a:xfrm>
            <a:off x="1558413" y="365941"/>
            <a:ext cx="90751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📊 Feature Importance Plot Added to Visualiza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2BD1E4-9D0E-AEDA-8D70-2B61CB9215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949" y="1818969"/>
            <a:ext cx="9443608" cy="3873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0735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C85327C-3217-065A-FA60-3B7B6D55952B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4007AB0-C1B9-0EAE-0B9A-DFDC8B8BB23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A6C3A2C-F919-B45F-4745-3562EB743630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5B4029-741E-DD73-A074-593C0DF90CD6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FFE0C7-32AC-1873-F224-C228B4E1DA5E}"/>
              </a:ext>
            </a:extLst>
          </p:cNvPr>
          <p:cNvSpPr/>
          <p:nvPr/>
        </p:nvSpPr>
        <p:spPr>
          <a:xfrm>
            <a:off x="1801421" y="4828494"/>
            <a:ext cx="100313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4000" b="1" dirty="0">
                <a:solidFill>
                  <a:schemeClr val="bg2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Problem Statement </a:t>
            </a:r>
            <a:endParaRPr kumimoji="0" lang="en-IN" sz="40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6141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FBDCDA-3508-9364-BA2C-2084A4A9D6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3AC78DC-7C71-5AAB-D545-D828C39FAD99}"/>
              </a:ext>
            </a:extLst>
          </p:cNvPr>
          <p:cNvSpPr txBox="1"/>
          <p:nvPr/>
        </p:nvSpPr>
        <p:spPr>
          <a:xfrm>
            <a:off x="4943235" y="498023"/>
            <a:ext cx="2421323" cy="40639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2800" b="1" dirty="0">
                <a:solidFill>
                  <a:schemeClr val="bg1"/>
                </a:solidFill>
              </a:rPr>
              <a:t>Model Insights</a:t>
            </a:r>
          </a:p>
        </p:txBody>
      </p:sp>
      <p:graphicFrame>
        <p:nvGraphicFramePr>
          <p:cNvPr id="27" name="Diagram 26">
            <a:extLst>
              <a:ext uri="{FF2B5EF4-FFF2-40B4-BE49-F238E27FC236}">
                <a16:creationId xmlns:a16="http://schemas.microsoft.com/office/drawing/2014/main" id="{E9866C62-632F-89E7-0B04-900FC3C1E8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4027630"/>
              </p:ext>
            </p:extLst>
          </p:nvPr>
        </p:nvGraphicFramePr>
        <p:xfrm>
          <a:off x="127818" y="1166768"/>
          <a:ext cx="10894143" cy="5191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2" name="Picture 31">
            <a:extLst>
              <a:ext uri="{FF2B5EF4-FFF2-40B4-BE49-F238E27FC236}">
                <a16:creationId xmlns:a16="http://schemas.microsoft.com/office/drawing/2014/main" id="{8398776F-BE1B-7572-0E9A-AAFFB11107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9729" y="3913239"/>
            <a:ext cx="3972232" cy="244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335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390AAA-2D76-355C-E78F-0CBBF0B2A5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C9A93F1-4834-ACA0-874E-4395E0B2FD9A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1364BDB-4F0C-232F-B6B1-71C40D4BEF4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4443965-465D-40E9-D44C-3797EE11C1FC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1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2509577-DB72-0858-D54B-FD7E4F604290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3FBED9-E073-B3B7-DC7E-F39EC7D86F48}"/>
              </a:ext>
            </a:extLst>
          </p:cNvPr>
          <p:cNvSpPr/>
          <p:nvPr/>
        </p:nvSpPr>
        <p:spPr>
          <a:xfrm>
            <a:off x="1801421" y="4828494"/>
            <a:ext cx="100313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Completion and Acknowledgement</a:t>
            </a:r>
          </a:p>
        </p:txBody>
      </p:sp>
    </p:spTree>
    <p:extLst>
      <p:ext uri="{BB962C8B-B14F-4D97-AF65-F5344CB8AC3E}">
        <p14:creationId xmlns:p14="http://schemas.microsoft.com/office/powerpoint/2010/main" val="21345870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DE83A0-9E3E-4FC4-24B6-0A3AC8E89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15AD666-9A80-D12B-E76D-CC251659FE0F}"/>
              </a:ext>
            </a:extLst>
          </p:cNvPr>
          <p:cNvSpPr txBox="1"/>
          <p:nvPr/>
        </p:nvSpPr>
        <p:spPr>
          <a:xfrm>
            <a:off x="4090737" y="264512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Conclusion and Gratitude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370056-4E00-14D1-9C94-16A32C7D3EE4}"/>
              </a:ext>
            </a:extLst>
          </p:cNvPr>
          <p:cNvSpPr txBox="1"/>
          <p:nvPr/>
        </p:nvSpPr>
        <p:spPr>
          <a:xfrm>
            <a:off x="521627" y="1536174"/>
            <a:ext cx="9665110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his project provided me the opportunity to build an </a:t>
            </a:r>
            <a:r>
              <a:rPr lang="en-US" sz="2400" b="1" dirty="0">
                <a:solidFill>
                  <a:schemeClr val="bg1"/>
                </a:solidFill>
              </a:rPr>
              <a:t>end-to-end machine learning solution</a:t>
            </a:r>
            <a:r>
              <a:rPr lang="en-US" sz="2400" dirty="0">
                <a:solidFill>
                  <a:schemeClr val="bg1"/>
                </a:solidFill>
              </a:rPr>
              <a:t> — from raw data ingestion to deployment inside Power BI.</a:t>
            </a:r>
          </a:p>
          <a:p>
            <a:r>
              <a:rPr lang="en-US" sz="2400" dirty="0">
                <a:solidFill>
                  <a:schemeClr val="bg1"/>
                </a:solidFill>
              </a:rPr>
              <a:t>I would like to extend my sincere thanks to: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bg1"/>
                </a:solidFill>
              </a:rPr>
              <a:t>Mr. Abhijeet Raut</a:t>
            </a:r>
            <a:r>
              <a:rPr lang="en-US" sz="2400" dirty="0">
                <a:solidFill>
                  <a:schemeClr val="bg1"/>
                </a:solidFill>
              </a:rPr>
              <a:t> – for trusting me with this project and providing consistent guidance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bg1"/>
                </a:solidFill>
              </a:rPr>
              <a:t>Mr. Manoj Kumar</a:t>
            </a:r>
            <a:r>
              <a:rPr lang="en-US" sz="2400" dirty="0">
                <a:solidFill>
                  <a:schemeClr val="bg1"/>
                </a:solidFill>
              </a:rPr>
              <a:t> and </a:t>
            </a:r>
            <a:r>
              <a:rPr lang="en-US" sz="2400" b="1" dirty="0">
                <a:solidFill>
                  <a:schemeClr val="bg1"/>
                </a:solidFill>
              </a:rPr>
              <a:t>Karan</a:t>
            </a:r>
            <a:r>
              <a:rPr lang="en-US" sz="2400" dirty="0">
                <a:solidFill>
                  <a:schemeClr val="bg1"/>
                </a:solidFill>
              </a:rPr>
              <a:t> – for their technical input and collaborative support during various phases of the work.</a:t>
            </a:r>
          </a:p>
          <a:p>
            <a:r>
              <a:rPr lang="en-US" sz="2400" dirty="0">
                <a:solidFill>
                  <a:schemeClr val="bg1"/>
                </a:solidFill>
              </a:rPr>
              <a:t>Their contributions helped me overcome challenges and complete the project successfully.</a:t>
            </a:r>
          </a:p>
        </p:txBody>
      </p:sp>
    </p:spTree>
    <p:extLst>
      <p:ext uri="{BB962C8B-B14F-4D97-AF65-F5344CB8AC3E}">
        <p14:creationId xmlns:p14="http://schemas.microsoft.com/office/powerpoint/2010/main" val="41227494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C0B511A-8123-968A-6F98-F50569D7DA84}"/>
              </a:ext>
            </a:extLst>
          </p:cNvPr>
          <p:cNvSpPr txBox="1"/>
          <p:nvPr/>
        </p:nvSpPr>
        <p:spPr>
          <a:xfrm>
            <a:off x="4616245" y="304801"/>
            <a:ext cx="2959509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Problem Statement 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A46988-250A-FDB4-BFF7-9D86B4DC15ED}"/>
              </a:ext>
            </a:extLst>
          </p:cNvPr>
          <p:cNvSpPr txBox="1"/>
          <p:nvPr/>
        </p:nvSpPr>
        <p:spPr>
          <a:xfrm>
            <a:off x="986589" y="1714043"/>
            <a:ext cx="10218821" cy="171495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US" sz="3200" dirty="0">
                <a:solidFill>
                  <a:schemeClr val="bg1"/>
                </a:solidFill>
              </a:rPr>
              <a:t>A leading company is facing a </a:t>
            </a:r>
            <a:r>
              <a:rPr lang="en-US" sz="3200" b="1" dirty="0">
                <a:solidFill>
                  <a:schemeClr val="bg1"/>
                </a:solidFill>
              </a:rPr>
              <a:t>decline in sales</a:t>
            </a:r>
            <a:r>
              <a:rPr lang="en-US" sz="3200" dirty="0">
                <a:solidFill>
                  <a:schemeClr val="bg1"/>
                </a:solidFill>
              </a:rPr>
              <a:t> and a </a:t>
            </a:r>
            <a:r>
              <a:rPr lang="en-US" sz="3200" b="1" dirty="0">
                <a:solidFill>
                  <a:schemeClr val="bg1"/>
                </a:solidFill>
              </a:rPr>
              <a:t>significant drop in customer retention</a:t>
            </a:r>
            <a:r>
              <a:rPr lang="en-US" sz="3200" dirty="0">
                <a:solidFill>
                  <a:schemeClr val="bg1"/>
                </a:solidFill>
              </a:rPr>
              <a:t>. To resolve this, we were tasked to identify </a:t>
            </a:r>
            <a:r>
              <a:rPr lang="en-US" sz="3200" b="1" dirty="0">
                <a:solidFill>
                  <a:schemeClr val="bg1"/>
                </a:solidFill>
              </a:rPr>
              <a:t>churned customers</a:t>
            </a:r>
            <a:r>
              <a:rPr lang="en-US" sz="3200" dirty="0">
                <a:solidFill>
                  <a:schemeClr val="bg1"/>
                </a:solidFill>
              </a:rPr>
              <a:t> and analyze </a:t>
            </a:r>
            <a:r>
              <a:rPr lang="en-US" sz="3200" b="1" dirty="0">
                <a:solidFill>
                  <a:schemeClr val="bg1"/>
                </a:solidFill>
              </a:rPr>
              <a:t>why</a:t>
            </a:r>
            <a:r>
              <a:rPr lang="en-US" sz="3200" dirty="0">
                <a:solidFill>
                  <a:schemeClr val="bg1"/>
                </a:solidFill>
              </a:rPr>
              <a:t> they are leaving.</a:t>
            </a:r>
          </a:p>
        </p:txBody>
      </p:sp>
    </p:spTree>
    <p:extLst>
      <p:ext uri="{BB962C8B-B14F-4D97-AF65-F5344CB8AC3E}">
        <p14:creationId xmlns:p14="http://schemas.microsoft.com/office/powerpoint/2010/main" val="20196858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3D7BA9-A7B9-9C2E-C3E7-7A8BE947D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ECD9695-90CB-7D2F-5F3A-F1732C1202B8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AA700FD-F0A8-9590-BF7A-673F943D503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23CD2CD-41CD-1882-EA77-4C123B281093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C4A71A4-D76A-AC6A-A84F-17B1F8BBFFEB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64F275-DB96-84BE-3A93-D6EE80D85FB2}"/>
              </a:ext>
            </a:extLst>
          </p:cNvPr>
          <p:cNvSpPr/>
          <p:nvPr/>
        </p:nvSpPr>
        <p:spPr>
          <a:xfrm>
            <a:off x="1801421" y="4828494"/>
            <a:ext cx="100313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4000" b="1" dirty="0">
                <a:solidFill>
                  <a:schemeClr val="bg2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Exploring the Multiple Possible Solutions</a:t>
            </a:r>
            <a:endParaRPr kumimoji="0" lang="en-IN" sz="40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49098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243700-DAC0-A09C-53FD-4F08428728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A55D2D8-3B15-7D38-A9CC-3C787F17D998}"/>
              </a:ext>
            </a:extLst>
          </p:cNvPr>
          <p:cNvSpPr txBox="1"/>
          <p:nvPr/>
        </p:nvSpPr>
        <p:spPr>
          <a:xfrm>
            <a:off x="4621161" y="267618"/>
            <a:ext cx="29496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Possible Solutions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B8B8681-1ABD-5C00-0A3A-E3D509112425}"/>
              </a:ext>
            </a:extLst>
          </p:cNvPr>
          <p:cNvSpPr txBox="1"/>
          <p:nvPr/>
        </p:nvSpPr>
        <p:spPr>
          <a:xfrm>
            <a:off x="851266" y="1365105"/>
            <a:ext cx="7539789" cy="553741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o address the problem of customer churn and sales decline, several potential solutions were evaluated: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pPr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Customer Feedback Analysis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Use sentiment analysis and surveys to gauge customer dissatisfaction.</a:t>
            </a:r>
          </a:p>
          <a:p>
            <a:pPr>
              <a:buFont typeface="+mj-lt"/>
              <a:buAutoNum type="arabicPeriod"/>
            </a:pPr>
            <a:endParaRPr lang="en-US" dirty="0">
              <a:solidFill>
                <a:schemeClr val="bg1"/>
              </a:solidFill>
            </a:endParaRPr>
          </a:p>
          <a:p>
            <a:pPr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Segmentation-Based Retention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Group customers based on behavior and provide personalized offers to prevent churn.</a:t>
            </a:r>
          </a:p>
          <a:p>
            <a:pPr>
              <a:buFont typeface="+mj-lt"/>
              <a:buAutoNum type="arabicPeriod"/>
            </a:pPr>
            <a:endParaRPr lang="en-US" dirty="0">
              <a:solidFill>
                <a:schemeClr val="bg1"/>
              </a:solidFill>
            </a:endParaRPr>
          </a:p>
          <a:p>
            <a:pPr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Behavioral Triggers &amp; Alerts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Monitor service usage trends and send proactive offers or interventions.</a:t>
            </a:r>
          </a:p>
          <a:p>
            <a:pPr>
              <a:buFont typeface="+mj-lt"/>
              <a:buAutoNum type="arabicPeriod"/>
            </a:pPr>
            <a:endParaRPr lang="en-US" dirty="0">
              <a:solidFill>
                <a:schemeClr val="bg1"/>
              </a:solidFill>
            </a:endParaRPr>
          </a:p>
          <a:p>
            <a:pPr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Churn Prediction with Machine Learn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i="1" dirty="0">
                <a:solidFill>
                  <a:schemeClr val="bg1"/>
                </a:solidFill>
              </a:rPr>
              <a:t>(Our Approach)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Use historical customer data to build a model that can predict churn probability.</a:t>
            </a:r>
          </a:p>
          <a:p>
            <a:pPr>
              <a:buFont typeface="+mj-lt"/>
              <a:buAutoNum type="arabicPeriod"/>
            </a:pP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These approaches are often used </a:t>
            </a:r>
            <a:r>
              <a:rPr lang="en-US" b="1" dirty="0">
                <a:solidFill>
                  <a:schemeClr val="bg1"/>
                </a:solidFill>
              </a:rPr>
              <a:t>independently or in combination</a:t>
            </a:r>
            <a:r>
              <a:rPr lang="en-US" dirty="0">
                <a:solidFill>
                  <a:schemeClr val="bg1"/>
                </a:solidFill>
              </a:rPr>
              <a:t>. However, for this project, we focused on a </a:t>
            </a:r>
            <a:r>
              <a:rPr lang="en-US" b="1" dirty="0">
                <a:solidFill>
                  <a:schemeClr val="bg1"/>
                </a:solidFill>
              </a:rPr>
              <a:t>data-driven, automated churn prediction system</a:t>
            </a:r>
            <a:r>
              <a:rPr lang="en-US" dirty="0">
                <a:solidFill>
                  <a:schemeClr val="bg1"/>
                </a:solidFill>
              </a:rPr>
              <a:t> using machine learning and Power BI for usability and insights.</a:t>
            </a:r>
          </a:p>
          <a:p>
            <a:pPr marL="356616" indent="-356616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7849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C51B6-C946-ADAA-37A8-D516AC623D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8D47D7B-0A0E-B2B2-AA9A-1187727DAB9F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F2AB364-3990-01B3-48CF-AA9F0031EC6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A6BD8DA-85FD-E68B-BB25-1E9D5C8ACF50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3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1BD9A2-29F4-A7C6-0D7E-1B3CD6097CD7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BAEE22-3FEB-DE71-44ED-563444819C8F}"/>
              </a:ext>
            </a:extLst>
          </p:cNvPr>
          <p:cNvSpPr/>
          <p:nvPr/>
        </p:nvSpPr>
        <p:spPr>
          <a:xfrm>
            <a:off x="1801421" y="4828494"/>
            <a:ext cx="100313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Our Proposed Solution</a:t>
            </a:r>
          </a:p>
        </p:txBody>
      </p:sp>
    </p:spTree>
    <p:extLst>
      <p:ext uri="{BB962C8B-B14F-4D97-AF65-F5344CB8AC3E}">
        <p14:creationId xmlns:p14="http://schemas.microsoft.com/office/powerpoint/2010/main" val="38557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1170A-7550-4E44-2E91-6030671FF8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8251AB0-2D28-6318-F904-78192AFA27D1}"/>
              </a:ext>
            </a:extLst>
          </p:cNvPr>
          <p:cNvSpPr txBox="1"/>
          <p:nvPr/>
        </p:nvSpPr>
        <p:spPr>
          <a:xfrm>
            <a:off x="4074694" y="240632"/>
            <a:ext cx="404261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800" b="1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Our Proposed Solution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AC49C68A-B358-AB86-EFFC-F42709B8C9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862" y="1566317"/>
            <a:ext cx="11069053" cy="5016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We developed a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redictive analytics model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that identifies which customers are likely to churn based on historical patterns in their data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Key Aspects of the Solution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Built using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ytho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and the </a:t>
            </a:r>
            <a:r>
              <a:rPr kumimoji="0" lang="en-US" altLang="en-US" sz="20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XGBoost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algorithm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for high accurac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Designed to be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user-friendly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even for non-technical stakeholder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Integrated directly with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ower BI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enabling: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Easy data upload in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/>
              </a:rPr>
              <a:t>.csv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or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/>
              </a:rPr>
              <a:t>.xlsx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format.</a:t>
            </a: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utomatic model execution and result visualization.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Displays key metrics like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churn probability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ccuracy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recisio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and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confusion matrix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— all in a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ingle interactive dashboard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68784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B6A0F9-1AB6-2327-B81E-E67530B972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9DB5153-864F-93F1-C6FE-C509FCFF09EA}"/>
              </a:ext>
            </a:extLst>
          </p:cNvPr>
          <p:cNvSpPr/>
          <p:nvPr/>
        </p:nvSpPr>
        <p:spPr>
          <a:xfrm>
            <a:off x="0" y="1785"/>
            <a:ext cx="12192000" cy="685443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316CCBA-BAC2-1D80-861C-16D1BF3C09A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28" y="235026"/>
            <a:ext cx="11735545" cy="6387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84C9F04-2CBA-B14D-5587-6ACB8162776E}"/>
              </a:ext>
            </a:extLst>
          </p:cNvPr>
          <p:cNvSpPr/>
          <p:nvPr/>
        </p:nvSpPr>
        <p:spPr>
          <a:xfrm>
            <a:off x="160699" y="4388720"/>
            <a:ext cx="1599367" cy="1599367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943">
              <a:defRPr/>
            </a:pPr>
            <a:r>
              <a:rPr lang="en-IN" sz="7196" kern="0" dirty="0">
                <a:solidFill>
                  <a:prstClr val="white"/>
                </a:solidFill>
                <a:latin typeface="EYInterstate Light"/>
              </a:rPr>
              <a:t>4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EADF0B-D9BE-66EF-4CE5-FD8BAEDDB400}"/>
              </a:ext>
            </a:extLst>
          </p:cNvPr>
          <p:cNvSpPr/>
          <p:nvPr/>
        </p:nvSpPr>
        <p:spPr>
          <a:xfrm>
            <a:off x="1831023" y="4388720"/>
            <a:ext cx="9303618" cy="1599367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 defTabSz="913943">
              <a:defRPr/>
            </a:pPr>
            <a:endParaRPr lang="en-IN" sz="1199" kern="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ACA88FD-0BE4-0865-57A7-08904D9AAD1C}"/>
              </a:ext>
            </a:extLst>
          </p:cNvPr>
          <p:cNvSpPr/>
          <p:nvPr/>
        </p:nvSpPr>
        <p:spPr>
          <a:xfrm>
            <a:off x="1801421" y="4828494"/>
            <a:ext cx="100313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600" b="1" dirty="0">
                <a:solidFill>
                  <a:schemeClr val="bg2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Complete Workflow – From Raw Data to Insights</a:t>
            </a:r>
            <a:endParaRPr kumimoji="0" lang="en-IN" sz="3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162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EYLAYOUT" val="White"/>
  <p:tag name="THINKCELLPRESENTATIONDONOTDELETE" val="&lt;?xml version=&quot;1.0&quot; encoding=&quot;UTF-16&quot; standalone=&quot;yes&quot;?&gt;&lt;root reqver=&quot;27037&quot;&gt;&lt;version val=&quot;3299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#4&lt;/m_strFormatTime&gt;&lt;m_yearfmt&gt;&lt;begin val=&quot;0&quot;/&gt;&lt;end val=&quot;4&quot;/&gt;&lt;/m_yearfmt&gt;&lt;/m_precDefaultWeek&gt;&lt;m_precDefaultMonth&gt;&lt;m_bNumberIsYear val=&quot;0&quot;/&gt;&lt;m_strFormatTime&gt;%#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5&quot;&gt;&lt;elem m_fUsage=&quot;2.21986130500839706770E+00&quot;&gt;&lt;m_msothmcolidx val=&quot;0&quot;/&gt;&lt;m_rgb r=&quot;FF&quot; g=&quot;E6&quot; b=&quot;00&quot;/&gt;&lt;/elem&gt;&lt;elem m_fUsage=&quot;1.96587475296340552511E+00&quot;&gt;&lt;m_msothmcolidx val=&quot;0&quot;/&gt;&lt;m_rgb r=&quot;A2&quot; g=&quot;A2&quot; b=&quot;A2&quot;/&gt;&lt;/elem&gt;&lt;elem m_fUsage=&quot;1.84132812580464166885E+00&quot;&gt;&lt;m_msothmcolidx val=&quot;0&quot;/&gt;&lt;m_rgb r=&quot;FF&quot; g=&quot;F5&quot; b=&quot;99&quot;/&gt;&lt;/elem&gt;&lt;elem m_fUsage=&quot;1.66057665459056935653E+00&quot;&gt;&lt;m_msothmcolidx val=&quot;0&quot;/&gt;&lt;m_rgb r=&quot;C9&quot; g=&quot;0F&quot; b=&quot;05&quot;/&gt;&lt;/elem&gt;&lt;elem m_fUsage=&quot;1.29618459900000027041E+00&quot;&gt;&lt;m_msothmcolidx val=&quot;0&quot;/&gt;&lt;m_rgb r=&quot;E0&quot; g=&quot;E0&quot; b=&quot;E0&quot;/&gt;&lt;/elem&gt;&lt;elem m_fUsage=&quot;3.94598796195810841425E-01&quot;&gt;&lt;m_msothmcolidx val=&quot;0&quot;/&gt;&lt;m_rgb r=&quot;DA&quot; g=&quot;7B&quot; b=&quot;25&quot;/&gt;&lt;/elem&gt;&lt;elem m_fUsage=&quot;9.24236578366361277714E-02&quot;&gt;&lt;m_msothmcolidx val=&quot;0&quot;/&gt;&lt;m_rgb r=&quot;74&quot; g=&quot;74&quot; b=&quot;80&quot;/&gt;&lt;/elem&gt;&lt;elem m_fUsage=&quot;8.86293811965250810658E-02&quot;&gt;&lt;m_msothmcolidx val=&quot;0&quot;/&gt;&lt;m_rgb r=&quot;73&quot; g=&quot;90&quot; b=&quot;BB&quot;/&gt;&lt;/elem&gt;&lt;elem m_fUsage=&quot;8.31812920529725191576E-02&quot;&gt;&lt;m_msothmcolidx val=&quot;0&quot;/&gt;&lt;m_rgb r=&quot;C4&quot; g=&quot;C4&quot; b=&quot;CD&quot;/&gt;&lt;/elem&gt;&lt;elem m_fUsage=&quot;7.17897987691853145531E-02&quot;&gt;&lt;m_msothmcolidx val=&quot;0&quot;/&gt;&lt;m_rgb r=&quot;2E&quot; g=&quot;2E&quot; b=&quot;38&quot;/&gt;&lt;/elem&gt;&lt;elem m_fUsage=&quot;5.29329253891291998113E-02&quot;&gt;&lt;m_msothmcolidx val=&quot;0&quot;/&gt;&lt;m_rgb r=&quot;FF&quot; g=&quot;D2&quot; b=&quot;00&quot;/&gt;&lt;/elem&gt;&lt;elem m_fUsage=&quot;4.23911582752162438559E-02&quot;&gt;&lt;m_msothmcolidx val=&quot;0&quot;/&gt;&lt;m_rgb r=&quot;F2&quot; g=&quot;F2&quot; b=&quot;F2&quot;/&gt;&lt;/elem&gt;&lt;elem m_fUsage=&quot;2.25283995449391989674E-02&quot;&gt;&lt;m_msothmcolidx val=&quot;0&quot;/&gt;&lt;m_rgb r=&quot;FF&quot; g=&quot;F6&quot; b=&quot;CC&quot;/&gt;&lt;/elem&gt;&lt;elem m_fUsage=&quot;1.82480036314007498799E-02&quot;&gt;&lt;m_msothmcolidx val=&quot;0&quot;/&gt;&lt;m_rgb r=&quot;00&quot; g=&quot;B0&quot; b=&quot;50&quot;/&gt;&lt;/elem&gt;&lt;elem m_fUsage=&quot;1.64232032682606748919E-02&quot;&gt;&lt;m_msothmcolidx val=&quot;0&quot;/&gt;&lt;m_rgb r=&quot;FE&quot; g=&quot;F8&quot; b=&quot;CB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1ZoRfk0SCOLSiO49o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1ZoRfk0SCOLSiO49o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1ZoRfk0SCOLSiO49o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1ZoRfk0SCOLSiO49o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1ZoRfk0SCOLSiO49o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1ZoRfk0SCOLSiO49o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1ZoRfk0SCOLSiO49o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1ZoRfk0SCOLSiO49oj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1ZoRfk0SCOLSiO49oj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1ZoRfk0SCOLSiO49o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1ZoRfk0SCOLSiO49o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cC725TbWxo2Xgn2Adz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MAGESHAPEINCORNER_" val="Yes"/>
  <p:tag name="IMAGESHAPEINFO_" val="{&quot;imgSize&quot;:{&quot;Height&quot;:73.0,&quot;Width&quot;:110.0},&quot;ImageInset&quot;:0.0,&quot;BorderColor&quot;:16777215,&quot;FillOwner&quot;:false,&quot;OwnerInset&quot;:0.0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YNAMICSHAPE" val="Single quote"/>
  <p:tag name="SYMBOL" val="Single quote"/>
  <p:tag name="SYMBOLCOLOR" val="single"/>
  <p:tag name="FIXEDPOSITION" val="F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YNAMICSHAPE" val="Survey title LHS"/>
  <p:tag name="SYMBOL" val="Survey title LHS"/>
  <p:tag name="SYMBOLCOLOR" val="single"/>
  <p:tag name="FIXEDPOSITION" val="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" val="Bulleted List"/>
  <p:tag name="DYNAMICSHAPE" val="Bulleted List"/>
  <p:tag name="SYMBOLCOLOR" val="single"/>
  <p:tag name="FIXEDPOSITION" val="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" val="Bulleted List"/>
  <p:tag name="DYNAMICSHAPE" val="Bulleted List"/>
  <p:tag name="SYMBOLCOLOR" val="single"/>
  <p:tag name="FIXEDPOSITION" val="F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XEDLOCATIONTITLE" val="LH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zoYGCuRqy8f37oqNRbI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_zNxnfRUcO22u9RiyKi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2HBvIGf0YW2gnb8hQG3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2HBvIGf0YW2gnb8hQG3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light projection">
  <a:themeElements>
    <a:clrScheme name="Custom 7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Frosted Glass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100000"/>
              </a:schemeClr>
            </a:gs>
            <a:gs pos="68000">
              <a:schemeClr val="phClr">
                <a:tint val="77000"/>
                <a:satMod val="100000"/>
              </a:schemeClr>
            </a:gs>
            <a:gs pos="81000">
              <a:schemeClr val="phClr">
                <a:tint val="79000"/>
                <a:satMod val="100000"/>
              </a:schemeClr>
            </a:gs>
            <a:gs pos="86000">
              <a:schemeClr val="phClr">
                <a:tint val="73000"/>
                <a:satMod val="100000"/>
              </a:schemeClr>
            </a:gs>
            <a:gs pos="100000">
              <a:schemeClr val="phClr">
                <a:tint val="35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73000"/>
                <a:shade val="100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tint val="100000"/>
                <a:shade val="57000"/>
                <a:satMod val="120000"/>
              </a:schemeClr>
            </a:gs>
            <a:gs pos="80000">
              <a:schemeClr val="phClr">
                <a:tint val="100000"/>
                <a:shade val="56000"/>
                <a:satMod val="145000"/>
              </a:schemeClr>
            </a:gs>
            <a:gs pos="88000">
              <a:schemeClr val="phClr">
                <a:tint val="100000"/>
                <a:shade val="63000"/>
                <a:satMod val="160000"/>
              </a:schemeClr>
            </a:gs>
            <a:gs pos="100000">
              <a:schemeClr val="phClr">
                <a:tint val="99000"/>
                <a:shade val="100000"/>
                <a:satMod val="155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rthographicFront">
              <a:rot lat="0" lon="0" rev="0"/>
            </a:camera>
            <a:lightRig rig="glow" dir="tl">
              <a:rot lat="0" lon="0" rev="1800000"/>
            </a:lightRig>
          </a:scene3d>
          <a:sp3d contourW="10160" prstMaterial="dkEdge">
            <a:bevelT w="0" h="0" prst="angle"/>
            <a:contourClr>
              <a:schemeClr val="phClr">
                <a:shade val="30000"/>
                <a:satMod val="150000"/>
              </a:schemeClr>
            </a:contourClr>
          </a:sp3d>
        </a:effectStyle>
        <a:effectStyle>
          <a:effectLst>
            <a:glow rad="50800">
              <a:schemeClr val="phClr">
                <a:tint val="68000"/>
                <a:shade val="93000"/>
                <a:alpha val="37000"/>
                <a:satMod val="25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800000"/>
            </a:lightRig>
          </a:scene3d>
          <a:sp3d contourW="10160" prstMaterial="dkEdge">
            <a:bevelT w="20320" h="19050" prst="angle"/>
            <a:contourClr>
              <a:schemeClr val="phClr">
                <a:shade val="3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l">
          <a:defRPr sz="12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1802SG056 Template PPT EY Digital Services-5.pptx" id="{D9CCF6B9-5CBB-4E86-8B76-DE0D26784199}" vid="{8D674F8C-5285-4B8F-9E49-0F6550B2EF98}"/>
    </a:ext>
  </a:extLst>
</a:theme>
</file>

<file path=ppt/theme/theme10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8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70D5E770-E04A-461B-8456-F6738B8BE2E4}" vid="{F52AAF16-9B59-4DE1-94DD-2FF8D6A8C858}"/>
    </a:ext>
  </a:extLst>
</a:theme>
</file>

<file path=ppt/theme/theme4.xml><?xml version="1.0" encoding="utf-8"?>
<a:theme xmlns:a="http://schemas.openxmlformats.org/drawingml/2006/main" name="9_EY dark background">
  <a:themeElements>
    <a:clrScheme name="Custom 52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FFFFFF"/>
      </a:hlink>
      <a:folHlink>
        <a:srgbClr val="FFFFFF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974AC421-4F2E-46A5-9C01-6F171E240785}"/>
    </a:ext>
  </a:extLst>
</a:theme>
</file>

<file path=ppt/theme/theme5.xml><?xml version="1.0" encoding="utf-8"?>
<a:theme xmlns:a="http://schemas.openxmlformats.org/drawingml/2006/main" name="10_EY dark background">
  <a:themeElements>
    <a:clrScheme name="Custom 5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FFFF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EY dark background">
  <a:themeElements>
    <a:clrScheme name="Custom 5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FFFF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9_Miele_Master_1">
  <a:themeElements>
    <a:clrScheme name="Custom 2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widescreen presentation 2016.pptx" id="{B9D0E71C-826C-41A8-A183-B6A4EA670798}" vid="{8BC2F5BC-E42A-4A9D-A32B-0837DDE12316}"/>
    </a:ext>
  </a:extLst>
</a:theme>
</file>

<file path=ppt/theme/theme8.xml><?xml version="1.0" encoding="utf-8"?>
<a:theme xmlns:a="http://schemas.openxmlformats.org/drawingml/2006/main" name="5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2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98B3BDD06E634EB2A54E0DC195CA74" ma:contentTypeVersion="6" ma:contentTypeDescription="Create a new document." ma:contentTypeScope="" ma:versionID="81b46caf3b99f7dcbb76205505baa1c6">
  <xsd:schema xmlns:xsd="http://www.w3.org/2001/XMLSchema" xmlns:xs="http://www.w3.org/2001/XMLSchema" xmlns:p="http://schemas.microsoft.com/office/2006/metadata/properties" xmlns:ns2="d56b1bde-db36-421d-94d7-68b2ad64f08e" xmlns:ns3="11983849-c2bf-44a2-8492-ed367891166e" targetNamespace="http://schemas.microsoft.com/office/2006/metadata/properties" ma:root="true" ma:fieldsID="5ab6c777a19eec38c2b60e877c370f22" ns2:_="" ns3:_="">
    <xsd:import namespace="d56b1bde-db36-421d-94d7-68b2ad64f08e"/>
    <xsd:import namespace="11983849-c2bf-44a2-8492-ed36789116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6b1bde-db36-421d-94d7-68b2ad64f0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983849-c2bf-44a2-8492-ed367891166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5F35A7B-42C1-445A-A5FF-763259CA593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4EFC1D1-2C5E-4962-A988-0412397B35DA}">
  <ds:schemaRefs>
    <ds:schemaRef ds:uri="11983849-c2bf-44a2-8492-ed367891166e"/>
    <ds:schemaRef ds:uri="d56b1bde-db36-421d-94d7-68b2ad64f08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34C06BE-7EBA-45B2-9C1B-37E2683B07F8}">
  <ds:schemaRefs>
    <ds:schemaRef ds:uri="http://schemas.microsoft.com/office/infopath/2007/PartnerControls"/>
    <ds:schemaRef ds:uri="http://purl.org/dc/terms/"/>
    <ds:schemaRef ds:uri="http://purl.org/dc/elements/1.1/"/>
    <ds:schemaRef ds:uri="http://schemas.openxmlformats.org/package/2006/metadata/core-properties"/>
    <ds:schemaRef ds:uri="d56b1bde-db36-421d-94d7-68b2ad64f08e"/>
    <ds:schemaRef ds:uri="http://www.w3.org/XML/1998/namespace"/>
    <ds:schemaRef ds:uri="http://schemas.microsoft.com/office/2006/documentManagement/types"/>
    <ds:schemaRef ds:uri="http://purl.org/dc/dcmitype/"/>
    <ds:schemaRef ds:uri="11983849-c2bf-44a2-8492-ed367891166e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77</TotalTime>
  <Words>1117</Words>
  <Application>Microsoft Office PowerPoint</Application>
  <PresentationFormat>Widescreen</PresentationFormat>
  <Paragraphs>163</Paragraphs>
  <Slides>3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55" baseType="lpstr">
      <vt:lpstr>Aller Bold</vt:lpstr>
      <vt:lpstr>Arial</vt:lpstr>
      <vt:lpstr>Arial Unicode MS</vt:lpstr>
      <vt:lpstr>Calibri</vt:lpstr>
      <vt:lpstr>EYInterstate</vt:lpstr>
      <vt:lpstr>EYInterstate Bold</vt:lpstr>
      <vt:lpstr>EYInterstate Light</vt:lpstr>
      <vt:lpstr>EYInterstate Regular</vt:lpstr>
      <vt:lpstr>Georgia</vt:lpstr>
      <vt:lpstr>Inter</vt:lpstr>
      <vt:lpstr>Wingdings 2</vt:lpstr>
      <vt:lpstr>Wingdings 3</vt:lpstr>
      <vt:lpstr>EY light projection</vt:lpstr>
      <vt:lpstr>1_EY light background</vt:lpstr>
      <vt:lpstr>8_EY dark background</vt:lpstr>
      <vt:lpstr>9_EY dark background</vt:lpstr>
      <vt:lpstr>10_EY dark background</vt:lpstr>
      <vt:lpstr>EY dark background</vt:lpstr>
      <vt:lpstr>9_Miele_Master_1</vt:lpstr>
      <vt:lpstr>5_EY dark background</vt:lpstr>
      <vt:lpstr>2_EY light background</vt:lpstr>
      <vt:lpstr>EY light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 POSTE Benchmark ELAN</dc:title>
  <dc:creator>Tu Huy Pham</dc:creator>
  <cp:lastModifiedBy>Aayush Purohit</cp:lastModifiedBy>
  <cp:revision>11</cp:revision>
  <dcterms:created xsi:type="dcterms:W3CDTF">2020-12-21T19:08:38Z</dcterms:created>
  <dcterms:modified xsi:type="dcterms:W3CDTF">2025-07-02T09:0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0d356a90-849a-4248-a68b-ec9ce419a94c</vt:lpwstr>
  </property>
  <property fmtid="{D5CDD505-2E9C-101B-9397-08002B2CF9AE}" pid="3" name="ContentLanguage">
    <vt:lpwstr>9;#French|48a98dc6-9a41-4231-8894-3c3b6faea7f8</vt:lpwstr>
  </property>
  <property fmtid="{D5CDD505-2E9C-101B-9397-08002B2CF9AE}" pid="4" name="ServiceLineFunction">
    <vt:lpwstr>6;#Supply Chain and Operations|5e7375b5-49db-43cc-8eb8-4830d58a3c43</vt:lpwstr>
  </property>
  <property fmtid="{D5CDD505-2E9C-101B-9397-08002B2CF9AE}" pid="5" name="EYContentType">
    <vt:lpwstr>28;#Proposals|0e2859f4-0935-4a11-8663-d55fd756d7a4</vt:lpwstr>
  </property>
  <property fmtid="{D5CDD505-2E9C-101B-9397-08002B2CF9AE}" pid="6" name="Sector">
    <vt:lpwstr>93;#Government and Infrastructure|5d550e1a-1ce5-42d4-8c48-202cf4542645</vt:lpwstr>
  </property>
  <property fmtid="{D5CDD505-2E9C-101B-9397-08002B2CF9AE}" pid="7" name="GeographicApplicability">
    <vt:lpwstr>3;#France|03c18c7c-deda-4f8c-ba8f-59529484d7dd</vt:lpwstr>
  </property>
  <property fmtid="{D5CDD505-2E9C-101B-9397-08002B2CF9AE}" pid="8" name="ContentTypeId">
    <vt:lpwstr>0x010100CE98B3BDD06E634EB2A54E0DC195CA74</vt:lpwstr>
  </property>
  <property fmtid="{D5CDD505-2E9C-101B-9397-08002B2CF9AE}" pid="9" name="MediaServiceImageTags">
    <vt:lpwstr/>
  </property>
</Properties>
</file>